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2" r:id="rId5"/>
    <p:sldMasterId id="2147483705" r:id="rId6"/>
    <p:sldMasterId id="2147483756" r:id="rId7"/>
    <p:sldMasterId id="2147483830" r:id="rId8"/>
  </p:sldMasterIdLst>
  <p:notesMasterIdLst>
    <p:notesMasterId r:id="rId51"/>
  </p:notesMasterIdLst>
  <p:sldIdLst>
    <p:sldId id="230719563" r:id="rId9"/>
    <p:sldId id="230719618" r:id="rId10"/>
    <p:sldId id="230719566" r:id="rId11"/>
    <p:sldId id="230719615" r:id="rId12"/>
    <p:sldId id="230719619" r:id="rId13"/>
    <p:sldId id="230719620" r:id="rId14"/>
    <p:sldId id="230719567" r:id="rId15"/>
    <p:sldId id="230719468" r:id="rId16"/>
    <p:sldId id="230719570" r:id="rId17"/>
    <p:sldId id="230719485" r:id="rId18"/>
    <p:sldId id="230719489" r:id="rId19"/>
    <p:sldId id="230719590" r:id="rId20"/>
    <p:sldId id="230719591" r:id="rId21"/>
    <p:sldId id="230719626" r:id="rId22"/>
    <p:sldId id="230719627" r:id="rId23"/>
    <p:sldId id="230719467" r:id="rId24"/>
    <p:sldId id="230719604" r:id="rId25"/>
    <p:sldId id="230719621" r:id="rId26"/>
    <p:sldId id="230719638" r:id="rId27"/>
    <p:sldId id="230719622" r:id="rId28"/>
    <p:sldId id="230719605" r:id="rId29"/>
    <p:sldId id="230719625" r:id="rId30"/>
    <p:sldId id="230719607" r:id="rId31"/>
    <p:sldId id="230719606" r:id="rId32"/>
    <p:sldId id="230719617" r:id="rId33"/>
    <p:sldId id="230719608" r:id="rId34"/>
    <p:sldId id="230719569" r:id="rId35"/>
    <p:sldId id="230719609" r:id="rId36"/>
    <p:sldId id="230719611" r:id="rId37"/>
    <p:sldId id="230719612" r:id="rId38"/>
    <p:sldId id="230719610" r:id="rId39"/>
    <p:sldId id="230719613" r:id="rId40"/>
    <p:sldId id="230719628" r:id="rId41"/>
    <p:sldId id="230719629" r:id="rId42"/>
    <p:sldId id="230719630" r:id="rId43"/>
    <p:sldId id="230719631" r:id="rId44"/>
    <p:sldId id="230719632" r:id="rId45"/>
    <p:sldId id="230719633" r:id="rId46"/>
    <p:sldId id="230719634" r:id="rId47"/>
    <p:sldId id="230719637" r:id="rId48"/>
    <p:sldId id="230719635" r:id="rId49"/>
    <p:sldId id="230719636" r:id="rId50"/>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FAD"/>
    <a:srgbClr val="FEFAF3"/>
    <a:srgbClr val="E7E1D8"/>
    <a:srgbClr val="F9FAFF"/>
    <a:srgbClr val="DF2680"/>
    <a:srgbClr val="E85F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A488322-F2BA-4B5B-9748-0D474271808F}" styleName="Style moyen 3 - Accentuation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Style moyen 3 - Accentuation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125E5076-3810-47DD-B79F-674D7AD40C01}" styleName="Style foncé 1 - Accentuation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Style foncé 2 - Accentuation 1/Accentuation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8" Type="http://schemas.openxmlformats.org/officeDocument/2006/relationships/slideMaster" Target="slideMasters/slideMaster5.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Feuil1!$B$1</c:f>
              <c:strCache>
                <c:ptCount val="1"/>
                <c:pt idx="0">
                  <c:v>Ventes</c:v>
                </c:pt>
              </c:strCache>
            </c:strRef>
          </c:tx>
          <c:spPr>
            <a:ln w="28575">
              <a:solidFill>
                <a:schemeClr val="bg1"/>
              </a:solidFill>
            </a:ln>
          </c:spPr>
          <c:dPt>
            <c:idx val="1"/>
            <c:bubble3D val="0"/>
            <c:spPr>
              <a:solidFill>
                <a:schemeClr val="accent5"/>
              </a:solidFill>
              <a:ln w="28575">
                <a:solidFill>
                  <a:schemeClr val="bg1"/>
                </a:solidFill>
              </a:ln>
            </c:spPr>
            <c:extLst>
              <c:ext xmlns:c16="http://schemas.microsoft.com/office/drawing/2014/chart" uri="{C3380CC4-5D6E-409C-BE32-E72D297353CC}">
                <c16:uniqueId val="{00000001-2934-4697-BD62-C1F8B4C009D5}"/>
              </c:ext>
            </c:extLst>
          </c:dPt>
          <c:dPt>
            <c:idx val="3"/>
            <c:bubble3D val="0"/>
            <c:spPr>
              <a:solidFill>
                <a:schemeClr val="accent2"/>
              </a:solidFill>
              <a:ln w="28575">
                <a:solidFill>
                  <a:schemeClr val="bg1"/>
                </a:solidFill>
              </a:ln>
            </c:spPr>
            <c:extLst>
              <c:ext xmlns:c16="http://schemas.microsoft.com/office/drawing/2014/chart" uri="{C3380CC4-5D6E-409C-BE32-E72D297353CC}">
                <c16:uniqueId val="{00000003-2934-4697-BD62-C1F8B4C009D5}"/>
              </c:ext>
            </c:extLst>
          </c:dPt>
          <c:dPt>
            <c:idx val="4"/>
            <c:bubble3D val="0"/>
            <c:spPr>
              <a:solidFill>
                <a:schemeClr val="accent2"/>
              </a:solidFill>
              <a:ln w="28575">
                <a:solidFill>
                  <a:schemeClr val="bg1"/>
                </a:solidFill>
              </a:ln>
            </c:spPr>
            <c:extLst>
              <c:ext xmlns:c16="http://schemas.microsoft.com/office/drawing/2014/chart" uri="{C3380CC4-5D6E-409C-BE32-E72D297353CC}">
                <c16:uniqueId val="{00000005-2934-4697-BD62-C1F8B4C009D5}"/>
              </c:ext>
            </c:extLst>
          </c:dPt>
          <c:cat>
            <c:numRef>
              <c:f>Feuil1!$A$2:$A$6</c:f>
              <c:numCache>
                <c:formatCode>General</c:formatCode>
                <c:ptCount val="5"/>
              </c:numCache>
            </c:numRef>
          </c:cat>
          <c:val>
            <c:numRef>
              <c:f>Feuil1!$B$2:$B$6</c:f>
              <c:numCache>
                <c:formatCode>General</c:formatCode>
                <c:ptCount val="5"/>
                <c:pt idx="0">
                  <c:v>1</c:v>
                </c:pt>
                <c:pt idx="1">
                  <c:v>1</c:v>
                </c:pt>
                <c:pt idx="2">
                  <c:v>1</c:v>
                </c:pt>
                <c:pt idx="3">
                  <c:v>1</c:v>
                </c:pt>
                <c:pt idx="4">
                  <c:v>1</c:v>
                </c:pt>
              </c:numCache>
            </c:numRef>
          </c:val>
          <c:extLst>
            <c:ext xmlns:c16="http://schemas.microsoft.com/office/drawing/2014/chart" uri="{C3380CC4-5D6E-409C-BE32-E72D297353CC}">
              <c16:uniqueId val="{00000006-2934-4697-BD62-C1F8B4C009D5}"/>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fr-FR"/>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6D562AA-F83E-4E16-A27F-1F15BBD6E822}" type="doc">
      <dgm:prSet loTypeId="urn:microsoft.com/office/officeart/2005/8/layout/cycle1" loCatId="cycle" qsTypeId="urn:microsoft.com/office/officeart/2005/8/quickstyle/simple1" qsCatId="simple" csTypeId="urn:microsoft.com/office/officeart/2005/8/colors/accent5_2" csCatId="accent5" phldr="1"/>
      <dgm:spPr/>
      <dgm:t>
        <a:bodyPr/>
        <a:lstStyle/>
        <a:p>
          <a:endParaRPr lang="fr-FR"/>
        </a:p>
      </dgm:t>
    </dgm:pt>
    <dgm:pt modelId="{AE61E61B-5C68-4F82-850F-2CE3E03B500B}">
      <dgm:prSet phldrT="[Texte]"/>
      <dgm:spPr>
        <a:xfrm>
          <a:off x="2689412" y="159088"/>
          <a:ext cx="815082" cy="815082"/>
        </a:xfrm>
        <a:prstGeom prst="rect">
          <a:avLst/>
        </a:prstGeom>
        <a:noFill/>
        <a:ln>
          <a:noFill/>
        </a:ln>
        <a:effectLst/>
      </dgm:spPr>
      <dgm:t>
        <a:bodyPr/>
        <a:lstStyle/>
        <a:p>
          <a:r>
            <a:rPr lang="fr-FR" i="1">
              <a:solidFill>
                <a:srgbClr val="545859"/>
              </a:solidFill>
              <a:latin typeface="Arial" panose="020B0604020202020204"/>
              <a:ea typeface="+mn-ea"/>
              <a:cs typeface="+mn-cs"/>
            </a:rPr>
            <a:t>Les DMP ne sont pas créés parce qu’ils ne sont pas consultés. </a:t>
          </a:r>
          <a:endParaRPr lang="fr-FR">
            <a:solidFill>
              <a:srgbClr val="545859"/>
            </a:solidFill>
            <a:latin typeface="Arial" panose="020B0604020202020204"/>
            <a:ea typeface="+mn-ea"/>
            <a:cs typeface="+mn-cs"/>
          </a:endParaRPr>
        </a:p>
      </dgm:t>
    </dgm:pt>
    <dgm:pt modelId="{5D6ABBFC-9B41-4320-9F16-08AF59BE8FA7}" type="parTrans" cxnId="{F1179E6C-E5BA-425B-A9DC-888B131D9AE1}">
      <dgm:prSet/>
      <dgm:spPr/>
      <dgm:t>
        <a:bodyPr/>
        <a:lstStyle/>
        <a:p>
          <a:endParaRPr lang="fr-FR">
            <a:solidFill>
              <a:schemeClr val="bg2"/>
            </a:solidFill>
          </a:endParaRPr>
        </a:p>
      </dgm:t>
    </dgm:pt>
    <dgm:pt modelId="{0BE5E463-BECE-4224-9113-371FF514353A}" type="sibTrans" cxnId="{F1179E6C-E5BA-425B-A9DC-888B131D9AE1}">
      <dgm:prSet/>
      <dgm:spPr>
        <a:xfrm>
          <a:off x="1449474" y="-860"/>
          <a:ext cx="1925586" cy="1925586"/>
        </a:xfrm>
        <a:prstGeom prst="circularArrow">
          <a:avLst>
            <a:gd name="adj1" fmla="val 8254"/>
            <a:gd name="adj2" fmla="val 576604"/>
            <a:gd name="adj3" fmla="val 2961627"/>
            <a:gd name="adj4" fmla="val 53215"/>
            <a:gd name="adj5" fmla="val 9630"/>
          </a:avLst>
        </a:prstGeom>
        <a:solidFill>
          <a:srgbClr val="5E74B8">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endParaRPr lang="fr-FR">
            <a:solidFill>
              <a:schemeClr val="bg2"/>
            </a:solidFill>
          </a:endParaRPr>
        </a:p>
      </dgm:t>
    </dgm:pt>
    <dgm:pt modelId="{DD302E5C-D5E4-4221-9D0D-E4A8B0EE5269}">
      <dgm:prSet phldrT="[Texte]"/>
      <dgm:spPr>
        <a:xfrm>
          <a:off x="2004726" y="1344998"/>
          <a:ext cx="815082" cy="815082"/>
        </a:xfrm>
        <a:prstGeom prst="rect">
          <a:avLst/>
        </a:prstGeom>
        <a:noFill/>
        <a:ln>
          <a:noFill/>
        </a:ln>
        <a:effectLst/>
      </dgm:spPr>
      <dgm:t>
        <a:bodyPr/>
        <a:lstStyle/>
        <a:p>
          <a:r>
            <a:rPr lang="fr-FR" i="1">
              <a:solidFill>
                <a:srgbClr val="545859"/>
              </a:solidFill>
              <a:latin typeface="Arial" panose="020B0604020202020204"/>
              <a:ea typeface="+mn-ea"/>
              <a:cs typeface="+mn-cs"/>
            </a:rPr>
            <a:t>Les DMP ne sont pas consultés parce qu’ils ne sont pas alimentés</a:t>
          </a:r>
          <a:endParaRPr lang="fr-FR">
            <a:solidFill>
              <a:srgbClr val="545859"/>
            </a:solidFill>
            <a:latin typeface="Arial" panose="020B0604020202020204"/>
            <a:ea typeface="+mn-ea"/>
            <a:cs typeface="+mn-cs"/>
          </a:endParaRPr>
        </a:p>
      </dgm:t>
    </dgm:pt>
    <dgm:pt modelId="{16630B0E-2C9D-4DE3-A47C-E2AA4ECCDDF4}" type="parTrans" cxnId="{109C6E42-5212-4E26-98B1-C1D96CCA8789}">
      <dgm:prSet/>
      <dgm:spPr/>
      <dgm:t>
        <a:bodyPr/>
        <a:lstStyle/>
        <a:p>
          <a:endParaRPr lang="fr-FR">
            <a:solidFill>
              <a:schemeClr val="bg2"/>
            </a:solidFill>
          </a:endParaRPr>
        </a:p>
      </dgm:t>
    </dgm:pt>
    <dgm:pt modelId="{1A3FD7FB-FBEB-45A7-9DE8-E8C6EC229EBD}" type="sibTrans" cxnId="{109C6E42-5212-4E26-98B1-C1D96CCA8789}">
      <dgm:prSet/>
      <dgm:spPr>
        <a:xfrm>
          <a:off x="1449474" y="-860"/>
          <a:ext cx="1925586" cy="1925586"/>
        </a:xfrm>
        <a:prstGeom prst="circularArrow">
          <a:avLst>
            <a:gd name="adj1" fmla="val 8254"/>
            <a:gd name="adj2" fmla="val 576604"/>
            <a:gd name="adj3" fmla="val 10170181"/>
            <a:gd name="adj4" fmla="val 7261769"/>
            <a:gd name="adj5" fmla="val 9630"/>
          </a:avLst>
        </a:prstGeom>
        <a:solidFill>
          <a:srgbClr val="5E74B8">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endParaRPr lang="fr-FR">
            <a:solidFill>
              <a:schemeClr val="bg2"/>
            </a:solidFill>
          </a:endParaRPr>
        </a:p>
      </dgm:t>
    </dgm:pt>
    <dgm:pt modelId="{6178F4F7-B8E3-48CF-97DE-3265E3D32AA5}">
      <dgm:prSet phldrT="[Texte]"/>
      <dgm:spPr>
        <a:xfrm>
          <a:off x="1320040" y="159088"/>
          <a:ext cx="815082" cy="815082"/>
        </a:xfrm>
        <a:prstGeom prst="rect">
          <a:avLst/>
        </a:prstGeom>
        <a:noFill/>
        <a:ln>
          <a:noFill/>
        </a:ln>
        <a:effectLst/>
      </dgm:spPr>
      <dgm:t>
        <a:bodyPr/>
        <a:lstStyle/>
        <a:p>
          <a:r>
            <a:rPr lang="fr-FR" i="1">
              <a:solidFill>
                <a:srgbClr val="545859"/>
              </a:solidFill>
              <a:latin typeface="Arial" panose="020B0604020202020204"/>
              <a:ea typeface="+mn-ea"/>
              <a:cs typeface="+mn-cs"/>
            </a:rPr>
            <a:t>Les DMP ne sont pas alimentés parce qu’ils ne sont pas créés.</a:t>
          </a:r>
          <a:endParaRPr lang="fr-FR">
            <a:solidFill>
              <a:srgbClr val="545859"/>
            </a:solidFill>
            <a:latin typeface="Arial" panose="020B0604020202020204"/>
            <a:ea typeface="+mn-ea"/>
            <a:cs typeface="+mn-cs"/>
          </a:endParaRPr>
        </a:p>
      </dgm:t>
    </dgm:pt>
    <dgm:pt modelId="{439C6D97-3D3C-4418-B84A-5DB0DAAF7365}" type="parTrans" cxnId="{5E10CFB4-8EC7-4D53-BA1A-562DCC8C24B7}">
      <dgm:prSet/>
      <dgm:spPr/>
      <dgm:t>
        <a:bodyPr/>
        <a:lstStyle/>
        <a:p>
          <a:endParaRPr lang="fr-FR">
            <a:solidFill>
              <a:schemeClr val="bg2"/>
            </a:solidFill>
          </a:endParaRPr>
        </a:p>
      </dgm:t>
    </dgm:pt>
    <dgm:pt modelId="{F956D7DA-3472-48C6-BADC-72339D1C61DB}" type="sibTrans" cxnId="{5E10CFB4-8EC7-4D53-BA1A-562DCC8C24B7}">
      <dgm:prSet/>
      <dgm:spPr>
        <a:xfrm>
          <a:off x="1449474" y="-860"/>
          <a:ext cx="1925586" cy="1925586"/>
        </a:xfrm>
        <a:prstGeom prst="circularArrow">
          <a:avLst>
            <a:gd name="adj1" fmla="val 8254"/>
            <a:gd name="adj2" fmla="val 576604"/>
            <a:gd name="adj3" fmla="val 16854640"/>
            <a:gd name="adj4" fmla="val 14968756"/>
            <a:gd name="adj5" fmla="val 9630"/>
          </a:avLst>
        </a:prstGeom>
        <a:solidFill>
          <a:srgbClr val="5E74B8">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endParaRPr lang="fr-FR">
            <a:solidFill>
              <a:schemeClr val="bg2"/>
            </a:solidFill>
          </a:endParaRPr>
        </a:p>
      </dgm:t>
    </dgm:pt>
    <dgm:pt modelId="{3CF06A63-AB5F-43FD-86D4-26F814E99BA6}" type="pres">
      <dgm:prSet presAssocID="{66D562AA-F83E-4E16-A27F-1F15BBD6E822}" presName="cycle" presStyleCnt="0">
        <dgm:presLayoutVars>
          <dgm:dir/>
          <dgm:resizeHandles val="exact"/>
        </dgm:presLayoutVars>
      </dgm:prSet>
      <dgm:spPr/>
    </dgm:pt>
    <dgm:pt modelId="{B26FBA14-D99B-4A4C-BDBB-3DA11B266299}" type="pres">
      <dgm:prSet presAssocID="{AE61E61B-5C68-4F82-850F-2CE3E03B500B}" presName="dummy" presStyleCnt="0"/>
      <dgm:spPr/>
    </dgm:pt>
    <dgm:pt modelId="{F49AB138-729E-4330-807F-182FFE124367}" type="pres">
      <dgm:prSet presAssocID="{AE61E61B-5C68-4F82-850F-2CE3E03B500B}" presName="node" presStyleLbl="revTx" presStyleIdx="0" presStyleCnt="3">
        <dgm:presLayoutVars>
          <dgm:bulletEnabled val="1"/>
        </dgm:presLayoutVars>
      </dgm:prSet>
      <dgm:spPr/>
    </dgm:pt>
    <dgm:pt modelId="{870A8AC6-C887-4029-9C68-C9C4CDAABC20}" type="pres">
      <dgm:prSet presAssocID="{0BE5E463-BECE-4224-9113-371FF514353A}" presName="sibTrans" presStyleLbl="node1" presStyleIdx="0" presStyleCnt="3"/>
      <dgm:spPr/>
    </dgm:pt>
    <dgm:pt modelId="{287094EF-799B-44E4-B0D6-14F878EF79E3}" type="pres">
      <dgm:prSet presAssocID="{DD302E5C-D5E4-4221-9D0D-E4A8B0EE5269}" presName="dummy" presStyleCnt="0"/>
      <dgm:spPr/>
    </dgm:pt>
    <dgm:pt modelId="{93C85E84-69DD-4D71-8920-EC0CB446125E}" type="pres">
      <dgm:prSet presAssocID="{DD302E5C-D5E4-4221-9D0D-E4A8B0EE5269}" presName="node" presStyleLbl="revTx" presStyleIdx="1" presStyleCnt="3">
        <dgm:presLayoutVars>
          <dgm:bulletEnabled val="1"/>
        </dgm:presLayoutVars>
      </dgm:prSet>
      <dgm:spPr/>
    </dgm:pt>
    <dgm:pt modelId="{0189113B-6517-4A0B-822E-4D8BF4691912}" type="pres">
      <dgm:prSet presAssocID="{1A3FD7FB-FBEB-45A7-9DE8-E8C6EC229EBD}" presName="sibTrans" presStyleLbl="node1" presStyleIdx="1" presStyleCnt="3"/>
      <dgm:spPr/>
    </dgm:pt>
    <dgm:pt modelId="{6D56BE5A-C9B9-4ECC-8875-4D9DA2602437}" type="pres">
      <dgm:prSet presAssocID="{6178F4F7-B8E3-48CF-97DE-3265E3D32AA5}" presName="dummy" presStyleCnt="0"/>
      <dgm:spPr/>
    </dgm:pt>
    <dgm:pt modelId="{BCDE1182-4698-411C-98D5-DBA12F7B680D}" type="pres">
      <dgm:prSet presAssocID="{6178F4F7-B8E3-48CF-97DE-3265E3D32AA5}" presName="node" presStyleLbl="revTx" presStyleIdx="2" presStyleCnt="3">
        <dgm:presLayoutVars>
          <dgm:bulletEnabled val="1"/>
        </dgm:presLayoutVars>
      </dgm:prSet>
      <dgm:spPr/>
    </dgm:pt>
    <dgm:pt modelId="{9807B164-E649-47E0-8025-790937EA7B8B}" type="pres">
      <dgm:prSet presAssocID="{F956D7DA-3472-48C6-BADC-72339D1C61DB}" presName="sibTrans" presStyleLbl="node1" presStyleIdx="2" presStyleCnt="3"/>
      <dgm:spPr/>
    </dgm:pt>
  </dgm:ptLst>
  <dgm:cxnLst>
    <dgm:cxn modelId="{04D8580E-110F-4548-8764-A9F256246291}" type="presOf" srcId="{1A3FD7FB-FBEB-45A7-9DE8-E8C6EC229EBD}" destId="{0189113B-6517-4A0B-822E-4D8BF4691912}" srcOrd="0" destOrd="0" presId="urn:microsoft.com/office/officeart/2005/8/layout/cycle1"/>
    <dgm:cxn modelId="{2547A11A-6C0F-470E-A19A-211B20056177}" type="presOf" srcId="{66D562AA-F83E-4E16-A27F-1F15BBD6E822}" destId="{3CF06A63-AB5F-43FD-86D4-26F814E99BA6}" srcOrd="0" destOrd="0" presId="urn:microsoft.com/office/officeart/2005/8/layout/cycle1"/>
    <dgm:cxn modelId="{33263C3F-D6EF-45D1-B121-3B196372DEA7}" type="presOf" srcId="{0BE5E463-BECE-4224-9113-371FF514353A}" destId="{870A8AC6-C887-4029-9C68-C9C4CDAABC20}" srcOrd="0" destOrd="0" presId="urn:microsoft.com/office/officeart/2005/8/layout/cycle1"/>
    <dgm:cxn modelId="{109C6E42-5212-4E26-98B1-C1D96CCA8789}" srcId="{66D562AA-F83E-4E16-A27F-1F15BBD6E822}" destId="{DD302E5C-D5E4-4221-9D0D-E4A8B0EE5269}" srcOrd="1" destOrd="0" parTransId="{16630B0E-2C9D-4DE3-A47C-E2AA4ECCDDF4}" sibTransId="{1A3FD7FB-FBEB-45A7-9DE8-E8C6EC229EBD}"/>
    <dgm:cxn modelId="{FCB6EE4B-5F03-4EAB-8EA2-E4B9C2EE2E03}" type="presOf" srcId="{F956D7DA-3472-48C6-BADC-72339D1C61DB}" destId="{9807B164-E649-47E0-8025-790937EA7B8B}" srcOrd="0" destOrd="0" presId="urn:microsoft.com/office/officeart/2005/8/layout/cycle1"/>
    <dgm:cxn modelId="{F1179E6C-E5BA-425B-A9DC-888B131D9AE1}" srcId="{66D562AA-F83E-4E16-A27F-1F15BBD6E822}" destId="{AE61E61B-5C68-4F82-850F-2CE3E03B500B}" srcOrd="0" destOrd="0" parTransId="{5D6ABBFC-9B41-4320-9F16-08AF59BE8FA7}" sibTransId="{0BE5E463-BECE-4224-9113-371FF514353A}"/>
    <dgm:cxn modelId="{ACD6AB56-7C95-4690-ACCF-EEE1D19757E9}" type="presOf" srcId="{AE61E61B-5C68-4F82-850F-2CE3E03B500B}" destId="{F49AB138-729E-4330-807F-182FFE124367}" srcOrd="0" destOrd="0" presId="urn:microsoft.com/office/officeart/2005/8/layout/cycle1"/>
    <dgm:cxn modelId="{F24C1B93-87C6-4E8F-824D-D50929B64BEE}" type="presOf" srcId="{6178F4F7-B8E3-48CF-97DE-3265E3D32AA5}" destId="{BCDE1182-4698-411C-98D5-DBA12F7B680D}" srcOrd="0" destOrd="0" presId="urn:microsoft.com/office/officeart/2005/8/layout/cycle1"/>
    <dgm:cxn modelId="{5E10CFB4-8EC7-4D53-BA1A-562DCC8C24B7}" srcId="{66D562AA-F83E-4E16-A27F-1F15BBD6E822}" destId="{6178F4F7-B8E3-48CF-97DE-3265E3D32AA5}" srcOrd="2" destOrd="0" parTransId="{439C6D97-3D3C-4418-B84A-5DB0DAAF7365}" sibTransId="{F956D7DA-3472-48C6-BADC-72339D1C61DB}"/>
    <dgm:cxn modelId="{9ACB0BC2-588D-44CD-BF8F-FE7BC2568DF7}" type="presOf" srcId="{DD302E5C-D5E4-4221-9D0D-E4A8B0EE5269}" destId="{93C85E84-69DD-4D71-8920-EC0CB446125E}" srcOrd="0" destOrd="0" presId="urn:microsoft.com/office/officeart/2005/8/layout/cycle1"/>
    <dgm:cxn modelId="{F9418870-E80F-4E55-BE35-B2CCB367CDA6}" type="presParOf" srcId="{3CF06A63-AB5F-43FD-86D4-26F814E99BA6}" destId="{B26FBA14-D99B-4A4C-BDBB-3DA11B266299}" srcOrd="0" destOrd="0" presId="urn:microsoft.com/office/officeart/2005/8/layout/cycle1"/>
    <dgm:cxn modelId="{7D43860E-AC4D-4CC1-AB74-AEC90AA21C57}" type="presParOf" srcId="{3CF06A63-AB5F-43FD-86D4-26F814E99BA6}" destId="{F49AB138-729E-4330-807F-182FFE124367}" srcOrd="1" destOrd="0" presId="urn:microsoft.com/office/officeart/2005/8/layout/cycle1"/>
    <dgm:cxn modelId="{EE008773-CCCD-428E-AA24-B05F7E9841E1}" type="presParOf" srcId="{3CF06A63-AB5F-43FD-86D4-26F814E99BA6}" destId="{870A8AC6-C887-4029-9C68-C9C4CDAABC20}" srcOrd="2" destOrd="0" presId="urn:microsoft.com/office/officeart/2005/8/layout/cycle1"/>
    <dgm:cxn modelId="{D3C448CE-10F6-4F6A-A040-44B85710B09A}" type="presParOf" srcId="{3CF06A63-AB5F-43FD-86D4-26F814E99BA6}" destId="{287094EF-799B-44E4-B0D6-14F878EF79E3}" srcOrd="3" destOrd="0" presId="urn:microsoft.com/office/officeart/2005/8/layout/cycle1"/>
    <dgm:cxn modelId="{2253B450-7A05-4E21-A1D1-05297CF99D90}" type="presParOf" srcId="{3CF06A63-AB5F-43FD-86D4-26F814E99BA6}" destId="{93C85E84-69DD-4D71-8920-EC0CB446125E}" srcOrd="4" destOrd="0" presId="urn:microsoft.com/office/officeart/2005/8/layout/cycle1"/>
    <dgm:cxn modelId="{DBFC1151-6055-4B88-91C1-FCABFC58DBF4}" type="presParOf" srcId="{3CF06A63-AB5F-43FD-86D4-26F814E99BA6}" destId="{0189113B-6517-4A0B-822E-4D8BF4691912}" srcOrd="5" destOrd="0" presId="urn:microsoft.com/office/officeart/2005/8/layout/cycle1"/>
    <dgm:cxn modelId="{92FA5621-35DB-4B1E-8408-07A260E058CB}" type="presParOf" srcId="{3CF06A63-AB5F-43FD-86D4-26F814E99BA6}" destId="{6D56BE5A-C9B9-4ECC-8875-4D9DA2602437}" srcOrd="6" destOrd="0" presId="urn:microsoft.com/office/officeart/2005/8/layout/cycle1"/>
    <dgm:cxn modelId="{FB6841FC-93A6-40A7-A6CE-46E31F0A8D81}" type="presParOf" srcId="{3CF06A63-AB5F-43FD-86D4-26F814E99BA6}" destId="{BCDE1182-4698-411C-98D5-DBA12F7B680D}" srcOrd="7" destOrd="0" presId="urn:microsoft.com/office/officeart/2005/8/layout/cycle1"/>
    <dgm:cxn modelId="{06586785-EAF0-4801-9EDE-1CC5C086C1C4}" type="presParOf" srcId="{3CF06A63-AB5F-43FD-86D4-26F814E99BA6}" destId="{9807B164-E649-47E0-8025-790937EA7B8B}" srcOrd="8" destOrd="0" presId="urn:microsoft.com/office/officeart/2005/8/layout/cycl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9AB138-729E-4330-807F-182FFE124367}">
      <dsp:nvSpPr>
        <dsp:cNvPr id="0" name=""/>
        <dsp:cNvSpPr/>
      </dsp:nvSpPr>
      <dsp:spPr>
        <a:xfrm>
          <a:off x="2689412" y="159088"/>
          <a:ext cx="815082" cy="8150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fr-FR" sz="1000" i="1" kern="1200">
              <a:solidFill>
                <a:srgbClr val="545859"/>
              </a:solidFill>
              <a:latin typeface="Arial" panose="020B0604020202020204"/>
              <a:ea typeface="+mn-ea"/>
              <a:cs typeface="+mn-cs"/>
            </a:rPr>
            <a:t>Les DMP ne sont pas créés parce qu’ils ne sont pas consultés. </a:t>
          </a:r>
          <a:endParaRPr lang="fr-FR" sz="1000" kern="1200">
            <a:solidFill>
              <a:srgbClr val="545859"/>
            </a:solidFill>
            <a:latin typeface="Arial" panose="020B0604020202020204"/>
            <a:ea typeface="+mn-ea"/>
            <a:cs typeface="+mn-cs"/>
          </a:endParaRPr>
        </a:p>
      </dsp:txBody>
      <dsp:txXfrm>
        <a:off x="2689412" y="159088"/>
        <a:ext cx="815082" cy="815082"/>
      </dsp:txXfrm>
    </dsp:sp>
    <dsp:sp modelId="{870A8AC6-C887-4029-9C68-C9C4CDAABC20}">
      <dsp:nvSpPr>
        <dsp:cNvPr id="0" name=""/>
        <dsp:cNvSpPr/>
      </dsp:nvSpPr>
      <dsp:spPr>
        <a:xfrm>
          <a:off x="1449474" y="-860"/>
          <a:ext cx="1925586" cy="1925586"/>
        </a:xfrm>
        <a:prstGeom prst="circularArrow">
          <a:avLst>
            <a:gd name="adj1" fmla="val 8254"/>
            <a:gd name="adj2" fmla="val 576604"/>
            <a:gd name="adj3" fmla="val 2961627"/>
            <a:gd name="adj4" fmla="val 53215"/>
            <a:gd name="adj5" fmla="val 9630"/>
          </a:avLst>
        </a:prstGeom>
        <a:solidFill>
          <a:srgbClr val="5E74B8">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C85E84-69DD-4D71-8920-EC0CB446125E}">
      <dsp:nvSpPr>
        <dsp:cNvPr id="0" name=""/>
        <dsp:cNvSpPr/>
      </dsp:nvSpPr>
      <dsp:spPr>
        <a:xfrm>
          <a:off x="2004726" y="1344998"/>
          <a:ext cx="815082" cy="8150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fr-FR" sz="1000" i="1" kern="1200">
              <a:solidFill>
                <a:srgbClr val="545859"/>
              </a:solidFill>
              <a:latin typeface="Arial" panose="020B0604020202020204"/>
              <a:ea typeface="+mn-ea"/>
              <a:cs typeface="+mn-cs"/>
            </a:rPr>
            <a:t>Les DMP ne sont pas consultés parce qu’ils ne sont pas alimentés</a:t>
          </a:r>
          <a:endParaRPr lang="fr-FR" sz="1000" kern="1200">
            <a:solidFill>
              <a:srgbClr val="545859"/>
            </a:solidFill>
            <a:latin typeface="Arial" panose="020B0604020202020204"/>
            <a:ea typeface="+mn-ea"/>
            <a:cs typeface="+mn-cs"/>
          </a:endParaRPr>
        </a:p>
      </dsp:txBody>
      <dsp:txXfrm>
        <a:off x="2004726" y="1344998"/>
        <a:ext cx="815082" cy="815082"/>
      </dsp:txXfrm>
    </dsp:sp>
    <dsp:sp modelId="{0189113B-6517-4A0B-822E-4D8BF4691912}">
      <dsp:nvSpPr>
        <dsp:cNvPr id="0" name=""/>
        <dsp:cNvSpPr/>
      </dsp:nvSpPr>
      <dsp:spPr>
        <a:xfrm>
          <a:off x="1449474" y="-860"/>
          <a:ext cx="1925586" cy="1925586"/>
        </a:xfrm>
        <a:prstGeom prst="circularArrow">
          <a:avLst>
            <a:gd name="adj1" fmla="val 8254"/>
            <a:gd name="adj2" fmla="val 576604"/>
            <a:gd name="adj3" fmla="val 10170181"/>
            <a:gd name="adj4" fmla="val 7261769"/>
            <a:gd name="adj5" fmla="val 9630"/>
          </a:avLst>
        </a:prstGeom>
        <a:solidFill>
          <a:srgbClr val="5E74B8">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DE1182-4698-411C-98D5-DBA12F7B680D}">
      <dsp:nvSpPr>
        <dsp:cNvPr id="0" name=""/>
        <dsp:cNvSpPr/>
      </dsp:nvSpPr>
      <dsp:spPr>
        <a:xfrm>
          <a:off x="1320040" y="159088"/>
          <a:ext cx="815082" cy="8150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fr-FR" sz="1000" i="1" kern="1200">
              <a:solidFill>
                <a:srgbClr val="545859"/>
              </a:solidFill>
              <a:latin typeface="Arial" panose="020B0604020202020204"/>
              <a:ea typeface="+mn-ea"/>
              <a:cs typeface="+mn-cs"/>
            </a:rPr>
            <a:t>Les DMP ne sont pas alimentés parce qu’ils ne sont pas créés.</a:t>
          </a:r>
          <a:endParaRPr lang="fr-FR" sz="1000" kern="1200">
            <a:solidFill>
              <a:srgbClr val="545859"/>
            </a:solidFill>
            <a:latin typeface="Arial" panose="020B0604020202020204"/>
            <a:ea typeface="+mn-ea"/>
            <a:cs typeface="+mn-cs"/>
          </a:endParaRPr>
        </a:p>
      </dsp:txBody>
      <dsp:txXfrm>
        <a:off x="1320040" y="159088"/>
        <a:ext cx="815082" cy="815082"/>
      </dsp:txXfrm>
    </dsp:sp>
    <dsp:sp modelId="{9807B164-E649-47E0-8025-790937EA7B8B}">
      <dsp:nvSpPr>
        <dsp:cNvPr id="0" name=""/>
        <dsp:cNvSpPr/>
      </dsp:nvSpPr>
      <dsp:spPr>
        <a:xfrm>
          <a:off x="1449474" y="-860"/>
          <a:ext cx="1925586" cy="1925586"/>
        </a:xfrm>
        <a:prstGeom prst="circularArrow">
          <a:avLst>
            <a:gd name="adj1" fmla="val 8254"/>
            <a:gd name="adj2" fmla="val 576604"/>
            <a:gd name="adj3" fmla="val 16854640"/>
            <a:gd name="adj4" fmla="val 14968756"/>
            <a:gd name="adj5" fmla="val 9630"/>
          </a:avLst>
        </a:prstGeom>
        <a:solidFill>
          <a:srgbClr val="5E74B8">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22B536B-CD43-4D24-9BBA-141B84F61A18}" type="datetimeFigureOut">
              <a:rPr lang="fr-FR" smtClean="0"/>
              <a:t>07/08/2024</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E568D3-CD17-48BD-85F3-73E43D8F8891}" type="slidenum">
              <a:rPr lang="fr-FR" smtClean="0"/>
              <a:t>‹N°›</a:t>
            </a:fld>
            <a:endParaRPr lang="fr-FR"/>
          </a:p>
        </p:txBody>
      </p:sp>
    </p:spTree>
    <p:extLst>
      <p:ext uri="{BB962C8B-B14F-4D97-AF65-F5344CB8AC3E}">
        <p14:creationId xmlns:p14="http://schemas.microsoft.com/office/powerpoint/2010/main" val="25125119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Footer Placeholder 3"/>
          <p:cNvSpPr>
            <a:spLocks noGrp="1"/>
          </p:cNvSpPr>
          <p:nvPr>
            <p:ph type="ftr" sz="quarter" idx="4"/>
          </p:nvPr>
        </p:nvSpPr>
        <p:spPr/>
        <p:txBody>
          <a:bodyPr/>
          <a:lstStyle/>
          <a:p>
            <a:r>
              <a:rPr lang="fr-FR"/>
              <a:t>Point presse 29 avril 2021</a:t>
            </a:r>
          </a:p>
          <a:p>
            <a:r>
              <a:rPr lang="fr-FR"/>
              <a:t>
Point presse 29 avril 2021</a:t>
            </a:r>
          </a:p>
          <a:p>
            <a:r>
              <a:rPr lang="fr-FR"/>
              <a:t>
POINT PRESSE 29 AVRIL 2021</a:t>
            </a:r>
          </a:p>
        </p:txBody>
      </p:sp>
      <p:sp>
        <p:nvSpPr>
          <p:cNvPr id="5" name="Slide Number Placeholder 4"/>
          <p:cNvSpPr>
            <a:spLocks noGrp="1"/>
          </p:cNvSpPr>
          <p:nvPr>
            <p:ph type="sldNum" sz="quarter" idx="5"/>
          </p:nvPr>
        </p:nvSpPr>
        <p:spPr/>
        <p:txBody>
          <a:bodyPr/>
          <a:lstStyle/>
          <a:p>
            <a:fld id="{22391A9D-FBD1-6549-8392-1A40951E00D9}" type="slidenum">
              <a:rPr lang="fr-FR" smtClean="0"/>
              <a:t>9</a:t>
            </a:fld>
            <a:endParaRPr lang="fr-FR"/>
          </a:p>
        </p:txBody>
      </p:sp>
    </p:spTree>
    <p:extLst>
      <p:ext uri="{BB962C8B-B14F-4D97-AF65-F5344CB8AC3E}">
        <p14:creationId xmlns:p14="http://schemas.microsoft.com/office/powerpoint/2010/main" val="32804088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5.xml"/><Relationship Id="rId6" Type="http://schemas.openxmlformats.org/officeDocument/2006/relationships/image" Target="../media/image5.jpeg"/><Relationship Id="rId5" Type="http://schemas.openxmlformats.org/officeDocument/2006/relationships/image" Target="../media/image4.sv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sv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svg"/><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 Id="rId6" Type="http://schemas.openxmlformats.org/officeDocument/2006/relationships/image" Target="../media/image5.jpeg"/><Relationship Id="rId5" Type="http://schemas.openxmlformats.org/officeDocument/2006/relationships/image" Target="../media/image4.svg"/><Relationship Id="rId4" Type="http://schemas.openxmlformats.org/officeDocument/2006/relationships/image" Target="../media/image3.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3.xml"/><Relationship Id="rId6" Type="http://schemas.openxmlformats.org/officeDocument/2006/relationships/image" Target="../media/image5.jpeg"/><Relationship Id="rId5" Type="http://schemas.openxmlformats.org/officeDocument/2006/relationships/image" Target="../media/image4.svg"/><Relationship Id="rId4" Type="http://schemas.openxmlformats.org/officeDocument/2006/relationships/image" Target="../media/image3.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12.jpeg"/><Relationship Id="rId4" Type="http://schemas.openxmlformats.org/officeDocument/2006/relationships/image" Target="../media/image5.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3.xml"/><Relationship Id="rId6" Type="http://schemas.openxmlformats.org/officeDocument/2006/relationships/image" Target="../media/image2.png"/><Relationship Id="rId5" Type="http://schemas.openxmlformats.org/officeDocument/2006/relationships/image" Target="../media/image5.jpeg"/><Relationship Id="rId4" Type="http://schemas.openxmlformats.org/officeDocument/2006/relationships/image" Target="../media/image4.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 Id="rId5" Type="http://schemas.openxmlformats.org/officeDocument/2006/relationships/image" Target="../media/image6.png"/><Relationship Id="rId4" Type="http://schemas.openxmlformats.org/officeDocument/2006/relationships/image" Target="../media/image5.jpe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3.xml"/><Relationship Id="rId6" Type="http://schemas.openxmlformats.org/officeDocument/2006/relationships/image" Target="../media/image5.jpeg"/><Relationship Id="rId5" Type="http://schemas.openxmlformats.org/officeDocument/2006/relationships/image" Target="../media/image4.svg"/><Relationship Id="rId4" Type="http://schemas.openxmlformats.org/officeDocument/2006/relationships/image" Target="../media/image3.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3.xml"/><Relationship Id="rId6" Type="http://schemas.openxmlformats.org/officeDocument/2006/relationships/image" Target="../media/image5.jpeg"/><Relationship Id="rId5" Type="http://schemas.openxmlformats.org/officeDocument/2006/relationships/image" Target="../media/image4.svg"/><Relationship Id="rId4" Type="http://schemas.openxmlformats.org/officeDocument/2006/relationships/image" Target="../media/image3.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3.xml"/><Relationship Id="rId6" Type="http://schemas.openxmlformats.org/officeDocument/2006/relationships/image" Target="../media/image5.jpeg"/><Relationship Id="rId5" Type="http://schemas.openxmlformats.org/officeDocument/2006/relationships/image" Target="../media/image10.svg"/><Relationship Id="rId4" Type="http://schemas.openxmlformats.org/officeDocument/2006/relationships/image" Target="../media/image3.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4.xml"/><Relationship Id="rId4" Type="http://schemas.openxmlformats.org/officeDocument/2006/relationships/image" Target="../media/image5.jpe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jpeg"/><Relationship Id="rId1" Type="http://schemas.openxmlformats.org/officeDocument/2006/relationships/slideMaster" Target="../slideMasters/slideMaster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4.xml"/><Relationship Id="rId4" Type="http://schemas.openxmlformats.org/officeDocument/2006/relationships/image" Target="../media/image5.jpe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2.jpeg"/><Relationship Id="rId1" Type="http://schemas.openxmlformats.org/officeDocument/2006/relationships/slideMaster" Target="../slideMasters/slideMaster4.xml"/><Relationship Id="rId4" Type="http://schemas.openxmlformats.org/officeDocument/2006/relationships/image" Target="../media/image18.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7.jpeg"/><Relationship Id="rId1" Type="http://schemas.openxmlformats.org/officeDocument/2006/relationships/slideMaster" Target="../slideMasters/slideMaster4.xml"/><Relationship Id="rId4" Type="http://schemas.openxmlformats.org/officeDocument/2006/relationships/image" Target="../media/image2.png"/></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4.xml"/><Relationship Id="rId4" Type="http://schemas.openxmlformats.org/officeDocument/2006/relationships/image" Target="../media/image5.jpe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4.xml"/><Relationship Id="rId4" Type="http://schemas.openxmlformats.org/officeDocument/2006/relationships/image" Target="../media/image5.jpe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4.xml"/><Relationship Id="rId4" Type="http://schemas.openxmlformats.org/officeDocument/2006/relationships/image" Target="../media/image5.jpeg"/></Relationships>
</file>

<file path=ppt/slideLayouts/_rels/slideLayout83.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19.emf"/><Relationship Id="rId5" Type="http://schemas.openxmlformats.org/officeDocument/2006/relationships/tags" Target="../tags/tag5.xml"/><Relationship Id="rId10" Type="http://schemas.openxmlformats.org/officeDocument/2006/relationships/oleObject" Target="../embeddings/oleObject1.bin"/><Relationship Id="rId4" Type="http://schemas.openxmlformats.org/officeDocument/2006/relationships/tags" Target="../tags/tag4.xml"/><Relationship Id="rId9"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2.jpeg"/><Relationship Id="rId1" Type="http://schemas.openxmlformats.org/officeDocument/2006/relationships/slideMaster" Target="../slideMasters/slideMaster4.xml"/><Relationship Id="rId4" Type="http://schemas.openxmlformats.org/officeDocument/2006/relationships/image" Target="../media/image2.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5.xml"/><Relationship Id="rId6" Type="http://schemas.openxmlformats.org/officeDocument/2006/relationships/image" Target="../media/image5.jpeg"/><Relationship Id="rId5" Type="http://schemas.openxmlformats.org/officeDocument/2006/relationships/image" Target="../media/image4.svg"/><Relationship Id="rId4" Type="http://schemas.openxmlformats.org/officeDocument/2006/relationships/image" Target="../media/image3.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5.xml"/><Relationship Id="rId6" Type="http://schemas.openxmlformats.org/officeDocument/2006/relationships/image" Target="../media/image5.jpeg"/><Relationship Id="rId5" Type="http://schemas.openxmlformats.org/officeDocument/2006/relationships/image" Target="../media/image4.svg"/><Relationship Id="rId4" Type="http://schemas.openxmlformats.org/officeDocument/2006/relationships/image" Target="../media/image3.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 Id="rId6" Type="http://schemas.openxmlformats.org/officeDocument/2006/relationships/image" Target="../media/image6.png"/><Relationship Id="rId5" Type="http://schemas.openxmlformats.org/officeDocument/2006/relationships/image" Target="../media/image12.jpeg"/><Relationship Id="rId4" Type="http://schemas.openxmlformats.org/officeDocument/2006/relationships/image" Target="../media/image5.jpe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5.xml"/><Relationship Id="rId6" Type="http://schemas.openxmlformats.org/officeDocument/2006/relationships/image" Target="../media/image2.png"/><Relationship Id="rId5" Type="http://schemas.openxmlformats.org/officeDocument/2006/relationships/image" Target="../media/image5.jpeg"/><Relationship Id="rId4" Type="http://schemas.openxmlformats.org/officeDocument/2006/relationships/image" Target="../media/image4.sv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 Id="rId5" Type="http://schemas.openxmlformats.org/officeDocument/2006/relationships/image" Target="../media/image6.png"/><Relationship Id="rId4" Type="http://schemas.openxmlformats.org/officeDocument/2006/relationships/image" Target="../media/image5.jpe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5.xml"/><Relationship Id="rId6" Type="http://schemas.openxmlformats.org/officeDocument/2006/relationships/image" Target="../media/image5.jpeg"/><Relationship Id="rId5" Type="http://schemas.openxmlformats.org/officeDocument/2006/relationships/image" Target="../media/image4.svg"/><Relationship Id="rId4" Type="http://schemas.openxmlformats.org/officeDocument/2006/relationships/image" Target="../media/image3.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5.xml"/><Relationship Id="rId6" Type="http://schemas.openxmlformats.org/officeDocument/2006/relationships/image" Target="../media/image5.jpeg"/><Relationship Id="rId5" Type="http://schemas.openxmlformats.org/officeDocument/2006/relationships/image" Target="../media/image4.svg"/><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BF62A2C-1576-4131-8C3F-04AACA101E69}"/>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3E16C5C4-AEA3-44D4-9582-E2D1BD50A4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AF80EA83-93DB-4C3A-AB59-DF4D6F83AD44}"/>
              </a:ext>
            </a:extLst>
          </p:cNvPr>
          <p:cNvSpPr>
            <a:spLocks noGrp="1"/>
          </p:cNvSpPr>
          <p:nvPr>
            <p:ph type="dt" sz="half" idx="10"/>
          </p:nvPr>
        </p:nvSpPr>
        <p:spPr/>
        <p:txBody>
          <a:bodyPr/>
          <a:lstStyle/>
          <a:p>
            <a:fld id="{A2413034-B103-41D2-977A-32CF76459AF0}" type="datetimeFigureOut">
              <a:rPr lang="fr-FR" smtClean="0"/>
              <a:t>07/08/2024</a:t>
            </a:fld>
            <a:endParaRPr lang="fr-FR"/>
          </a:p>
        </p:txBody>
      </p:sp>
      <p:sp>
        <p:nvSpPr>
          <p:cNvPr id="5" name="Espace réservé du pied de page 4">
            <a:extLst>
              <a:ext uri="{FF2B5EF4-FFF2-40B4-BE49-F238E27FC236}">
                <a16:creationId xmlns:a16="http://schemas.microsoft.com/office/drawing/2014/main" id="{DBD61BCC-C134-487B-81BC-0A3FEED71D16}"/>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0F25CBCC-ED85-42F4-BFA3-02F62E58C280}"/>
              </a:ext>
            </a:extLst>
          </p:cNvPr>
          <p:cNvSpPr>
            <a:spLocks noGrp="1"/>
          </p:cNvSpPr>
          <p:nvPr>
            <p:ph type="sldNum" sz="quarter" idx="12"/>
          </p:nvPr>
        </p:nvSpPr>
        <p:spPr/>
        <p:txBody>
          <a:bodyPr/>
          <a:lstStyle/>
          <a:p>
            <a:fld id="{1853D752-F3DA-47A2-A775-910B824E1582}" type="slidenum">
              <a:rPr lang="fr-FR" smtClean="0"/>
              <a:t>‹N°›</a:t>
            </a:fld>
            <a:endParaRPr lang="fr-FR"/>
          </a:p>
        </p:txBody>
      </p:sp>
    </p:spTree>
    <p:extLst>
      <p:ext uri="{BB962C8B-B14F-4D97-AF65-F5344CB8AC3E}">
        <p14:creationId xmlns:p14="http://schemas.microsoft.com/office/powerpoint/2010/main" val="11648309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DCDBD4B-8312-4801-AEDD-D705E275B88A}"/>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435552D4-52FA-4A6B-8601-036BB67B2368}"/>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6832281B-2065-413C-AAB5-BD7B42224B9A}"/>
              </a:ext>
            </a:extLst>
          </p:cNvPr>
          <p:cNvSpPr>
            <a:spLocks noGrp="1"/>
          </p:cNvSpPr>
          <p:nvPr>
            <p:ph type="dt" sz="half" idx="10"/>
          </p:nvPr>
        </p:nvSpPr>
        <p:spPr/>
        <p:txBody>
          <a:bodyPr/>
          <a:lstStyle/>
          <a:p>
            <a:fld id="{A2413034-B103-41D2-977A-32CF76459AF0}" type="datetimeFigureOut">
              <a:rPr lang="fr-FR" smtClean="0"/>
              <a:t>07/08/2024</a:t>
            </a:fld>
            <a:endParaRPr lang="fr-FR"/>
          </a:p>
        </p:txBody>
      </p:sp>
      <p:sp>
        <p:nvSpPr>
          <p:cNvPr id="5" name="Espace réservé du pied de page 4">
            <a:extLst>
              <a:ext uri="{FF2B5EF4-FFF2-40B4-BE49-F238E27FC236}">
                <a16:creationId xmlns:a16="http://schemas.microsoft.com/office/drawing/2014/main" id="{834ED4A4-F84D-4A3C-8049-91878A815451}"/>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24A7B780-E07D-487F-B6DA-A66810A8C2B5}"/>
              </a:ext>
            </a:extLst>
          </p:cNvPr>
          <p:cNvSpPr>
            <a:spLocks noGrp="1"/>
          </p:cNvSpPr>
          <p:nvPr>
            <p:ph type="sldNum" sz="quarter" idx="12"/>
          </p:nvPr>
        </p:nvSpPr>
        <p:spPr/>
        <p:txBody>
          <a:bodyPr/>
          <a:lstStyle/>
          <a:p>
            <a:fld id="{1853D752-F3DA-47A2-A775-910B824E1582}" type="slidenum">
              <a:rPr lang="fr-FR" smtClean="0"/>
              <a:t>‹N°›</a:t>
            </a:fld>
            <a:endParaRPr lang="fr-FR"/>
          </a:p>
        </p:txBody>
      </p:sp>
    </p:spTree>
    <p:extLst>
      <p:ext uri="{BB962C8B-B14F-4D97-AF65-F5344CB8AC3E}">
        <p14:creationId xmlns:p14="http://schemas.microsoft.com/office/powerpoint/2010/main" val="231838301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Vierge">
    <p:spTree>
      <p:nvGrpSpPr>
        <p:cNvPr id="1" name=""/>
        <p:cNvGrpSpPr/>
        <p:nvPr/>
      </p:nvGrpSpPr>
      <p:grpSpPr>
        <a:xfrm>
          <a:off x="0" y="0"/>
          <a:ext cx="0" cy="0"/>
          <a:chOff x="0" y="0"/>
          <a:chExt cx="0" cy="0"/>
        </a:xfrm>
      </p:grpSpPr>
      <p:pic>
        <p:nvPicPr>
          <p:cNvPr id="18" name="MES-masque PPT2.jpg" descr="MES-masque PPT2.jpg">
            <a:extLst>
              <a:ext uri="{FF2B5EF4-FFF2-40B4-BE49-F238E27FC236}">
                <a16:creationId xmlns:a16="http://schemas.microsoft.com/office/drawing/2014/main" id="{9D85E3DD-9BFB-A842-8C58-B6B0A0C699A4}"/>
              </a:ext>
            </a:extLst>
          </p:cNvPr>
          <p:cNvPicPr>
            <a:picLocks noChangeAspect="1"/>
          </p:cNvPicPr>
          <p:nvPr userDrawn="1"/>
        </p:nvPicPr>
        <p:blipFill>
          <a:blip r:embed="rId2"/>
          <a:stretch>
            <a:fillRect/>
          </a:stretch>
        </p:blipFill>
        <p:spPr>
          <a:xfrm>
            <a:off x="-1" y="-1354"/>
            <a:ext cx="12192001" cy="6196413"/>
          </a:xfrm>
          <a:prstGeom prst="rect">
            <a:avLst/>
          </a:prstGeom>
          <a:ln w="12700">
            <a:miter lim="400000"/>
          </a:ln>
        </p:spPr>
      </p:pic>
      <p:sp>
        <p:nvSpPr>
          <p:cNvPr id="4" name="Numéro de diapositive">
            <a:extLst>
              <a:ext uri="{FF2B5EF4-FFF2-40B4-BE49-F238E27FC236}">
                <a16:creationId xmlns:a16="http://schemas.microsoft.com/office/drawing/2014/main" id="{3DD48768-1DAF-9745-9152-FA78A48B27BD}"/>
              </a:ext>
            </a:extLst>
          </p:cNvPr>
          <p:cNvSpPr txBox="1">
            <a:spLocks/>
          </p:cNvSpPr>
          <p:nvPr userDrawn="1"/>
        </p:nvSpPr>
        <p:spPr>
          <a:xfrm>
            <a:off x="11626833" y="6340658"/>
            <a:ext cx="309380" cy="241092"/>
          </a:xfrm>
          <a:prstGeom prst="rect">
            <a:avLst/>
          </a:prstGeom>
          <a:ln w="12700">
            <a:miter lim="400000"/>
          </a:ln>
        </p:spPr>
        <p:txBody>
          <a:bodyPr wrap="none" lIns="50800" tIns="50800" rIns="50800" bIns="50800" anchor="b">
            <a:spAutoFit/>
          </a:bodyPr>
          <a:lstStyle>
            <a:defPPr>
              <a:defRPr lang="fr-FR"/>
            </a:defPPr>
            <a:lvl1pPr marL="0" algn="l" defTabSz="292100" rtl="0" eaLnBrk="1" latinLnBrk="0" hangingPunct="1">
              <a:defRPr sz="900" kern="1200">
                <a:solidFill>
                  <a:srgbClr val="DB3080"/>
                </a:solidFill>
                <a:latin typeface="+mj-lt"/>
                <a:ea typeface="+mj-ea"/>
                <a:cs typeface="+mj-cs"/>
                <a:sym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fr-FR" smtClean="0"/>
              <a:pPr/>
              <a:t>‹N°›</a:t>
            </a:fld>
            <a:endParaRPr lang="fr-FR"/>
          </a:p>
        </p:txBody>
      </p:sp>
      <p:sp>
        <p:nvSpPr>
          <p:cNvPr id="5" name="Ligne">
            <a:extLst>
              <a:ext uri="{FF2B5EF4-FFF2-40B4-BE49-F238E27FC236}">
                <a16:creationId xmlns:a16="http://schemas.microsoft.com/office/drawing/2014/main" id="{B204E05A-E282-2945-B2CF-94B0A7B24C53}"/>
              </a:ext>
            </a:extLst>
          </p:cNvPr>
          <p:cNvSpPr/>
          <p:nvPr userDrawn="1"/>
        </p:nvSpPr>
        <p:spPr>
          <a:xfrm>
            <a:off x="3442403" y="4737753"/>
            <a:ext cx="6106157" cy="1"/>
          </a:xfrm>
          <a:prstGeom prst="line">
            <a:avLst/>
          </a:prstGeom>
          <a:ln w="101600">
            <a:solidFill>
              <a:srgbClr val="005C9B"/>
            </a:solidFill>
            <a:miter lim="400000"/>
          </a:ln>
        </p:spPr>
        <p:txBody>
          <a:bodyPr lIns="25400" tIns="25400" rIns="25400" bIns="25400" anchor="ctr"/>
          <a:lstStyle/>
          <a:p>
            <a:endParaRPr sz="900"/>
          </a:p>
        </p:txBody>
      </p:sp>
      <p:sp>
        <p:nvSpPr>
          <p:cNvPr id="6" name="Ligne">
            <a:extLst>
              <a:ext uri="{FF2B5EF4-FFF2-40B4-BE49-F238E27FC236}">
                <a16:creationId xmlns:a16="http://schemas.microsoft.com/office/drawing/2014/main" id="{AD57DF94-146D-7B42-8BBB-DA85D3E8177E}"/>
              </a:ext>
            </a:extLst>
          </p:cNvPr>
          <p:cNvSpPr/>
          <p:nvPr userDrawn="1"/>
        </p:nvSpPr>
        <p:spPr>
          <a:xfrm>
            <a:off x="9538695" y="4730444"/>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101600">
            <a:solidFill>
              <a:srgbClr val="005C9B"/>
            </a:solidFill>
            <a:miter lim="400000"/>
          </a:ln>
        </p:spPr>
        <p:txBody>
          <a:bodyPr lIns="25400" tIns="25400" rIns="25400" bIns="25400" anchor="ctr"/>
          <a:lstStyle/>
          <a:p>
            <a:pPr>
              <a:defRPr>
                <a:solidFill>
                  <a:srgbClr val="005C9B"/>
                </a:solidFill>
              </a:defRPr>
            </a:pPr>
            <a:endParaRPr sz="900"/>
          </a:p>
        </p:txBody>
      </p:sp>
      <p:pic>
        <p:nvPicPr>
          <p:cNvPr id="7" name="Logo-ReMES.png" descr="Logo-ReMES.png">
            <a:extLst>
              <a:ext uri="{FF2B5EF4-FFF2-40B4-BE49-F238E27FC236}">
                <a16:creationId xmlns:a16="http://schemas.microsoft.com/office/drawing/2014/main" id="{A0710F5B-F91A-F643-B997-C9D2C9477555}"/>
              </a:ext>
            </a:extLst>
          </p:cNvPr>
          <p:cNvPicPr>
            <a:picLocks noChangeAspect="1"/>
          </p:cNvPicPr>
          <p:nvPr userDrawn="1"/>
        </p:nvPicPr>
        <p:blipFill>
          <a:blip r:embed="rId3"/>
          <a:stretch>
            <a:fillRect/>
          </a:stretch>
        </p:blipFill>
        <p:spPr>
          <a:xfrm>
            <a:off x="367659" y="362603"/>
            <a:ext cx="2707085" cy="2928978"/>
          </a:xfrm>
          <a:prstGeom prst="rect">
            <a:avLst/>
          </a:prstGeom>
          <a:ln w="12700">
            <a:miter lim="400000"/>
          </a:ln>
        </p:spPr>
      </p:pic>
      <p:sp>
        <p:nvSpPr>
          <p:cNvPr id="9" name="Titre de la présentation">
            <a:extLst>
              <a:ext uri="{FF2B5EF4-FFF2-40B4-BE49-F238E27FC236}">
                <a16:creationId xmlns:a16="http://schemas.microsoft.com/office/drawing/2014/main" id="{DFFB3011-F3C8-B848-B232-BFB5F7BBA78D}"/>
              </a:ext>
            </a:extLst>
          </p:cNvPr>
          <p:cNvSpPr txBox="1">
            <a:spLocks noGrp="1"/>
          </p:cNvSpPr>
          <p:nvPr>
            <p:ph type="title" hasCustomPrompt="1"/>
          </p:nvPr>
        </p:nvSpPr>
        <p:spPr>
          <a:xfrm>
            <a:off x="3442403" y="1713281"/>
            <a:ext cx="6266062" cy="232410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b">
            <a:normAutofit/>
          </a:bodyPr>
          <a:lstStyle/>
          <a:p>
            <a:r>
              <a:rPr err="1"/>
              <a:t>Titre</a:t>
            </a:r>
            <a:r>
              <a:t> de la </a:t>
            </a:r>
            <a:r>
              <a:rPr err="1"/>
              <a:t>présentation</a:t>
            </a:r>
            <a:endParaRPr/>
          </a:p>
        </p:txBody>
      </p:sp>
      <p:sp>
        <p:nvSpPr>
          <p:cNvPr id="10" name="Texte niveau 1…">
            <a:extLst>
              <a:ext uri="{FF2B5EF4-FFF2-40B4-BE49-F238E27FC236}">
                <a16:creationId xmlns:a16="http://schemas.microsoft.com/office/drawing/2014/main" id="{A0D0F5D2-F873-674C-9AE6-AEB49A6857DA}"/>
              </a:ext>
            </a:extLst>
          </p:cNvPr>
          <p:cNvSpPr txBox="1">
            <a:spLocks noGrp="1"/>
          </p:cNvSpPr>
          <p:nvPr>
            <p:ph idx="1" hasCustomPrompt="1"/>
          </p:nvPr>
        </p:nvSpPr>
        <p:spPr>
          <a:xfrm>
            <a:off x="3442403" y="3955885"/>
            <a:ext cx="6266062" cy="70395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ormAutofit/>
          </a:bodyPr>
          <a:lstStyle/>
          <a:p>
            <a:r>
              <a:t>Sous-</a:t>
            </a:r>
            <a:r>
              <a:rPr err="1"/>
              <a:t>titre</a:t>
            </a:r>
            <a:r>
              <a:t> de la </a:t>
            </a:r>
            <a:r>
              <a:rPr err="1"/>
              <a:t>présentation</a:t>
            </a:r>
            <a:endParaRPr/>
          </a:p>
          <a:p>
            <a:pPr lvl="1"/>
            <a:endParaRPr/>
          </a:p>
          <a:p>
            <a:pPr lvl="2"/>
            <a:endParaRPr/>
          </a:p>
          <a:p>
            <a:pPr lvl="3"/>
            <a:endParaRPr/>
          </a:p>
          <a:p>
            <a:pPr lvl="4"/>
            <a:endParaRPr/>
          </a:p>
        </p:txBody>
      </p:sp>
      <p:grpSp>
        <p:nvGrpSpPr>
          <p:cNvPr id="15" name="Groupe 14">
            <a:extLst>
              <a:ext uri="{FF2B5EF4-FFF2-40B4-BE49-F238E27FC236}">
                <a16:creationId xmlns:a16="http://schemas.microsoft.com/office/drawing/2014/main" id="{5BA2D886-B8C4-9942-BD0B-E13A188CD254}"/>
              </a:ext>
            </a:extLst>
          </p:cNvPr>
          <p:cNvGrpSpPr/>
          <p:nvPr userDrawn="1"/>
        </p:nvGrpSpPr>
        <p:grpSpPr>
          <a:xfrm>
            <a:off x="255787" y="6233160"/>
            <a:ext cx="1676757" cy="574622"/>
            <a:chOff x="373815" y="6143191"/>
            <a:chExt cx="1828112" cy="626491"/>
          </a:xfrm>
        </p:grpSpPr>
        <p:pic>
          <p:nvPicPr>
            <p:cNvPr id="16" name="Graphique 15">
              <a:extLst>
                <a:ext uri="{FF2B5EF4-FFF2-40B4-BE49-F238E27FC236}">
                  <a16:creationId xmlns:a16="http://schemas.microsoft.com/office/drawing/2014/main" id="{5BC420B0-CB4D-1443-837A-971E78FF14E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308209" y="6314802"/>
              <a:ext cx="893718" cy="262726"/>
            </a:xfrm>
            <a:prstGeom prst="rect">
              <a:avLst/>
            </a:prstGeom>
          </p:spPr>
        </p:pic>
        <p:pic>
          <p:nvPicPr>
            <p:cNvPr id="17" name="Image 16">
              <a:extLst>
                <a:ext uri="{FF2B5EF4-FFF2-40B4-BE49-F238E27FC236}">
                  <a16:creationId xmlns:a16="http://schemas.microsoft.com/office/drawing/2014/main" id="{E6B06AC1-B997-6E41-852D-06E90637F9CA}"/>
                </a:ext>
              </a:extLst>
            </p:cNvPr>
            <p:cNvPicPr>
              <a:picLocks noChangeAspect="1"/>
            </p:cNvPicPr>
            <p:nvPr userDrawn="1"/>
          </p:nvPicPr>
          <p:blipFill>
            <a:blip r:embed="rId6"/>
            <a:stretch>
              <a:fillRect/>
            </a:stretch>
          </p:blipFill>
          <p:spPr>
            <a:xfrm>
              <a:off x="373815" y="6143191"/>
              <a:ext cx="804201" cy="626491"/>
            </a:xfrm>
            <a:prstGeom prst="rect">
              <a:avLst/>
            </a:prstGeom>
          </p:spPr>
        </p:pic>
      </p:grpSp>
      <p:sp>
        <p:nvSpPr>
          <p:cNvPr id="12" name="Auteur et date">
            <a:extLst>
              <a:ext uri="{FF2B5EF4-FFF2-40B4-BE49-F238E27FC236}">
                <a16:creationId xmlns:a16="http://schemas.microsoft.com/office/drawing/2014/main" id="{7A383187-D814-E74B-9A0D-A2BD9F3D298C}"/>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Session de sensibilisation à Mon espace santé</a:t>
            </a:r>
          </a:p>
        </p:txBody>
      </p:sp>
      <p:pic>
        <p:nvPicPr>
          <p:cNvPr id="13" name="Imag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11536" y="6234793"/>
            <a:ext cx="839961" cy="533475"/>
          </a:xfrm>
          <a:prstGeom prst="rect">
            <a:avLst/>
          </a:prstGeom>
        </p:spPr>
      </p:pic>
    </p:spTree>
    <p:extLst>
      <p:ext uri="{BB962C8B-B14F-4D97-AF65-F5344CB8AC3E}">
        <p14:creationId xmlns:p14="http://schemas.microsoft.com/office/powerpoint/2010/main" val="2507634335"/>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19086122-C06D-4D46-B066-6B1435DF5A21}"/>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DDD2EC08-63A4-460A-8957-09378E841885}"/>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42117FE0-FD6F-4AAF-8819-4AA171FBAF0A}"/>
              </a:ext>
            </a:extLst>
          </p:cNvPr>
          <p:cNvSpPr>
            <a:spLocks noGrp="1"/>
          </p:cNvSpPr>
          <p:nvPr>
            <p:ph type="dt" sz="half" idx="10"/>
          </p:nvPr>
        </p:nvSpPr>
        <p:spPr/>
        <p:txBody>
          <a:bodyPr/>
          <a:lstStyle/>
          <a:p>
            <a:fld id="{A2413034-B103-41D2-977A-32CF76459AF0}" type="datetimeFigureOut">
              <a:rPr lang="fr-FR" smtClean="0"/>
              <a:t>07/08/2024</a:t>
            </a:fld>
            <a:endParaRPr lang="fr-FR"/>
          </a:p>
        </p:txBody>
      </p:sp>
      <p:sp>
        <p:nvSpPr>
          <p:cNvPr id="5" name="Espace réservé du pied de page 4">
            <a:extLst>
              <a:ext uri="{FF2B5EF4-FFF2-40B4-BE49-F238E27FC236}">
                <a16:creationId xmlns:a16="http://schemas.microsoft.com/office/drawing/2014/main" id="{A1BE5CFB-A307-4F94-B1F6-CBBF36B2F443}"/>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910FFFE9-C6C0-47F8-9D53-1E9882247F69}"/>
              </a:ext>
            </a:extLst>
          </p:cNvPr>
          <p:cNvSpPr>
            <a:spLocks noGrp="1"/>
          </p:cNvSpPr>
          <p:nvPr>
            <p:ph type="sldNum" sz="quarter" idx="12"/>
          </p:nvPr>
        </p:nvSpPr>
        <p:spPr/>
        <p:txBody>
          <a:bodyPr/>
          <a:lstStyle/>
          <a:p>
            <a:fld id="{1853D752-F3DA-47A2-A775-910B824E1582}" type="slidenum">
              <a:rPr lang="fr-FR" smtClean="0"/>
              <a:t>‹N°›</a:t>
            </a:fld>
            <a:endParaRPr lang="fr-FR"/>
          </a:p>
        </p:txBody>
      </p:sp>
    </p:spTree>
    <p:extLst>
      <p:ext uri="{BB962C8B-B14F-4D97-AF65-F5344CB8AC3E}">
        <p14:creationId xmlns:p14="http://schemas.microsoft.com/office/powerpoint/2010/main" val="25541393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re">
    <p:spTree>
      <p:nvGrpSpPr>
        <p:cNvPr id="1" name=""/>
        <p:cNvGrpSpPr/>
        <p:nvPr/>
      </p:nvGrpSpPr>
      <p:grpSpPr>
        <a:xfrm>
          <a:off x="0" y="0"/>
          <a:ext cx="0" cy="0"/>
          <a:chOff x="0" y="0"/>
          <a:chExt cx="0" cy="0"/>
        </a:xfrm>
      </p:grpSpPr>
      <p:pic>
        <p:nvPicPr>
          <p:cNvPr id="17" name="MES-masque PPT.jpg" descr="MES-masque PPT.jpg"/>
          <p:cNvPicPr>
            <a:picLocks noChangeAspect="1"/>
          </p:cNvPicPr>
          <p:nvPr userDrawn="1"/>
        </p:nvPicPr>
        <p:blipFill rotWithShape="1">
          <a:blip r:embed="rId2"/>
          <a:srcRect b="18743"/>
          <a:stretch/>
        </p:blipFill>
        <p:spPr>
          <a:xfrm>
            <a:off x="-1" y="1874"/>
            <a:ext cx="12192001" cy="5569586"/>
          </a:xfrm>
          <a:prstGeom prst="rect">
            <a:avLst/>
          </a:prstGeom>
          <a:ln w="12700">
            <a:miter lim="400000"/>
          </a:ln>
        </p:spPr>
      </p:pic>
      <p:sp>
        <p:nvSpPr>
          <p:cNvPr id="19" name="Titre de la présentation"/>
          <p:cNvSpPr txBox="1">
            <a:spLocks noGrp="1"/>
          </p:cNvSpPr>
          <p:nvPr>
            <p:ph type="title" hasCustomPrompt="1"/>
          </p:nvPr>
        </p:nvSpPr>
        <p:spPr>
          <a:xfrm>
            <a:off x="794902" y="2025265"/>
            <a:ext cx="6761760" cy="1263055"/>
          </a:xfrm>
          <a:prstGeom prst="rect">
            <a:avLst/>
          </a:prstGeom>
        </p:spPr>
        <p:txBody>
          <a:bodyPr anchor="b"/>
          <a:lstStyle>
            <a:lvl1pPr>
              <a:defRPr sz="3000" cap="all" spc="-60"/>
            </a:lvl1pPr>
          </a:lstStyle>
          <a:p>
            <a:r>
              <a:rPr err="1"/>
              <a:t>Titre</a:t>
            </a:r>
            <a:r>
              <a:t> de la </a:t>
            </a:r>
            <a:r>
              <a:rPr err="1"/>
              <a:t>présentation</a:t>
            </a:r>
            <a:endParaRPr/>
          </a:p>
        </p:txBody>
      </p:sp>
      <p:sp>
        <p:nvSpPr>
          <p:cNvPr id="21" name="Ligne"/>
          <p:cNvSpPr/>
          <p:nvPr/>
        </p:nvSpPr>
        <p:spPr>
          <a:xfrm>
            <a:off x="830437" y="3429000"/>
            <a:ext cx="6106157" cy="1"/>
          </a:xfrm>
          <a:prstGeom prst="line">
            <a:avLst/>
          </a:prstGeom>
          <a:ln w="114300">
            <a:solidFill>
              <a:srgbClr val="005C9B"/>
            </a:solidFill>
            <a:miter lim="400000"/>
          </a:ln>
        </p:spPr>
        <p:txBody>
          <a:bodyPr lIns="25400" tIns="25400" rIns="25400" bIns="25400" anchor="ctr"/>
          <a:lstStyle/>
          <a:p>
            <a:endParaRPr sz="900"/>
          </a:p>
        </p:txBody>
      </p:sp>
      <p:sp>
        <p:nvSpPr>
          <p:cNvPr id="22" name="Ligne"/>
          <p:cNvSpPr/>
          <p:nvPr/>
        </p:nvSpPr>
        <p:spPr>
          <a:xfrm>
            <a:off x="6926728" y="3429000"/>
            <a:ext cx="1785299" cy="22339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604" y="0"/>
                </a:lnTo>
                <a:lnTo>
                  <a:pt x="21600" y="505"/>
                </a:lnTo>
              </a:path>
            </a:pathLst>
          </a:custGeom>
          <a:ln w="114300">
            <a:solidFill>
              <a:srgbClr val="005C9B"/>
            </a:solidFill>
            <a:miter lim="400000"/>
          </a:ln>
        </p:spPr>
        <p:txBody>
          <a:bodyPr lIns="25400" tIns="25400" rIns="25400" bIns="25400" anchor="ctr"/>
          <a:lstStyle/>
          <a:p>
            <a:pPr>
              <a:defRPr>
                <a:solidFill>
                  <a:srgbClr val="005C9B"/>
                </a:solidFill>
              </a:defRPr>
            </a:pPr>
            <a:endParaRPr sz="900"/>
          </a:p>
        </p:txBody>
      </p:sp>
      <p:sp>
        <p:nvSpPr>
          <p:cNvPr id="23" name="Sur titre de la présentation"/>
          <p:cNvSpPr txBox="1">
            <a:spLocks noGrp="1"/>
          </p:cNvSpPr>
          <p:nvPr>
            <p:ph type="body" sz="quarter" idx="22"/>
          </p:nvPr>
        </p:nvSpPr>
        <p:spPr>
          <a:xfrm>
            <a:off x="794902" y="3537024"/>
            <a:ext cx="2880597" cy="302647"/>
          </a:xfrm>
          <a:prstGeom prst="rect">
            <a:avLst/>
          </a:prstGeom>
        </p:spPr>
        <p:txBody>
          <a:bodyPr wrap="none" anchor="ctr">
            <a:spAutoFit/>
          </a:bodyPr>
          <a:lstStyle>
            <a:lvl1pPr algn="ctr" defTabSz="1219169">
              <a:defRPr sz="1300" cap="all"/>
            </a:lvl1pPr>
          </a:lstStyle>
          <a:p>
            <a:r>
              <a:t>Sur </a:t>
            </a:r>
            <a:r>
              <a:rPr err="1"/>
              <a:t>titre</a:t>
            </a:r>
            <a:r>
              <a:t> de la </a:t>
            </a:r>
            <a:r>
              <a:rPr err="1"/>
              <a:t>présentation</a:t>
            </a:r>
            <a:endParaRPr/>
          </a:p>
        </p:txBody>
      </p:sp>
      <p:sp>
        <p:nvSpPr>
          <p:cNvPr id="24" name="Numéro de diapositive"/>
          <p:cNvSpPr txBox="1">
            <a:spLocks noGrp="1"/>
          </p:cNvSpPr>
          <p:nvPr>
            <p:ph type="sldNum" sz="quarter" idx="2"/>
          </p:nvPr>
        </p:nvSpPr>
        <p:spPr>
          <a:xfrm>
            <a:off x="11626850" y="6344103"/>
            <a:ext cx="293350" cy="241092"/>
          </a:xfrm>
          <a:prstGeom prst="rect">
            <a:avLst/>
          </a:prstGeom>
        </p:spPr>
        <p:txBody>
          <a:bodyPr/>
          <a:lstStyle>
            <a:lvl1pPr>
              <a:defRPr>
                <a:latin typeface="+mn-lt"/>
                <a:ea typeface="+mn-ea"/>
                <a:cs typeface="+mn-cs"/>
                <a:sym typeface="Helvetica Neue"/>
              </a:defRPr>
            </a:lvl1pPr>
          </a:lstStyle>
          <a:p>
            <a:fld id="{86CB4B4D-7CA3-9044-876B-883B54F8677D}" type="slidenum">
              <a:t>‹N°›</a:t>
            </a:fld>
            <a:endParaRPr/>
          </a:p>
        </p:txBody>
      </p:sp>
      <p:pic>
        <p:nvPicPr>
          <p:cNvPr id="10" name="Logo-ReMES.png" descr="Logo-ReMES.png">
            <a:extLst>
              <a:ext uri="{FF2B5EF4-FFF2-40B4-BE49-F238E27FC236}">
                <a16:creationId xmlns:a16="http://schemas.microsoft.com/office/drawing/2014/main" id="{25275FFF-632A-6B46-96DE-FFAF89E4BDF9}"/>
              </a:ext>
            </a:extLst>
          </p:cNvPr>
          <p:cNvPicPr>
            <a:picLocks noChangeAspect="1"/>
          </p:cNvPicPr>
          <p:nvPr userDrawn="1"/>
        </p:nvPicPr>
        <p:blipFill>
          <a:blip r:embed="rId3"/>
          <a:stretch>
            <a:fillRect/>
          </a:stretch>
        </p:blipFill>
        <p:spPr>
          <a:xfrm>
            <a:off x="616672" y="373987"/>
            <a:ext cx="1999528" cy="2163424"/>
          </a:xfrm>
          <a:prstGeom prst="rect">
            <a:avLst/>
          </a:prstGeom>
          <a:ln w="12700">
            <a:miter lim="400000"/>
          </a:ln>
        </p:spPr>
      </p:pic>
      <p:pic>
        <p:nvPicPr>
          <p:cNvPr id="9" name="Graphique 8">
            <a:extLst>
              <a:ext uri="{FF2B5EF4-FFF2-40B4-BE49-F238E27FC236}">
                <a16:creationId xmlns:a16="http://schemas.microsoft.com/office/drawing/2014/main" id="{BA6711FC-B5BC-D940-821A-E4CB71FE228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737049" y="5908798"/>
            <a:ext cx="1387608" cy="407915"/>
          </a:xfrm>
          <a:prstGeom prst="rect">
            <a:avLst/>
          </a:prstGeom>
        </p:spPr>
      </p:pic>
      <p:pic>
        <p:nvPicPr>
          <p:cNvPr id="11" name="Image 10">
            <a:extLst>
              <a:ext uri="{FF2B5EF4-FFF2-40B4-BE49-F238E27FC236}">
                <a16:creationId xmlns:a16="http://schemas.microsoft.com/office/drawing/2014/main" id="{C87D54A3-EE03-1B43-BF95-133AE8DDE44D}"/>
              </a:ext>
            </a:extLst>
          </p:cNvPr>
          <p:cNvPicPr>
            <a:picLocks noChangeAspect="1"/>
          </p:cNvPicPr>
          <p:nvPr userDrawn="1"/>
        </p:nvPicPr>
        <p:blipFill>
          <a:blip r:embed="rId6">
            <a:alphaModFix/>
          </a:blip>
          <a:stretch>
            <a:fillRect/>
          </a:stretch>
        </p:blipFill>
        <p:spPr>
          <a:xfrm>
            <a:off x="713813" y="5606893"/>
            <a:ext cx="1507710" cy="1174540"/>
          </a:xfrm>
          <a:prstGeom prst="rect">
            <a:avLst/>
          </a:prstGeom>
        </p:spPr>
      </p:pic>
      <p:sp>
        <p:nvSpPr>
          <p:cNvPr id="12" name="Auteur et date">
            <a:extLst>
              <a:ext uri="{FF2B5EF4-FFF2-40B4-BE49-F238E27FC236}">
                <a16:creationId xmlns:a16="http://schemas.microsoft.com/office/drawing/2014/main" id="{2B859A87-B1E0-4044-8157-E71691372C06}"/>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Session de sensibilisation à Mon espace santé</a:t>
            </a:r>
          </a:p>
        </p:txBody>
      </p:sp>
      <p:pic>
        <p:nvPicPr>
          <p:cNvPr id="2" name="Image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68021" y="5546328"/>
            <a:ext cx="2040043" cy="1295669"/>
          </a:xfrm>
          <a:prstGeom prst="rect">
            <a:avLst/>
          </a:prstGeom>
        </p:spPr>
      </p:pic>
    </p:spTree>
    <p:extLst>
      <p:ext uri="{BB962C8B-B14F-4D97-AF65-F5344CB8AC3E}">
        <p14:creationId xmlns:p14="http://schemas.microsoft.com/office/powerpoint/2010/main" val="2780255827"/>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3_Titre et puces">
    <p:spTree>
      <p:nvGrpSpPr>
        <p:cNvPr id="1" name=""/>
        <p:cNvGrpSpPr/>
        <p:nvPr/>
      </p:nvGrpSpPr>
      <p:grpSpPr>
        <a:xfrm>
          <a:off x="0" y="0"/>
          <a:ext cx="0" cy="0"/>
          <a:chOff x="0" y="0"/>
          <a:chExt cx="0" cy="0"/>
        </a:xfrm>
      </p:grpSpPr>
      <p:pic>
        <p:nvPicPr>
          <p:cNvPr id="40" name="MES-masque PPT3.jpg" descr="MES-masque PPT3.jpg"/>
          <p:cNvPicPr>
            <a:picLocks noChangeAspect="1"/>
          </p:cNvPicPr>
          <p:nvPr/>
        </p:nvPicPr>
        <p:blipFill rotWithShape="1">
          <a:blip r:embed="rId2"/>
          <a:srcRect b="18035"/>
          <a:stretch/>
        </p:blipFill>
        <p:spPr>
          <a:xfrm>
            <a:off x="-1" y="-13855"/>
            <a:ext cx="12192001" cy="1613733"/>
          </a:xfrm>
          <a:prstGeom prst="rect">
            <a:avLst/>
          </a:prstGeom>
          <a:ln w="12700">
            <a:miter lim="400000"/>
          </a:ln>
        </p:spPr>
      </p:pic>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N°›</a:t>
            </a:fld>
            <a:endParaRPr/>
          </a:p>
        </p:txBody>
      </p:sp>
      <p:pic>
        <p:nvPicPr>
          <p:cNvPr id="43" name="Logo-ReMES.png" descr="Logo-ReMES.png"/>
          <p:cNvPicPr>
            <a:picLocks noChangeAspect="1"/>
          </p:cNvPicPr>
          <p:nvPr/>
        </p:nvPicPr>
        <p:blipFill>
          <a:blip r:embed="rId3"/>
          <a:stretch>
            <a:fillRect/>
          </a:stretch>
        </p:blipFill>
        <p:spPr>
          <a:xfrm>
            <a:off x="222482" y="16625"/>
            <a:ext cx="1415817" cy="1531867"/>
          </a:xfrm>
          <a:prstGeom prst="rect">
            <a:avLst/>
          </a:prstGeom>
          <a:ln w="12700">
            <a:miter lim="400000"/>
          </a:ln>
        </p:spPr>
      </p:pic>
      <p:sp>
        <p:nvSpPr>
          <p:cNvPr id="45" name="Ligne"/>
          <p:cNvSpPr/>
          <p:nvPr/>
        </p:nvSpPr>
        <p:spPr>
          <a:xfrm>
            <a:off x="2318430" y="1153622"/>
            <a:ext cx="7224831" cy="1"/>
          </a:xfrm>
          <a:prstGeom prst="line">
            <a:avLst/>
          </a:prstGeom>
          <a:ln w="63500">
            <a:solidFill>
              <a:srgbClr val="005C9B"/>
            </a:solidFill>
            <a:miter lim="400000"/>
          </a:ln>
        </p:spPr>
        <p:txBody>
          <a:bodyPr lIns="25400" tIns="25400" rIns="25400" bIns="25400" anchor="ctr"/>
          <a:lstStyle/>
          <a:p>
            <a:endParaRPr sz="900"/>
          </a:p>
        </p:txBody>
      </p:sp>
      <p:sp>
        <p:nvSpPr>
          <p:cNvPr id="46" name="Ligne"/>
          <p:cNvSpPr/>
          <p:nvPr/>
        </p:nvSpPr>
        <p:spPr>
          <a:xfrm>
            <a:off x="9533395" y="1146312"/>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63500">
            <a:solidFill>
              <a:srgbClr val="005C9B"/>
            </a:solidFill>
            <a:miter lim="400000"/>
          </a:ln>
        </p:spPr>
        <p:txBody>
          <a:bodyPr lIns="25400" tIns="25400" rIns="25400" bIns="25400" anchor="ctr"/>
          <a:lstStyle/>
          <a:p>
            <a:pPr>
              <a:defRPr>
                <a:solidFill>
                  <a:srgbClr val="005C9B"/>
                </a:solidFill>
              </a:defRPr>
            </a:pPr>
            <a:endParaRPr sz="900"/>
          </a:p>
        </p:txBody>
      </p:sp>
      <p:sp>
        <p:nvSpPr>
          <p:cNvPr id="12" name="Titre 1">
            <a:extLst>
              <a:ext uri="{FF2B5EF4-FFF2-40B4-BE49-F238E27FC236}">
                <a16:creationId xmlns:a16="http://schemas.microsoft.com/office/drawing/2014/main" id="{D00C3AFE-F4E7-CE4A-AEA1-5618EB75DD74}"/>
              </a:ext>
            </a:extLst>
          </p:cNvPr>
          <p:cNvSpPr>
            <a:spLocks noGrp="1"/>
          </p:cNvSpPr>
          <p:nvPr>
            <p:ph type="title" hasCustomPrompt="1"/>
          </p:nvPr>
        </p:nvSpPr>
        <p:spPr>
          <a:xfrm>
            <a:off x="2313517" y="16625"/>
            <a:ext cx="6984241" cy="1133342"/>
          </a:xfrm>
        </p:spPr>
        <p:txBody>
          <a:bodyPr anchor="b"/>
          <a:lstStyle/>
          <a:p>
            <a:r>
              <a:rPr lang="fr-FR"/>
              <a:t>MODIFIEZ LE STYLE DU TITRE</a:t>
            </a:r>
          </a:p>
        </p:txBody>
      </p:sp>
      <p:grpSp>
        <p:nvGrpSpPr>
          <p:cNvPr id="18" name="Groupe 17">
            <a:extLst>
              <a:ext uri="{FF2B5EF4-FFF2-40B4-BE49-F238E27FC236}">
                <a16:creationId xmlns:a16="http://schemas.microsoft.com/office/drawing/2014/main" id="{6BE71E94-1DF2-3A46-8E91-906ADC041DD4}"/>
              </a:ext>
            </a:extLst>
          </p:cNvPr>
          <p:cNvGrpSpPr/>
          <p:nvPr userDrawn="1"/>
        </p:nvGrpSpPr>
        <p:grpSpPr>
          <a:xfrm>
            <a:off x="255787" y="6233160"/>
            <a:ext cx="1676757" cy="574622"/>
            <a:chOff x="373815" y="6143191"/>
            <a:chExt cx="1828112" cy="626491"/>
          </a:xfrm>
        </p:grpSpPr>
        <p:pic>
          <p:nvPicPr>
            <p:cNvPr id="19" name="Graphique 18">
              <a:extLst>
                <a:ext uri="{FF2B5EF4-FFF2-40B4-BE49-F238E27FC236}">
                  <a16:creationId xmlns:a16="http://schemas.microsoft.com/office/drawing/2014/main" id="{83F8677E-CB5D-2141-8C43-E64AA59F446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308209" y="6314802"/>
              <a:ext cx="893718" cy="262726"/>
            </a:xfrm>
            <a:prstGeom prst="rect">
              <a:avLst/>
            </a:prstGeom>
          </p:spPr>
        </p:pic>
        <p:pic>
          <p:nvPicPr>
            <p:cNvPr id="20" name="Image 19">
              <a:extLst>
                <a:ext uri="{FF2B5EF4-FFF2-40B4-BE49-F238E27FC236}">
                  <a16:creationId xmlns:a16="http://schemas.microsoft.com/office/drawing/2014/main" id="{9B40E965-C296-F84D-A1C2-88449CB11A87}"/>
                </a:ext>
              </a:extLst>
            </p:cNvPr>
            <p:cNvPicPr>
              <a:picLocks noChangeAspect="1"/>
            </p:cNvPicPr>
            <p:nvPr userDrawn="1"/>
          </p:nvPicPr>
          <p:blipFill>
            <a:blip r:embed="rId6"/>
            <a:stretch>
              <a:fillRect/>
            </a:stretch>
          </p:blipFill>
          <p:spPr>
            <a:xfrm>
              <a:off x="373815" y="6143191"/>
              <a:ext cx="804201" cy="626491"/>
            </a:xfrm>
            <a:prstGeom prst="rect">
              <a:avLst/>
            </a:prstGeom>
          </p:spPr>
        </p:pic>
      </p:grpSp>
      <p:sp>
        <p:nvSpPr>
          <p:cNvPr id="13" name="Auteur et date">
            <a:extLst>
              <a:ext uri="{FF2B5EF4-FFF2-40B4-BE49-F238E27FC236}">
                <a16:creationId xmlns:a16="http://schemas.microsoft.com/office/drawing/2014/main" id="{E30CA11C-B037-8E48-B945-69C3DE227325}"/>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Session de sensibilisation à Mon espace santé</a:t>
            </a:r>
          </a:p>
        </p:txBody>
      </p:sp>
      <p:pic>
        <p:nvPicPr>
          <p:cNvPr id="14" name="Imag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11536" y="6234793"/>
            <a:ext cx="839961" cy="533475"/>
          </a:xfrm>
          <a:prstGeom prst="rect">
            <a:avLst/>
          </a:prstGeom>
        </p:spPr>
      </p:pic>
    </p:spTree>
    <p:extLst>
      <p:ext uri="{BB962C8B-B14F-4D97-AF65-F5344CB8AC3E}">
        <p14:creationId xmlns:p14="http://schemas.microsoft.com/office/powerpoint/2010/main" val="299628218"/>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N°1 CNAM Couverture avec photo">
    <p:spTree>
      <p:nvGrpSpPr>
        <p:cNvPr id="1" name=""/>
        <p:cNvGrpSpPr/>
        <p:nvPr/>
      </p:nvGrpSpPr>
      <p:grpSpPr>
        <a:xfrm>
          <a:off x="0" y="0"/>
          <a:ext cx="0" cy="0"/>
          <a:chOff x="0" y="0"/>
          <a:chExt cx="0" cy="0"/>
        </a:xfrm>
      </p:grpSpPr>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507201" y="2188868"/>
            <a:ext cx="11178000"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pic>
        <p:nvPicPr>
          <p:cNvPr id="6" name="Image 5" descr="Une image contenant alimentation&#10;&#10;Description générée automatiquement" title="Sécurité sociale - l'Assurance Maladie : Agir ensemble, protéger chacun ">
            <a:extLst>
              <a:ext uri="{FF2B5EF4-FFF2-40B4-BE49-F238E27FC236}">
                <a16:creationId xmlns:a16="http://schemas.microsoft.com/office/drawing/2014/main" id="{6C1F8D08-6EB0-422B-93A1-7AFDDC66FEBA}"/>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536575" y="279400"/>
            <a:ext cx="4705350" cy="1689100"/>
          </a:xfrm>
          <a:prstGeom prst="rect">
            <a:avLst/>
          </a:prstGeom>
        </p:spPr>
      </p:pic>
      <p:sp>
        <p:nvSpPr>
          <p:cNvPr id="22" name="Titre 1">
            <a:extLst>
              <a:ext uri="{FF2B5EF4-FFF2-40B4-BE49-F238E27FC236}">
                <a16:creationId xmlns:a16="http://schemas.microsoft.com/office/drawing/2014/main" id="{08C5C4EE-51F7-9940-9606-76F8D4D73B88}"/>
              </a:ext>
            </a:extLst>
          </p:cNvPr>
          <p:cNvSpPr>
            <a:spLocks noGrp="1"/>
          </p:cNvSpPr>
          <p:nvPr>
            <p:ph type="ctrTitle" hasCustomPrompt="1"/>
          </p:nvPr>
        </p:nvSpPr>
        <p:spPr>
          <a:xfrm>
            <a:off x="506801" y="2188868"/>
            <a:ext cx="11193074" cy="4157999"/>
          </a:xfrm>
          <a:prstGeom prst="rect">
            <a:avLst/>
          </a:prstGeom>
          <a:no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12" name="Espace réservé de la date 11">
            <a:extLst>
              <a:ext uri="{FF2B5EF4-FFF2-40B4-BE49-F238E27FC236}">
                <a16:creationId xmlns:a16="http://schemas.microsoft.com/office/drawing/2014/main" id="{03F3D622-9637-41B2-A77E-476826BB4A98}"/>
              </a:ext>
            </a:extLst>
          </p:cNvPr>
          <p:cNvSpPr>
            <a:spLocks noGrp="1"/>
          </p:cNvSpPr>
          <p:nvPr>
            <p:ph type="dt" sz="half" idx="19"/>
          </p:nvPr>
        </p:nvSpPr>
        <p:spPr>
          <a:xfrm>
            <a:off x="9899487" y="6372000"/>
            <a:ext cx="1800000" cy="288000"/>
          </a:xfrm>
        </p:spPr>
        <p:txBody>
          <a:bodyPr/>
          <a:lstStyle/>
          <a:p>
            <a:fld id="{7A90C9BA-8212-E643-99E2-71E2B6F6098A}" type="datetime1">
              <a:rPr lang="fr-FR" smtClean="0"/>
              <a:t>07/08/2024</a:t>
            </a:fld>
            <a:endParaRPr lang="fr-FR"/>
          </a:p>
        </p:txBody>
      </p:sp>
      <p:sp>
        <p:nvSpPr>
          <p:cNvPr id="7" name="Espace réservé du texte 13"/>
          <p:cNvSpPr>
            <a:spLocks noGrp="1"/>
          </p:cNvSpPr>
          <p:nvPr>
            <p:ph type="body" sz="quarter" idx="12" hasCustomPrompt="1"/>
          </p:nvPr>
        </p:nvSpPr>
        <p:spPr>
          <a:xfrm>
            <a:off x="736518" y="5031320"/>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4389120" y="5943568"/>
            <a:ext cx="7276241" cy="386894"/>
          </a:xfrm>
          <a:prstGeom prst="rect">
            <a:avLst/>
          </a:prstGeom>
        </p:spPr>
        <p:txBody>
          <a:bodyPr>
            <a:noAutofit/>
          </a:bodyPr>
          <a:lstStyle>
            <a:lvl1pPr marL="0" marR="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800" b="0" i="0">
                <a:solidFill>
                  <a:schemeClr val="bg1"/>
                </a:solidFill>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spTree>
    <p:extLst>
      <p:ext uri="{BB962C8B-B14F-4D97-AF65-F5344CB8AC3E}">
        <p14:creationId xmlns:p14="http://schemas.microsoft.com/office/powerpoint/2010/main" val="27274606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N°2 CNAM Couverture fond couleur + Photo">
    <p:spTree>
      <p:nvGrpSpPr>
        <p:cNvPr id="1" name=""/>
        <p:cNvGrpSpPr/>
        <p:nvPr/>
      </p:nvGrpSpPr>
      <p:grpSpPr>
        <a:xfrm>
          <a:off x="0" y="0"/>
          <a:ext cx="0" cy="0"/>
          <a:chOff x="0" y="0"/>
          <a:chExt cx="0" cy="0"/>
        </a:xfrm>
      </p:grpSpPr>
      <p:pic>
        <p:nvPicPr>
          <p:cNvPr id="7" name="Image 6" descr="Une image contenant alimentation&#10;&#10;Description générée automatiquement" title="Sécurité sociale - l'Assurance Maladie : Agir ensemble, protéger chacun ">
            <a:extLst>
              <a:ext uri="{FF2B5EF4-FFF2-40B4-BE49-F238E27FC236}">
                <a16:creationId xmlns:a16="http://schemas.microsoft.com/office/drawing/2014/main" id="{62AF9597-0C86-4349-A32D-827983D78EC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536575" y="279400"/>
            <a:ext cx="4705350" cy="1689100"/>
          </a:xfrm>
          <a:prstGeom prst="rect">
            <a:avLst/>
          </a:prstGeom>
        </p:spPr>
      </p:pic>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6437375" y="2188868"/>
            <a:ext cx="5247825"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0" y="2188868"/>
            <a:ext cx="5930575" cy="4157999"/>
          </a:xfrm>
          <a:prstGeom prst="rect">
            <a:avLst/>
          </a:prstGeom>
          <a:solidFill>
            <a:schemeClr val="tx1"/>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5" name="Espace réservé de la date 4">
            <a:extLst>
              <a:ext uri="{FF2B5EF4-FFF2-40B4-BE49-F238E27FC236}">
                <a16:creationId xmlns:a16="http://schemas.microsoft.com/office/drawing/2014/main" id="{4B17E3FC-C8AD-432C-B477-A8A2BEAFFBF7}"/>
              </a:ext>
            </a:extLst>
          </p:cNvPr>
          <p:cNvSpPr>
            <a:spLocks noGrp="1"/>
          </p:cNvSpPr>
          <p:nvPr>
            <p:ph type="dt" sz="half" idx="19"/>
          </p:nvPr>
        </p:nvSpPr>
        <p:spPr>
          <a:xfrm>
            <a:off x="9900000" y="6372000"/>
            <a:ext cx="1800000" cy="288000"/>
          </a:xfrm>
        </p:spPr>
        <p:txBody>
          <a:bodyPr/>
          <a:lstStyle/>
          <a:p>
            <a:fld id="{B8C3EE7F-F74B-C644-8F10-503D241C2E0D}" type="datetime1">
              <a:rPr lang="fr-FR" smtClean="0"/>
              <a:t>07/08/2024</a:t>
            </a:fld>
            <a:endParaRPr lang="fr-FR"/>
          </a:p>
        </p:txBody>
      </p:sp>
      <p:sp>
        <p:nvSpPr>
          <p:cNvPr id="6" name="Espace réservé du texte 13"/>
          <p:cNvSpPr>
            <a:spLocks noGrp="1"/>
          </p:cNvSpPr>
          <p:nvPr>
            <p:ph type="body" sz="quarter" idx="12" hasCustomPrompt="1"/>
          </p:nvPr>
        </p:nvSpPr>
        <p:spPr>
          <a:xfrm>
            <a:off x="701459" y="4989120"/>
            <a:ext cx="5724394" cy="752475"/>
          </a:xfrm>
          <a:prstGeom prst="rect">
            <a:avLst/>
          </a:prstGeom>
        </p:spPr>
        <p:txBody>
          <a:bodyPr>
            <a:no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4951828" y="5987313"/>
            <a:ext cx="6748047" cy="329080"/>
          </a:xfrm>
          <a:prstGeom prst="rect">
            <a:avLst/>
          </a:prstGeom>
        </p:spPr>
        <p:txBody>
          <a:bodyPr>
            <a:noAutofit/>
          </a:bodyPr>
          <a:lstStyle>
            <a:lvl1pPr algn="r">
              <a:lnSpc>
                <a:spcPct val="100000"/>
              </a:lnSpc>
              <a:spcAft>
                <a:spcPts val="0"/>
              </a:spcAft>
              <a:defRPr sz="1800" b="0" i="0">
                <a:solidFill>
                  <a:schemeClr val="bg1"/>
                </a:solidFill>
              </a:defRPr>
            </a:lvl1pPr>
          </a:lstStyle>
          <a:p>
            <a:pPr lvl="0"/>
            <a:r>
              <a:rPr lang="fr-FR"/>
              <a:t>Cliquez pour ajouter du texte (nom de l’entité émettrice)</a:t>
            </a:r>
          </a:p>
        </p:txBody>
      </p:sp>
    </p:spTree>
    <p:extLst>
      <p:ext uri="{BB962C8B-B14F-4D97-AF65-F5344CB8AC3E}">
        <p14:creationId xmlns:p14="http://schemas.microsoft.com/office/powerpoint/2010/main" val="16149777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N°3 CNAM Couverture fond couleur">
    <p:spTree>
      <p:nvGrpSpPr>
        <p:cNvPr id="1" name=""/>
        <p:cNvGrpSpPr/>
        <p:nvPr/>
      </p:nvGrpSpPr>
      <p:grpSpPr>
        <a:xfrm>
          <a:off x="0" y="0"/>
          <a:ext cx="0" cy="0"/>
          <a:chOff x="0" y="0"/>
          <a:chExt cx="0" cy="0"/>
        </a:xfrm>
      </p:grpSpPr>
      <p:pic>
        <p:nvPicPr>
          <p:cNvPr id="6" name="Image 5" descr="Une image contenant alimentation&#10;&#10;Description générée automatiquement" title="Sécurité sociale - l'Assurance Maladie : Agir ensemble, protéger chacun ">
            <a:extLst>
              <a:ext uri="{FF2B5EF4-FFF2-40B4-BE49-F238E27FC236}">
                <a16:creationId xmlns:a16="http://schemas.microsoft.com/office/drawing/2014/main" id="{5FCC7EBB-3471-4590-8C18-BE9203E2E6CD}"/>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536575" y="279400"/>
            <a:ext cx="4705350" cy="1689100"/>
          </a:xfrm>
          <a:prstGeom prst="rect">
            <a:avLst/>
          </a:prstGeom>
        </p:spPr>
      </p:pic>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0" y="2188868"/>
            <a:ext cx="11178400" cy="4157999"/>
          </a:xfrm>
          <a:prstGeom prst="rect">
            <a:avLst/>
          </a:prstGeom>
          <a:solidFill>
            <a:schemeClr val="tx1"/>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2" name="Espace réservé de la date 1">
            <a:extLst>
              <a:ext uri="{FF2B5EF4-FFF2-40B4-BE49-F238E27FC236}">
                <a16:creationId xmlns:a16="http://schemas.microsoft.com/office/drawing/2014/main" id="{92507B6F-FE6B-4F61-B061-42BC8C5E7C81}"/>
              </a:ext>
            </a:extLst>
          </p:cNvPr>
          <p:cNvSpPr>
            <a:spLocks noGrp="1"/>
          </p:cNvSpPr>
          <p:nvPr>
            <p:ph type="dt" sz="half" idx="10"/>
          </p:nvPr>
        </p:nvSpPr>
        <p:spPr>
          <a:xfrm>
            <a:off x="9900000" y="6372000"/>
            <a:ext cx="1800000" cy="288000"/>
          </a:xfrm>
        </p:spPr>
        <p:txBody>
          <a:bodyPr/>
          <a:lstStyle/>
          <a:p>
            <a:fld id="{283CFBEF-98C3-6C4D-AECE-A89E43EA2455}" type="datetime1">
              <a:rPr lang="fr-FR" smtClean="0"/>
              <a:t>07/08/2024</a:t>
            </a:fld>
            <a:endParaRPr lang="fr-FR"/>
          </a:p>
        </p:txBody>
      </p:sp>
      <p:sp>
        <p:nvSpPr>
          <p:cNvPr id="8" name="Espace réservé du texte 13"/>
          <p:cNvSpPr>
            <a:spLocks noGrp="1"/>
          </p:cNvSpPr>
          <p:nvPr>
            <p:ph type="body" sz="quarter" idx="12" hasCustomPrompt="1"/>
          </p:nvPr>
        </p:nvSpPr>
        <p:spPr>
          <a:xfrm>
            <a:off x="701458" y="4834372"/>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9" name="Espace réservé du texte 13"/>
          <p:cNvSpPr>
            <a:spLocks noGrp="1"/>
          </p:cNvSpPr>
          <p:nvPr>
            <p:ph type="body" sz="quarter" idx="13" hasCustomPrompt="1"/>
          </p:nvPr>
        </p:nvSpPr>
        <p:spPr>
          <a:xfrm>
            <a:off x="4867422" y="5971703"/>
            <a:ext cx="6797939" cy="316555"/>
          </a:xfrm>
          <a:prstGeom prst="rect">
            <a:avLst/>
          </a:prstGeom>
        </p:spPr>
        <p:txBody>
          <a:bodyPr/>
          <a:lstStyle>
            <a:lvl1pPr marL="0" marR="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800" b="0" i="0">
                <a:solidFill>
                  <a:schemeClr val="bg1"/>
                </a:solidFill>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spTree>
    <p:extLst>
      <p:ext uri="{BB962C8B-B14F-4D97-AF65-F5344CB8AC3E}">
        <p14:creationId xmlns:p14="http://schemas.microsoft.com/office/powerpoint/2010/main" val="16437891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N°1 CNAM Couverture avec photo">
    <p:spTree>
      <p:nvGrpSpPr>
        <p:cNvPr id="1" name=""/>
        <p:cNvGrpSpPr/>
        <p:nvPr/>
      </p:nvGrpSpPr>
      <p:grpSpPr>
        <a:xfrm>
          <a:off x="0" y="0"/>
          <a:ext cx="0" cy="0"/>
          <a:chOff x="0" y="0"/>
          <a:chExt cx="0" cy="0"/>
        </a:xfrm>
      </p:grpSpPr>
      <p:pic>
        <p:nvPicPr>
          <p:cNvPr id="3" name="Image 2" title="Sécurité sociale - l'Assurance Maladie : Agir ensemble, protéger chacun - Caisse nationale">
            <a:extLst>
              <a:ext uri="{FF2B5EF4-FFF2-40B4-BE49-F238E27FC236}">
                <a16:creationId xmlns:a16="http://schemas.microsoft.com/office/drawing/2014/main" id="{CEA28011-C0C0-F648-8291-02F48A1D5717}"/>
              </a:ext>
            </a:extLst>
          </p:cNvPr>
          <p:cNvPicPr>
            <a:picLocks noChangeAspect="1"/>
          </p:cNvPicPr>
          <p:nvPr userDrawn="1"/>
        </p:nvPicPr>
        <p:blipFill>
          <a:blip r:embed="rId2"/>
          <a:stretch>
            <a:fillRect/>
          </a:stretch>
        </p:blipFill>
        <p:spPr>
          <a:xfrm>
            <a:off x="220752" y="-49428"/>
            <a:ext cx="7587938" cy="2304000"/>
          </a:xfrm>
          <a:prstGeom prst="rect">
            <a:avLst/>
          </a:prstGeom>
        </p:spPr>
      </p:pic>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507201" y="2188868"/>
            <a:ext cx="11178000"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22" name="Titre 1">
            <a:extLst>
              <a:ext uri="{FF2B5EF4-FFF2-40B4-BE49-F238E27FC236}">
                <a16:creationId xmlns:a16="http://schemas.microsoft.com/office/drawing/2014/main" id="{08C5C4EE-51F7-9940-9606-76F8D4D73B88}"/>
              </a:ext>
            </a:extLst>
          </p:cNvPr>
          <p:cNvSpPr>
            <a:spLocks noGrp="1"/>
          </p:cNvSpPr>
          <p:nvPr>
            <p:ph type="ctrTitle" hasCustomPrompt="1"/>
          </p:nvPr>
        </p:nvSpPr>
        <p:spPr>
          <a:xfrm>
            <a:off x="506801" y="2188868"/>
            <a:ext cx="6840000" cy="4157999"/>
          </a:xfrm>
          <a:prstGeom prst="rect">
            <a:avLst/>
          </a:prstGeom>
          <a:no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12" name="Espace réservé de la date 11">
            <a:extLst>
              <a:ext uri="{FF2B5EF4-FFF2-40B4-BE49-F238E27FC236}">
                <a16:creationId xmlns:a16="http://schemas.microsoft.com/office/drawing/2014/main" id="{03F3D622-9637-41B2-A77E-476826BB4A98}"/>
              </a:ext>
            </a:extLst>
          </p:cNvPr>
          <p:cNvSpPr>
            <a:spLocks noGrp="1"/>
          </p:cNvSpPr>
          <p:nvPr>
            <p:ph type="dt" sz="half" idx="19"/>
          </p:nvPr>
        </p:nvSpPr>
        <p:spPr>
          <a:xfrm>
            <a:off x="9899487" y="6372000"/>
            <a:ext cx="1800000" cy="288000"/>
          </a:xfrm>
        </p:spPr>
        <p:txBody>
          <a:bodyPr/>
          <a:lstStyle/>
          <a:p>
            <a:fld id="{7A90C9BA-8212-E643-99E2-71E2B6F6098A}" type="datetime1">
              <a:rPr lang="fr-FR" smtClean="0"/>
              <a:t>07/08/2024</a:t>
            </a:fld>
            <a:endParaRPr lang="fr-FR"/>
          </a:p>
        </p:txBody>
      </p:sp>
      <p:sp>
        <p:nvSpPr>
          <p:cNvPr id="7" name="Espace réservé du texte 13"/>
          <p:cNvSpPr>
            <a:spLocks noGrp="1"/>
          </p:cNvSpPr>
          <p:nvPr>
            <p:ph type="body" sz="quarter" idx="12" hasCustomPrompt="1"/>
          </p:nvPr>
        </p:nvSpPr>
        <p:spPr>
          <a:xfrm>
            <a:off x="701458" y="4834372"/>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5962389" y="5999839"/>
            <a:ext cx="5688904" cy="324263"/>
          </a:xfrm>
          <a:prstGeom prst="rect">
            <a:avLst/>
          </a:prstGeom>
        </p:spPr>
        <p:txBody>
          <a:bodyPr>
            <a:noAutofit/>
          </a:bodyPr>
          <a:lstStyle>
            <a:lvl1pPr algn="r">
              <a:lnSpc>
                <a:spcPct val="100000"/>
              </a:lnSpc>
              <a:spcAft>
                <a:spcPts val="0"/>
              </a:spcAft>
              <a:defRPr sz="1800" b="0" i="0">
                <a:solidFill>
                  <a:schemeClr val="bg1"/>
                </a:solidFill>
              </a:defRPr>
            </a:lvl1pPr>
          </a:lstStyle>
          <a:p>
            <a:pPr lvl="0"/>
            <a:r>
              <a:rPr lang="fr-FR"/>
              <a:t>Cliquez pour ajouter du texte</a:t>
            </a:r>
          </a:p>
        </p:txBody>
      </p:sp>
    </p:spTree>
    <p:extLst>
      <p:ext uri="{BB962C8B-B14F-4D97-AF65-F5344CB8AC3E}">
        <p14:creationId xmlns:p14="http://schemas.microsoft.com/office/powerpoint/2010/main" val="225332344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N°2 CNAM Couverture fond couleur + Photo">
    <p:spTree>
      <p:nvGrpSpPr>
        <p:cNvPr id="1" name=""/>
        <p:cNvGrpSpPr/>
        <p:nvPr/>
      </p:nvGrpSpPr>
      <p:grpSpPr>
        <a:xfrm>
          <a:off x="0" y="0"/>
          <a:ext cx="0" cy="0"/>
          <a:chOff x="0" y="0"/>
          <a:chExt cx="0" cy="0"/>
        </a:xfrm>
      </p:grpSpPr>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6437375" y="2188868"/>
            <a:ext cx="5247825"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0" y="2188868"/>
            <a:ext cx="5930575" cy="4157999"/>
          </a:xfrm>
          <a:prstGeom prst="rect">
            <a:avLst/>
          </a:prstGeom>
          <a:solidFill>
            <a:schemeClr val="tx2"/>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5" name="Espace réservé de la date 4">
            <a:extLst>
              <a:ext uri="{FF2B5EF4-FFF2-40B4-BE49-F238E27FC236}">
                <a16:creationId xmlns:a16="http://schemas.microsoft.com/office/drawing/2014/main" id="{4B17E3FC-C8AD-432C-B477-A8A2BEAFFBF7}"/>
              </a:ext>
            </a:extLst>
          </p:cNvPr>
          <p:cNvSpPr>
            <a:spLocks noGrp="1"/>
          </p:cNvSpPr>
          <p:nvPr>
            <p:ph type="dt" sz="half" idx="19"/>
          </p:nvPr>
        </p:nvSpPr>
        <p:spPr>
          <a:xfrm>
            <a:off x="9900000" y="6372000"/>
            <a:ext cx="1800000" cy="288000"/>
          </a:xfrm>
        </p:spPr>
        <p:txBody>
          <a:bodyPr/>
          <a:lstStyle/>
          <a:p>
            <a:fld id="{B8C3EE7F-F74B-C644-8F10-503D241C2E0D}" type="datetime1">
              <a:rPr lang="fr-FR" smtClean="0"/>
              <a:t>07/08/2024</a:t>
            </a:fld>
            <a:endParaRPr lang="fr-FR"/>
          </a:p>
        </p:txBody>
      </p:sp>
      <p:sp>
        <p:nvSpPr>
          <p:cNvPr id="6" name="Espace réservé du texte 13"/>
          <p:cNvSpPr>
            <a:spLocks noGrp="1"/>
          </p:cNvSpPr>
          <p:nvPr>
            <p:ph type="body" sz="quarter" idx="12" hasCustomPrompt="1"/>
          </p:nvPr>
        </p:nvSpPr>
        <p:spPr>
          <a:xfrm>
            <a:off x="701459" y="4834372"/>
            <a:ext cx="5724394" cy="752475"/>
          </a:xfrm>
          <a:prstGeom prst="rect">
            <a:avLst/>
          </a:prstGeom>
        </p:spPr>
        <p:txBody>
          <a:bodyPr>
            <a:no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751561" y="6001381"/>
            <a:ext cx="5688904" cy="324263"/>
          </a:xfrm>
          <a:prstGeom prst="rect">
            <a:avLst/>
          </a:prstGeom>
        </p:spPr>
        <p:txBody>
          <a:bodyPr/>
          <a:lstStyle>
            <a:lvl1pPr marL="0" marR="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600" i="0">
                <a:solidFill>
                  <a:schemeClr val="bg1"/>
                </a:solidFill>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pic>
        <p:nvPicPr>
          <p:cNvPr id="11" name="Image 10" title="Sécurité sociale - l'Assurance Maladie : Agir ensemble, protéger chacun - Caisse nationale">
            <a:extLst>
              <a:ext uri="{FF2B5EF4-FFF2-40B4-BE49-F238E27FC236}">
                <a16:creationId xmlns:a16="http://schemas.microsoft.com/office/drawing/2014/main" id="{B016652D-7AC7-B847-9586-4DBCD1C31C08}"/>
              </a:ext>
            </a:extLst>
          </p:cNvPr>
          <p:cNvPicPr>
            <a:picLocks noChangeAspect="1"/>
          </p:cNvPicPr>
          <p:nvPr userDrawn="1"/>
        </p:nvPicPr>
        <p:blipFill>
          <a:blip r:embed="rId2"/>
          <a:stretch>
            <a:fillRect/>
          </a:stretch>
        </p:blipFill>
        <p:spPr>
          <a:xfrm>
            <a:off x="220752" y="-49428"/>
            <a:ext cx="7587938" cy="2304000"/>
          </a:xfrm>
          <a:prstGeom prst="rect">
            <a:avLst/>
          </a:prstGeom>
        </p:spPr>
      </p:pic>
    </p:spTree>
    <p:extLst>
      <p:ext uri="{BB962C8B-B14F-4D97-AF65-F5344CB8AC3E}">
        <p14:creationId xmlns:p14="http://schemas.microsoft.com/office/powerpoint/2010/main" val="8480493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N°3 CNAM Couverture fond couleur">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0" y="2188868"/>
            <a:ext cx="11178400" cy="4157999"/>
          </a:xfrm>
          <a:prstGeom prst="rect">
            <a:avLst/>
          </a:prstGeom>
          <a:solidFill>
            <a:schemeClr val="tx2"/>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2" name="Espace réservé de la date 1">
            <a:extLst>
              <a:ext uri="{FF2B5EF4-FFF2-40B4-BE49-F238E27FC236}">
                <a16:creationId xmlns:a16="http://schemas.microsoft.com/office/drawing/2014/main" id="{92507B6F-FE6B-4F61-B061-42BC8C5E7C81}"/>
              </a:ext>
            </a:extLst>
          </p:cNvPr>
          <p:cNvSpPr>
            <a:spLocks noGrp="1"/>
          </p:cNvSpPr>
          <p:nvPr>
            <p:ph type="dt" sz="half" idx="10"/>
          </p:nvPr>
        </p:nvSpPr>
        <p:spPr>
          <a:xfrm>
            <a:off x="9900000" y="6372000"/>
            <a:ext cx="1800000" cy="288000"/>
          </a:xfrm>
        </p:spPr>
        <p:txBody>
          <a:bodyPr/>
          <a:lstStyle/>
          <a:p>
            <a:fld id="{283CFBEF-98C3-6C4D-AECE-A89E43EA2455}" type="datetime1">
              <a:rPr lang="fr-FR" smtClean="0"/>
              <a:t>07/08/2024</a:t>
            </a:fld>
            <a:endParaRPr lang="fr-FR"/>
          </a:p>
        </p:txBody>
      </p:sp>
      <p:sp>
        <p:nvSpPr>
          <p:cNvPr id="8" name="Espace réservé du texte 13"/>
          <p:cNvSpPr>
            <a:spLocks noGrp="1"/>
          </p:cNvSpPr>
          <p:nvPr>
            <p:ph type="body" sz="quarter" idx="12" hasCustomPrompt="1"/>
          </p:nvPr>
        </p:nvSpPr>
        <p:spPr>
          <a:xfrm>
            <a:off x="701458" y="4834372"/>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9" name="Espace réservé du texte 13"/>
          <p:cNvSpPr>
            <a:spLocks noGrp="1"/>
          </p:cNvSpPr>
          <p:nvPr>
            <p:ph type="body" sz="quarter" idx="13" hasCustomPrompt="1"/>
          </p:nvPr>
        </p:nvSpPr>
        <p:spPr>
          <a:xfrm>
            <a:off x="5962389" y="6013907"/>
            <a:ext cx="5688904" cy="324263"/>
          </a:xfrm>
          <a:prstGeom prst="rect">
            <a:avLst/>
          </a:prstGeom>
        </p:spPr>
        <p:txBody>
          <a:bodyPr/>
          <a:lstStyle>
            <a:lvl1pPr marL="0" marR="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600" b="0" i="0">
                <a:solidFill>
                  <a:schemeClr val="bg1"/>
                </a:solidFill>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pic>
        <p:nvPicPr>
          <p:cNvPr id="7" name="Image 6" title="Sécurité sociale - l'Assurance Maladie : Agir ensemble, protéger chacun - Caisse nationale">
            <a:extLst>
              <a:ext uri="{FF2B5EF4-FFF2-40B4-BE49-F238E27FC236}">
                <a16:creationId xmlns:a16="http://schemas.microsoft.com/office/drawing/2014/main" id="{C669554B-24A3-6E4A-BF99-164EAC008630}"/>
              </a:ext>
            </a:extLst>
          </p:cNvPr>
          <p:cNvPicPr>
            <a:picLocks noChangeAspect="1"/>
          </p:cNvPicPr>
          <p:nvPr userDrawn="1"/>
        </p:nvPicPr>
        <p:blipFill>
          <a:blip r:embed="rId2"/>
          <a:stretch>
            <a:fillRect/>
          </a:stretch>
        </p:blipFill>
        <p:spPr>
          <a:xfrm>
            <a:off x="220752" y="-49428"/>
            <a:ext cx="7587938" cy="2304000"/>
          </a:xfrm>
          <a:prstGeom prst="rect">
            <a:avLst/>
          </a:prstGeom>
        </p:spPr>
      </p:pic>
    </p:spTree>
    <p:extLst>
      <p:ext uri="{BB962C8B-B14F-4D97-AF65-F5344CB8AC3E}">
        <p14:creationId xmlns:p14="http://schemas.microsoft.com/office/powerpoint/2010/main" val="8521446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B3994AD-A68F-4DCA-BEEC-7EA8F77C4961}"/>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0B7A97B6-7DF1-488D-A7DB-C2407C09C3F4}"/>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04ED3D66-C897-44B6-A6DE-C1C642A6CE4E}"/>
              </a:ext>
            </a:extLst>
          </p:cNvPr>
          <p:cNvSpPr>
            <a:spLocks noGrp="1"/>
          </p:cNvSpPr>
          <p:nvPr>
            <p:ph type="dt" sz="half" idx="10"/>
          </p:nvPr>
        </p:nvSpPr>
        <p:spPr/>
        <p:txBody>
          <a:bodyPr/>
          <a:lstStyle/>
          <a:p>
            <a:fld id="{A2413034-B103-41D2-977A-32CF76459AF0}" type="datetimeFigureOut">
              <a:rPr lang="fr-FR" smtClean="0"/>
              <a:t>07/08/2024</a:t>
            </a:fld>
            <a:endParaRPr lang="fr-FR"/>
          </a:p>
        </p:txBody>
      </p:sp>
      <p:sp>
        <p:nvSpPr>
          <p:cNvPr id="5" name="Espace réservé du pied de page 4">
            <a:extLst>
              <a:ext uri="{FF2B5EF4-FFF2-40B4-BE49-F238E27FC236}">
                <a16:creationId xmlns:a16="http://schemas.microsoft.com/office/drawing/2014/main" id="{983FFAB3-4436-4102-9346-C0E5A2A548BF}"/>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21E803CD-38EE-494E-986E-22C537D8A33E}"/>
              </a:ext>
            </a:extLst>
          </p:cNvPr>
          <p:cNvSpPr>
            <a:spLocks noGrp="1"/>
          </p:cNvSpPr>
          <p:nvPr>
            <p:ph type="sldNum" sz="quarter" idx="12"/>
          </p:nvPr>
        </p:nvSpPr>
        <p:spPr/>
        <p:txBody>
          <a:bodyPr/>
          <a:lstStyle/>
          <a:p>
            <a:fld id="{1853D752-F3DA-47A2-A775-910B824E1582}" type="slidenum">
              <a:rPr lang="fr-FR" smtClean="0"/>
              <a:t>‹N°›</a:t>
            </a:fld>
            <a:endParaRPr lang="fr-FR"/>
          </a:p>
        </p:txBody>
      </p:sp>
    </p:spTree>
    <p:extLst>
      <p:ext uri="{BB962C8B-B14F-4D97-AF65-F5344CB8AC3E}">
        <p14:creationId xmlns:p14="http://schemas.microsoft.com/office/powerpoint/2010/main" val="361168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82903"/>
            <a:ext cx="11186809" cy="5406942"/>
          </a:xfrm>
          <a:prstGeom prst="rect">
            <a:avLst/>
          </a:prstGeom>
          <a:solidFill>
            <a:schemeClr val="tx1"/>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68705"/>
            <a:ext cx="1080000" cy="552732"/>
          </a:xfrm>
          <a:prstGeom prst="rect">
            <a:avLst/>
          </a:prstGeom>
        </p:spPr>
        <p:txBody>
          <a:bodyPr anchor="t">
            <a:noAutofit/>
          </a:bodyPr>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76893"/>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5873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76893"/>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pPr/>
              <a:t>‹N°›</a:t>
            </a:fld>
            <a:endParaRPr lang="fr-F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279706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96971"/>
            <a:ext cx="11186809" cy="5406942"/>
          </a:xfrm>
          <a:prstGeom prst="rect">
            <a:avLst/>
          </a:prstGeom>
          <a:solidFill>
            <a:schemeClr val="tx2"/>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pPr/>
              <a:t>‹N°›</a:t>
            </a:fld>
            <a:endParaRPr lang="fr-F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16129196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96971"/>
            <a:ext cx="11186809" cy="5406942"/>
          </a:xfrm>
          <a:prstGeom prst="rect">
            <a:avLst/>
          </a:prstGeom>
          <a:solidFill>
            <a:schemeClr val="accent1"/>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pPr/>
              <a:t>‹N°›</a:t>
            </a:fld>
            <a:endParaRPr lang="fr-F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26341650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96971"/>
            <a:ext cx="11186809" cy="5406942"/>
          </a:xfrm>
          <a:prstGeom prst="rect">
            <a:avLst/>
          </a:prstGeom>
          <a:solidFill>
            <a:schemeClr val="accent2"/>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pPr/>
              <a:t>‹N°›</a:t>
            </a:fld>
            <a:endParaRPr lang="fr-F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20293282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96971"/>
            <a:ext cx="11186809" cy="5406942"/>
          </a:xfrm>
          <a:prstGeom prst="rect">
            <a:avLst/>
          </a:prstGeom>
          <a:solidFill>
            <a:schemeClr val="accent4"/>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pPr/>
              <a:t>‹N°›</a:t>
            </a:fld>
            <a:endParaRPr lang="fr-F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16319245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1"/>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7151579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2"/>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18034092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1"/>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20157011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2"/>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8722600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4"/>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13915056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ED0394-3272-4747-BC8B-04047AE5FC4C}"/>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93179DBD-F9CF-44CE-AC6B-CD9D9DF5A9D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7DA40A3D-4CFF-4747-858B-915BFBCCAAF5}"/>
              </a:ext>
            </a:extLst>
          </p:cNvPr>
          <p:cNvSpPr>
            <a:spLocks noGrp="1"/>
          </p:cNvSpPr>
          <p:nvPr>
            <p:ph type="dt" sz="half" idx="10"/>
          </p:nvPr>
        </p:nvSpPr>
        <p:spPr/>
        <p:txBody>
          <a:bodyPr/>
          <a:lstStyle/>
          <a:p>
            <a:fld id="{A2413034-B103-41D2-977A-32CF76459AF0}" type="datetimeFigureOut">
              <a:rPr lang="fr-FR" smtClean="0"/>
              <a:t>07/08/2024</a:t>
            </a:fld>
            <a:endParaRPr lang="fr-FR"/>
          </a:p>
        </p:txBody>
      </p:sp>
      <p:sp>
        <p:nvSpPr>
          <p:cNvPr id="5" name="Espace réservé du pied de page 4">
            <a:extLst>
              <a:ext uri="{FF2B5EF4-FFF2-40B4-BE49-F238E27FC236}">
                <a16:creationId xmlns:a16="http://schemas.microsoft.com/office/drawing/2014/main" id="{1DD000A9-7437-45B7-B2AE-D9253F1E9744}"/>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7145E9A2-7EC9-4B3E-931F-6DAA19D6C42C}"/>
              </a:ext>
            </a:extLst>
          </p:cNvPr>
          <p:cNvSpPr>
            <a:spLocks noGrp="1"/>
          </p:cNvSpPr>
          <p:nvPr>
            <p:ph type="sldNum" sz="quarter" idx="12"/>
          </p:nvPr>
        </p:nvSpPr>
        <p:spPr/>
        <p:txBody>
          <a:bodyPr/>
          <a:lstStyle/>
          <a:p>
            <a:fld id="{1853D752-F3DA-47A2-A775-910B824E1582}" type="slidenum">
              <a:rPr lang="fr-FR" smtClean="0"/>
              <a:t>‹N°›</a:t>
            </a:fld>
            <a:endParaRPr lang="fr-FR"/>
          </a:p>
        </p:txBody>
      </p:sp>
    </p:spTree>
    <p:extLst>
      <p:ext uri="{BB962C8B-B14F-4D97-AF65-F5344CB8AC3E}">
        <p14:creationId xmlns:p14="http://schemas.microsoft.com/office/powerpoint/2010/main" val="7335357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1"/>
          </a:solidFill>
        </p:spPr>
        <p:txBody>
          <a:bodyPr/>
          <a:lstStyle>
            <a:lvl1pPr marL="0" indent="0">
              <a:buNone/>
              <a:defRPr/>
            </a:lvl1pPr>
          </a:lstStyle>
          <a:p>
            <a:pPr lvl="0"/>
            <a:r>
              <a:rPr lang="fr-FR"/>
              <a:t> </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E LA SOUS-PARTI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1716442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2"/>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8"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marR="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16256300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1"/>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8"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marR="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14388401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2"/>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8"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marR="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76249079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4"/>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8"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marR="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6713564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BCF3B943-80A1-4E09-AFBA-4C7EDC0AD2BD}"/>
              </a:ext>
            </a:extLst>
          </p:cNvPr>
          <p:cNvSpPr>
            <a:spLocks noGrp="1"/>
          </p:cNvSpPr>
          <p:nvPr>
            <p:ph type="body" sz="quarter" idx="16"/>
          </p:nvPr>
        </p:nvSpPr>
        <p:spPr>
          <a:xfrm>
            <a:off x="1273094" y="2087563"/>
            <a:ext cx="10422019" cy="376713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p:txBody>
          <a:bodyPr/>
          <a:lstStyle/>
          <a:p>
            <a:r>
              <a:rPr lang="fr-FR"/>
              <a:t>Cliquez pour ajouter un titre</a:t>
            </a:r>
          </a:p>
        </p:txBody>
      </p:sp>
    </p:spTree>
    <p:extLst>
      <p:ext uri="{BB962C8B-B14F-4D97-AF65-F5344CB8AC3E}">
        <p14:creationId xmlns:p14="http://schemas.microsoft.com/office/powerpoint/2010/main" val="275323179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2B4DC679-F54F-4846-9912-E80DB1F86B4D}"/>
              </a:ext>
            </a:extLst>
          </p:cNvPr>
          <p:cNvSpPr>
            <a:spLocks noGrp="1"/>
          </p:cNvSpPr>
          <p:nvPr>
            <p:ph type="body" sz="quarter" idx="16"/>
          </p:nvPr>
        </p:nvSpPr>
        <p:spPr>
          <a:xfrm>
            <a:off x="1273094" y="2087563"/>
            <a:ext cx="10422019" cy="376713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a:solidFill>
            <a:schemeClr val="tx2"/>
          </a:solidFill>
        </p:spPr>
        <p:txBody>
          <a:bodyPr/>
          <a:lstStyle/>
          <a:p>
            <a:r>
              <a:rPr lang="fr-FR"/>
              <a:t>Cliquez pour ajouter un titre</a:t>
            </a:r>
          </a:p>
        </p:txBody>
      </p:sp>
    </p:spTree>
    <p:extLst>
      <p:ext uri="{BB962C8B-B14F-4D97-AF65-F5344CB8AC3E}">
        <p14:creationId xmlns:p14="http://schemas.microsoft.com/office/powerpoint/2010/main" val="185646010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98C1329A-664A-4E28-B644-3636A328F32F}"/>
              </a:ext>
            </a:extLst>
          </p:cNvPr>
          <p:cNvSpPr>
            <a:spLocks noGrp="1"/>
          </p:cNvSpPr>
          <p:nvPr>
            <p:ph type="body" sz="quarter" idx="16"/>
          </p:nvPr>
        </p:nvSpPr>
        <p:spPr>
          <a:xfrm>
            <a:off x="1273094" y="2087563"/>
            <a:ext cx="10422019" cy="376713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a:solidFill>
            <a:schemeClr val="accent1"/>
          </a:solidFill>
        </p:spPr>
        <p:txBody>
          <a:bodyPr/>
          <a:lstStyle/>
          <a:p>
            <a:r>
              <a:rPr lang="fr-FR"/>
              <a:t>Cliquez pour ajouter un titre</a:t>
            </a:r>
          </a:p>
        </p:txBody>
      </p:sp>
    </p:spTree>
    <p:extLst>
      <p:ext uri="{BB962C8B-B14F-4D97-AF65-F5344CB8AC3E}">
        <p14:creationId xmlns:p14="http://schemas.microsoft.com/office/powerpoint/2010/main" val="136621117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6D3E7924-C220-48DB-B1CD-419E69887507}"/>
              </a:ext>
            </a:extLst>
          </p:cNvPr>
          <p:cNvSpPr>
            <a:spLocks noGrp="1"/>
          </p:cNvSpPr>
          <p:nvPr>
            <p:ph type="body" sz="quarter" idx="16"/>
          </p:nvPr>
        </p:nvSpPr>
        <p:spPr>
          <a:xfrm>
            <a:off x="1273094" y="2087563"/>
            <a:ext cx="10422019" cy="376713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a:solidFill>
            <a:schemeClr val="accent2"/>
          </a:solidFill>
        </p:spPr>
        <p:txBody>
          <a:bodyPr/>
          <a:lstStyle/>
          <a:p>
            <a:r>
              <a:rPr lang="fr-FR"/>
              <a:t>Cliquez pour ajouter un titre</a:t>
            </a:r>
          </a:p>
        </p:txBody>
      </p:sp>
    </p:spTree>
    <p:extLst>
      <p:ext uri="{BB962C8B-B14F-4D97-AF65-F5344CB8AC3E}">
        <p14:creationId xmlns:p14="http://schemas.microsoft.com/office/powerpoint/2010/main" val="260479743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Texte">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a:solidFill>
            <a:schemeClr val="accent4"/>
          </a:solidFill>
        </p:spPr>
        <p:txBody>
          <a:bodyPr/>
          <a:lstStyle/>
          <a:p>
            <a:r>
              <a:rPr lang="fr-FR"/>
              <a:t>Cliquez pour ajouter un titre</a:t>
            </a:r>
          </a:p>
        </p:txBody>
      </p:sp>
      <p:sp>
        <p:nvSpPr>
          <p:cNvPr id="5" name="Espace réservé du texte 4">
            <a:extLst>
              <a:ext uri="{FF2B5EF4-FFF2-40B4-BE49-F238E27FC236}">
                <a16:creationId xmlns:a16="http://schemas.microsoft.com/office/drawing/2014/main" id="{85207AD3-6204-4D1E-AD96-6CDC41E3A4E5}"/>
              </a:ext>
            </a:extLst>
          </p:cNvPr>
          <p:cNvSpPr>
            <a:spLocks noGrp="1"/>
          </p:cNvSpPr>
          <p:nvPr>
            <p:ph type="body" sz="quarter" idx="16"/>
          </p:nvPr>
        </p:nvSpPr>
        <p:spPr>
          <a:xfrm>
            <a:off x="1273094" y="2087563"/>
            <a:ext cx="10422019" cy="376713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69179977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D68EDDE-13D8-4421-8E28-484F6262ED79}"/>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E9C49222-40FC-4E16-BB1E-62130A83DC0F}"/>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CBFCB9E5-D6A9-4FF9-B702-F626FCB4C203}"/>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ABA7463F-BCEC-436F-927A-DD936FCF72A4}"/>
              </a:ext>
            </a:extLst>
          </p:cNvPr>
          <p:cNvSpPr>
            <a:spLocks noGrp="1"/>
          </p:cNvSpPr>
          <p:nvPr>
            <p:ph type="dt" sz="half" idx="10"/>
          </p:nvPr>
        </p:nvSpPr>
        <p:spPr/>
        <p:txBody>
          <a:bodyPr/>
          <a:lstStyle/>
          <a:p>
            <a:fld id="{A2413034-B103-41D2-977A-32CF76459AF0}" type="datetimeFigureOut">
              <a:rPr lang="fr-FR" smtClean="0"/>
              <a:t>07/08/2024</a:t>
            </a:fld>
            <a:endParaRPr lang="fr-FR"/>
          </a:p>
        </p:txBody>
      </p:sp>
      <p:sp>
        <p:nvSpPr>
          <p:cNvPr id="6" name="Espace réservé du pied de page 5">
            <a:extLst>
              <a:ext uri="{FF2B5EF4-FFF2-40B4-BE49-F238E27FC236}">
                <a16:creationId xmlns:a16="http://schemas.microsoft.com/office/drawing/2014/main" id="{1528BBBA-B186-4AE3-BFDE-E13423F0A1F9}"/>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E12354DA-BB4C-4F21-A2B3-B031AA63931D}"/>
              </a:ext>
            </a:extLst>
          </p:cNvPr>
          <p:cNvSpPr>
            <a:spLocks noGrp="1"/>
          </p:cNvSpPr>
          <p:nvPr>
            <p:ph type="sldNum" sz="quarter" idx="12"/>
          </p:nvPr>
        </p:nvSpPr>
        <p:spPr/>
        <p:txBody>
          <a:bodyPr/>
          <a:lstStyle/>
          <a:p>
            <a:fld id="{1853D752-F3DA-47A2-A775-910B824E1582}" type="slidenum">
              <a:rPr lang="fr-FR" smtClean="0"/>
              <a:t>‹N°›</a:t>
            </a:fld>
            <a:endParaRPr lang="fr-FR"/>
          </a:p>
        </p:txBody>
      </p:sp>
    </p:spTree>
    <p:extLst>
      <p:ext uri="{BB962C8B-B14F-4D97-AF65-F5344CB8AC3E}">
        <p14:creationId xmlns:p14="http://schemas.microsoft.com/office/powerpoint/2010/main" val="40644719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baseline="0">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64C7CDFE-DF95-4CA3-98A5-7BD20AEBF1AF}"/>
              </a:ext>
            </a:extLst>
          </p:cNvPr>
          <p:cNvSpPr>
            <a:spLocks noGrp="1"/>
          </p:cNvSpPr>
          <p:nvPr>
            <p:ph type="body" sz="quarter" idx="18"/>
          </p:nvPr>
        </p:nvSpPr>
        <p:spPr>
          <a:xfrm>
            <a:off x="498661" y="2087563"/>
            <a:ext cx="5220000" cy="381635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7370106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chemeClr val="tx2"/>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30FA6ADF-24F5-4136-844C-F6784D4250A1}"/>
              </a:ext>
            </a:extLst>
          </p:cNvPr>
          <p:cNvSpPr>
            <a:spLocks noGrp="1"/>
          </p:cNvSpPr>
          <p:nvPr>
            <p:ph type="body" sz="quarter" idx="18"/>
          </p:nvPr>
        </p:nvSpPr>
        <p:spPr>
          <a:xfrm>
            <a:off x="498661" y="2087563"/>
            <a:ext cx="5220000" cy="381635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9259522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chemeClr val="accent1"/>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6ADE6774-34F3-49AC-A02F-D0366059DC4D}"/>
              </a:ext>
            </a:extLst>
          </p:cNvPr>
          <p:cNvSpPr>
            <a:spLocks noGrp="1"/>
          </p:cNvSpPr>
          <p:nvPr>
            <p:ph type="body" sz="quarter" idx="18"/>
          </p:nvPr>
        </p:nvSpPr>
        <p:spPr>
          <a:xfrm>
            <a:off x="498661" y="2087563"/>
            <a:ext cx="5220000" cy="381635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8867210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chemeClr val="accent2"/>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D662AE38-9407-4D2E-9CC9-7BB7DE459250}"/>
              </a:ext>
            </a:extLst>
          </p:cNvPr>
          <p:cNvSpPr>
            <a:spLocks noGrp="1"/>
          </p:cNvSpPr>
          <p:nvPr>
            <p:ph type="body" sz="quarter" idx="18"/>
          </p:nvPr>
        </p:nvSpPr>
        <p:spPr>
          <a:xfrm>
            <a:off x="498661" y="2087563"/>
            <a:ext cx="5220000" cy="381635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1765510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chemeClr val="accent4"/>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4C16A07E-A0DC-4D23-A540-5B576EF46D13}"/>
              </a:ext>
            </a:extLst>
          </p:cNvPr>
          <p:cNvSpPr>
            <a:spLocks noGrp="1"/>
          </p:cNvSpPr>
          <p:nvPr>
            <p:ph type="body" sz="quarter" idx="18" hasCustomPrompt="1"/>
          </p:nvPr>
        </p:nvSpPr>
        <p:spPr>
          <a:xfrm>
            <a:off x="498661" y="2087563"/>
            <a:ext cx="5220000" cy="3816350"/>
          </a:xfrm>
        </p:spPr>
        <p:txBody>
          <a:bodyPr/>
          <a:lstStyle>
            <a:lvl4pPr>
              <a:defRPr/>
            </a:lvl4pPr>
          </a:lstStyle>
          <a:p>
            <a:pPr lvl="0"/>
            <a:r>
              <a:rPr lang="fr-FR"/>
              <a:t>Cliquez pour modifier les styles du texte du masque</a:t>
            </a:r>
          </a:p>
          <a:p>
            <a:pPr lvl="1"/>
            <a:r>
              <a:rPr lang="fr-FR"/>
              <a:t>Deuxième niveau</a:t>
            </a:r>
          </a:p>
          <a:p>
            <a:pPr lvl="2"/>
            <a:r>
              <a:rPr lang="fr-FR"/>
              <a:t>Troisième niveau</a:t>
            </a:r>
          </a:p>
          <a:p>
            <a:pPr lvl="3"/>
            <a:r>
              <a:rPr lang="fr-FR"/>
              <a:t>Quatrième niveau</a:t>
            </a:r>
          </a:p>
        </p:txBody>
      </p:sp>
    </p:spTree>
    <p:extLst>
      <p:ext uri="{BB962C8B-B14F-4D97-AF65-F5344CB8AC3E}">
        <p14:creationId xmlns:p14="http://schemas.microsoft.com/office/powerpoint/2010/main" val="37293279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37908958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chemeClr val="tx2"/>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389111797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chemeClr val="accent1"/>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17865590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chemeClr val="accent2"/>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386811234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chemeClr val="accent4"/>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192222"/>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2166956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9AA6390-7E94-4393-9ADF-5525EE19703F}"/>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A0770C84-5D61-45C1-BCAC-6475958FD0D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3EAC35E4-DBAB-49A1-9188-75BB517BB998}"/>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AE68439F-D61A-472C-A8CC-3B1731E979F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C61E3A8E-DDD4-4796-83C6-9ED4076C524E}"/>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6682EB6E-4E4E-491F-8AF5-FCFEC177FB70}"/>
              </a:ext>
            </a:extLst>
          </p:cNvPr>
          <p:cNvSpPr>
            <a:spLocks noGrp="1"/>
          </p:cNvSpPr>
          <p:nvPr>
            <p:ph type="dt" sz="half" idx="10"/>
          </p:nvPr>
        </p:nvSpPr>
        <p:spPr/>
        <p:txBody>
          <a:bodyPr/>
          <a:lstStyle/>
          <a:p>
            <a:fld id="{A2413034-B103-41D2-977A-32CF76459AF0}" type="datetimeFigureOut">
              <a:rPr lang="fr-FR" smtClean="0"/>
              <a:t>07/08/2024</a:t>
            </a:fld>
            <a:endParaRPr lang="fr-FR"/>
          </a:p>
        </p:txBody>
      </p:sp>
      <p:sp>
        <p:nvSpPr>
          <p:cNvPr id="8" name="Espace réservé du pied de page 7">
            <a:extLst>
              <a:ext uri="{FF2B5EF4-FFF2-40B4-BE49-F238E27FC236}">
                <a16:creationId xmlns:a16="http://schemas.microsoft.com/office/drawing/2014/main" id="{F103AD2A-69BE-429E-B97B-848FC8CEB05E}"/>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2217F629-F5EF-4316-AF99-7C7C2F4974CC}"/>
              </a:ext>
            </a:extLst>
          </p:cNvPr>
          <p:cNvSpPr>
            <a:spLocks noGrp="1"/>
          </p:cNvSpPr>
          <p:nvPr>
            <p:ph type="sldNum" sz="quarter" idx="12"/>
          </p:nvPr>
        </p:nvSpPr>
        <p:spPr/>
        <p:txBody>
          <a:bodyPr/>
          <a:lstStyle/>
          <a:p>
            <a:fld id="{1853D752-F3DA-47A2-A775-910B824E1582}" type="slidenum">
              <a:rPr lang="fr-FR" smtClean="0"/>
              <a:t>‹N°›</a:t>
            </a:fld>
            <a:endParaRPr lang="fr-FR"/>
          </a:p>
        </p:txBody>
      </p:sp>
    </p:spTree>
    <p:extLst>
      <p:ext uri="{BB962C8B-B14F-4D97-AF65-F5344CB8AC3E}">
        <p14:creationId xmlns:p14="http://schemas.microsoft.com/office/powerpoint/2010/main" val="3416416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p:txBody>
          <a:bodyPr/>
          <a:lstStyle/>
          <a:p>
            <a:r>
              <a:rPr lang="fr-FR"/>
              <a:t>Cliquez pour ajouter un titre</a:t>
            </a:r>
          </a:p>
        </p:txBody>
      </p:sp>
      <p:sp>
        <p:nvSpPr>
          <p:cNvPr id="10" name="Espace réservé du texte 8">
            <a:extLst>
              <a:ext uri="{FF2B5EF4-FFF2-40B4-BE49-F238E27FC236}">
                <a16:creationId xmlns:a16="http://schemas.microsoft.com/office/drawing/2014/main" id="{761F1608-1EEB-E647-B6C1-A92DFDEACC8B}"/>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1" name="Espace réservé du texte 8">
            <a:extLst>
              <a:ext uri="{FF2B5EF4-FFF2-40B4-BE49-F238E27FC236}">
                <a16:creationId xmlns:a16="http://schemas.microsoft.com/office/drawing/2014/main" id="{12396C78-3A19-AA4A-BA82-771000D34AB6}"/>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3" name="Espace réservé du texte 8">
            <a:extLst>
              <a:ext uri="{FF2B5EF4-FFF2-40B4-BE49-F238E27FC236}">
                <a16:creationId xmlns:a16="http://schemas.microsoft.com/office/drawing/2014/main" id="{EC2BF74E-545A-A440-902F-FA50E56110EE}"/>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hasCustomPrompt="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Cliquez pour insérer un élément</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hasCustomPrompt="1"/>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Cliquez pour insérer un élément</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hasCustomPrompt="1"/>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Cliquez pour insérer un élément</a:t>
            </a:r>
          </a:p>
        </p:txBody>
      </p:sp>
    </p:spTree>
    <p:extLst>
      <p:ext uri="{BB962C8B-B14F-4D97-AF65-F5344CB8AC3E}">
        <p14:creationId xmlns:p14="http://schemas.microsoft.com/office/powerpoint/2010/main" val="19271694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chemeClr val="tx2"/>
          </a:solidFill>
        </p:spPr>
        <p:txBody>
          <a:bodyPr/>
          <a:lstStyle/>
          <a:p>
            <a:r>
              <a:rPr lang="fr-FR"/>
              <a:t>Cliquez pour ajouter un titr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6" name="Espace réservé du texte 8">
            <a:extLst>
              <a:ext uri="{FF2B5EF4-FFF2-40B4-BE49-F238E27FC236}">
                <a16:creationId xmlns:a16="http://schemas.microsoft.com/office/drawing/2014/main" id="{F2F5452A-EA35-364C-871A-EF7CC620C4BD}"/>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7" name="Espace réservé du texte 8">
            <a:extLst>
              <a:ext uri="{FF2B5EF4-FFF2-40B4-BE49-F238E27FC236}">
                <a16:creationId xmlns:a16="http://schemas.microsoft.com/office/drawing/2014/main" id="{826E2E5D-419D-F744-910A-52FB82C616E2}"/>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8" name="Espace réservé du texte 8">
            <a:extLst>
              <a:ext uri="{FF2B5EF4-FFF2-40B4-BE49-F238E27FC236}">
                <a16:creationId xmlns:a16="http://schemas.microsoft.com/office/drawing/2014/main" id="{822EADD7-9147-EC4B-B04B-311375EF40B2}"/>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21188931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chemeClr val="accent1"/>
          </a:solidFill>
        </p:spPr>
        <p:txBody>
          <a:bodyPr/>
          <a:lstStyle/>
          <a:p>
            <a:r>
              <a:rPr lang="fr-FR"/>
              <a:t>Cliquez pour ajouter un titr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6" name="Espace réservé du texte 8">
            <a:extLst>
              <a:ext uri="{FF2B5EF4-FFF2-40B4-BE49-F238E27FC236}">
                <a16:creationId xmlns:a16="http://schemas.microsoft.com/office/drawing/2014/main" id="{21928D4E-4DC9-7743-8E29-22CA76F8BA77}"/>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7" name="Espace réservé du texte 8">
            <a:extLst>
              <a:ext uri="{FF2B5EF4-FFF2-40B4-BE49-F238E27FC236}">
                <a16:creationId xmlns:a16="http://schemas.microsoft.com/office/drawing/2014/main" id="{55C896D7-F7BF-3B45-9D73-EEF39DDECBA1}"/>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8" name="Espace réservé du texte 8">
            <a:extLst>
              <a:ext uri="{FF2B5EF4-FFF2-40B4-BE49-F238E27FC236}">
                <a16:creationId xmlns:a16="http://schemas.microsoft.com/office/drawing/2014/main" id="{971C6247-F563-9D41-B02F-4C097708A157}"/>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8046200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chemeClr val="accent2"/>
          </a:solidFill>
        </p:spPr>
        <p:txBody>
          <a:bodyPr/>
          <a:lstStyle/>
          <a:p>
            <a:r>
              <a:rPr lang="fr-FR"/>
              <a:t>Cliquez pour ajouter un titr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6" name="Espace réservé du texte 8">
            <a:extLst>
              <a:ext uri="{FF2B5EF4-FFF2-40B4-BE49-F238E27FC236}">
                <a16:creationId xmlns:a16="http://schemas.microsoft.com/office/drawing/2014/main" id="{2F079DAE-8087-FE48-B24F-3114264C0990}"/>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7" name="Espace réservé du texte 8">
            <a:extLst>
              <a:ext uri="{FF2B5EF4-FFF2-40B4-BE49-F238E27FC236}">
                <a16:creationId xmlns:a16="http://schemas.microsoft.com/office/drawing/2014/main" id="{F615992A-2E96-9841-A17D-A1581687B4AC}"/>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8" name="Espace réservé du texte 8">
            <a:extLst>
              <a:ext uri="{FF2B5EF4-FFF2-40B4-BE49-F238E27FC236}">
                <a16:creationId xmlns:a16="http://schemas.microsoft.com/office/drawing/2014/main" id="{2B4AA268-8909-0A46-B5FD-C7B5494FB6FF}"/>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148601661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chemeClr val="accent4"/>
          </a:solidFill>
        </p:spPr>
        <p:txBody>
          <a:bodyPr/>
          <a:lstStyle/>
          <a:p>
            <a:r>
              <a:rPr lang="fr-FR"/>
              <a:t>Cliquez pour ajouter un titr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6" name="Espace réservé du texte 8">
            <a:extLst>
              <a:ext uri="{FF2B5EF4-FFF2-40B4-BE49-F238E27FC236}">
                <a16:creationId xmlns:a16="http://schemas.microsoft.com/office/drawing/2014/main" id="{36C85B24-1F14-2A46-91FC-0B7FC6738D02}"/>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7" name="Espace réservé du texte 8">
            <a:extLst>
              <a:ext uri="{FF2B5EF4-FFF2-40B4-BE49-F238E27FC236}">
                <a16:creationId xmlns:a16="http://schemas.microsoft.com/office/drawing/2014/main" id="{54E46A9B-34F6-7B44-BE45-AAEC5E454250}"/>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8" name="Espace réservé du texte 8">
            <a:extLst>
              <a:ext uri="{FF2B5EF4-FFF2-40B4-BE49-F238E27FC236}">
                <a16:creationId xmlns:a16="http://schemas.microsoft.com/office/drawing/2014/main" id="{F853C672-16A4-9247-B4D1-3250EC970711}"/>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281235945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in">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1"/>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8" name="Espace réservé du texte 6">
            <a:extLst>
              <a:ext uri="{FF2B5EF4-FFF2-40B4-BE49-F238E27FC236}">
                <a16:creationId xmlns:a16="http://schemas.microsoft.com/office/drawing/2014/main" id="{C0D333F6-48EC-8A4C-A930-531E2DE5E3C0}"/>
              </a:ext>
            </a:extLst>
          </p:cNvPr>
          <p:cNvSpPr>
            <a:spLocks noGrp="1"/>
          </p:cNvSpPr>
          <p:nvPr>
            <p:ph type="body" sz="quarter" idx="28" hasCustomPrompt="1"/>
          </p:nvPr>
        </p:nvSpPr>
        <p:spPr>
          <a:xfrm>
            <a:off x="927301" y="1437861"/>
            <a:ext cx="50599" cy="1343439"/>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9" name="Espace réservé du texte 2">
            <a:extLst>
              <a:ext uri="{FF2B5EF4-FFF2-40B4-BE49-F238E27FC236}">
                <a16:creationId xmlns:a16="http://schemas.microsoft.com/office/drawing/2014/main" id="{9F24CBFD-D250-A846-8089-C12AD963658D}"/>
              </a:ext>
            </a:extLst>
          </p:cNvPr>
          <p:cNvSpPr>
            <a:spLocks noGrp="1"/>
          </p:cNvSpPr>
          <p:nvPr>
            <p:ph type="body" sz="quarter" idx="35" hasCustomPrompt="1"/>
          </p:nvPr>
        </p:nvSpPr>
        <p:spPr>
          <a:xfrm>
            <a:off x="1116013" y="1438275"/>
            <a:ext cx="7156450" cy="1343025"/>
          </a:xfrm>
          <a:prstGeom prst="rect">
            <a:avLst/>
          </a:prstGeom>
        </p:spPr>
        <p:txBody>
          <a:bodyPr/>
          <a:lstStyle>
            <a:lvl1pPr>
              <a:defRPr sz="3600" b="1" i="0" cap="all" baseline="0">
                <a:solidFill>
                  <a:schemeClr val="bg1"/>
                </a:solidFill>
                <a:latin typeface="Arial" panose="020B0604020202020204" pitchFamily="34" charset="0"/>
              </a:defRPr>
            </a:lvl1pPr>
          </a:lstStyle>
          <a:p>
            <a:pPr lvl="0"/>
            <a:r>
              <a:rPr lang="fr-FR"/>
              <a:t>Cliquez pour ajouter du texte</a:t>
            </a:r>
          </a:p>
        </p:txBody>
      </p:sp>
      <p:sp>
        <p:nvSpPr>
          <p:cNvPr id="10" name="Espace réservé du texte 5">
            <a:extLst>
              <a:ext uri="{FF2B5EF4-FFF2-40B4-BE49-F238E27FC236}">
                <a16:creationId xmlns:a16="http://schemas.microsoft.com/office/drawing/2014/main" id="{0053A370-BCB9-F741-B757-FB3ED04A0B72}"/>
              </a:ext>
            </a:extLst>
          </p:cNvPr>
          <p:cNvSpPr>
            <a:spLocks noGrp="1"/>
          </p:cNvSpPr>
          <p:nvPr>
            <p:ph type="body" sz="quarter" idx="36" hasCustomPrompt="1"/>
          </p:nvPr>
        </p:nvSpPr>
        <p:spPr>
          <a:xfrm>
            <a:off x="1116013" y="3747290"/>
            <a:ext cx="2998787" cy="1638300"/>
          </a:xfrm>
          <a:prstGeom prst="rect">
            <a:avLst/>
          </a:prstGeom>
        </p:spPr>
        <p:txBody>
          <a:bodyPr/>
          <a:lstStyle>
            <a:lvl1pPr>
              <a:lnSpc>
                <a:spcPct val="100000"/>
              </a:lnSpc>
              <a:spcAft>
                <a:spcPts val="500"/>
              </a:spcAft>
              <a:defRPr sz="1400" b="1" i="0" baseline="0">
                <a:solidFill>
                  <a:schemeClr val="bg1"/>
                </a:solidFill>
                <a:latin typeface="Arial" panose="020B0604020202020204" pitchFamily="34" charset="0"/>
                <a:cs typeface="Arial" panose="020B0604020202020204" pitchFamily="34" charset="0"/>
              </a:defRPr>
            </a:lvl1pPr>
          </a:lstStyle>
          <a:p>
            <a:pPr lvl="0"/>
            <a:r>
              <a:rPr lang="fr-FR"/>
              <a:t>Cliquez pour ajouter du texte</a:t>
            </a:r>
          </a:p>
        </p:txBody>
      </p:sp>
      <p:sp>
        <p:nvSpPr>
          <p:cNvPr id="11" name="Espace réservé du texte 5">
            <a:extLst>
              <a:ext uri="{FF2B5EF4-FFF2-40B4-BE49-F238E27FC236}">
                <a16:creationId xmlns:a16="http://schemas.microsoft.com/office/drawing/2014/main" id="{DDEF4A67-CF56-D046-AA7C-7AF35FFB01E6}"/>
              </a:ext>
            </a:extLst>
          </p:cNvPr>
          <p:cNvSpPr>
            <a:spLocks noGrp="1"/>
          </p:cNvSpPr>
          <p:nvPr>
            <p:ph type="body" sz="quarter" idx="37" hasCustomPrompt="1"/>
          </p:nvPr>
        </p:nvSpPr>
        <p:spPr>
          <a:xfrm>
            <a:off x="4392341" y="3746502"/>
            <a:ext cx="2998787" cy="1638300"/>
          </a:xfrm>
          <a:prstGeom prst="rect">
            <a:avLst/>
          </a:prstGeom>
        </p:spPr>
        <p:txBody>
          <a:bodyPr/>
          <a:lstStyle>
            <a:lvl1pPr>
              <a:lnSpc>
                <a:spcPct val="100000"/>
              </a:lnSpc>
              <a:spcAft>
                <a:spcPts val="500"/>
              </a:spcAft>
              <a:defRPr sz="1400" b="1" i="0" baseline="0">
                <a:solidFill>
                  <a:schemeClr val="bg1"/>
                </a:solidFill>
              </a:defRPr>
            </a:lvl1pPr>
          </a:lstStyle>
          <a:p>
            <a:pPr lvl="0"/>
            <a:r>
              <a:rPr lang="fr-FR"/>
              <a:t>Cliquez pour ajouter du texte</a:t>
            </a:r>
          </a:p>
        </p:txBody>
      </p:sp>
      <p:sp>
        <p:nvSpPr>
          <p:cNvPr id="12" name="Espace réservé du texte 5">
            <a:extLst>
              <a:ext uri="{FF2B5EF4-FFF2-40B4-BE49-F238E27FC236}">
                <a16:creationId xmlns:a16="http://schemas.microsoft.com/office/drawing/2014/main" id="{E702EB90-1B53-5B40-B4D8-18EFA767867C}"/>
              </a:ext>
            </a:extLst>
          </p:cNvPr>
          <p:cNvSpPr>
            <a:spLocks noGrp="1"/>
          </p:cNvSpPr>
          <p:nvPr>
            <p:ph type="body" sz="quarter" idx="38" hasCustomPrompt="1"/>
          </p:nvPr>
        </p:nvSpPr>
        <p:spPr>
          <a:xfrm>
            <a:off x="7668669" y="3746502"/>
            <a:ext cx="2998787" cy="1638300"/>
          </a:xfrm>
          <a:prstGeom prst="rect">
            <a:avLst/>
          </a:prstGeom>
        </p:spPr>
        <p:txBody>
          <a:bodyPr/>
          <a:lstStyle>
            <a:lvl1pPr>
              <a:lnSpc>
                <a:spcPct val="100000"/>
              </a:lnSpc>
              <a:spcAft>
                <a:spcPts val="500"/>
              </a:spcAft>
              <a:defRPr sz="1400" b="1" i="0" baseline="0">
                <a:solidFill>
                  <a:schemeClr val="bg1"/>
                </a:solidFill>
              </a:defRPr>
            </a:lvl1pPr>
          </a:lstStyle>
          <a:p>
            <a:pPr lvl="0"/>
            <a:r>
              <a:rPr lang="fr-FR"/>
              <a:t>Cliquez pour ajouter du texte</a:t>
            </a:r>
          </a:p>
        </p:txBody>
      </p:sp>
    </p:spTree>
    <p:extLst>
      <p:ext uri="{BB962C8B-B14F-4D97-AF65-F5344CB8AC3E}">
        <p14:creationId xmlns:p14="http://schemas.microsoft.com/office/powerpoint/2010/main" val="259304432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re">
    <p:spTree>
      <p:nvGrpSpPr>
        <p:cNvPr id="1" name=""/>
        <p:cNvGrpSpPr/>
        <p:nvPr/>
      </p:nvGrpSpPr>
      <p:grpSpPr>
        <a:xfrm>
          <a:off x="0" y="0"/>
          <a:ext cx="0" cy="0"/>
          <a:chOff x="0" y="0"/>
          <a:chExt cx="0" cy="0"/>
        </a:xfrm>
      </p:grpSpPr>
      <p:pic>
        <p:nvPicPr>
          <p:cNvPr id="17" name="MES-masque PPT.jpg" descr="MES-masque PPT.jpg"/>
          <p:cNvPicPr>
            <a:picLocks noChangeAspect="1"/>
          </p:cNvPicPr>
          <p:nvPr userDrawn="1"/>
        </p:nvPicPr>
        <p:blipFill rotWithShape="1">
          <a:blip r:embed="rId2"/>
          <a:srcRect b="18253"/>
          <a:stretch/>
        </p:blipFill>
        <p:spPr>
          <a:xfrm>
            <a:off x="0" y="3748"/>
            <a:ext cx="12192001" cy="5603145"/>
          </a:xfrm>
          <a:prstGeom prst="rect">
            <a:avLst/>
          </a:prstGeom>
          <a:ln w="12700">
            <a:miter lim="400000"/>
          </a:ln>
        </p:spPr>
      </p:pic>
      <p:sp>
        <p:nvSpPr>
          <p:cNvPr id="19" name="Titre de la présentation"/>
          <p:cNvSpPr txBox="1">
            <a:spLocks noGrp="1"/>
          </p:cNvSpPr>
          <p:nvPr>
            <p:ph type="title" hasCustomPrompt="1"/>
          </p:nvPr>
        </p:nvSpPr>
        <p:spPr>
          <a:xfrm>
            <a:off x="850898" y="4535186"/>
            <a:ext cx="6761760" cy="831762"/>
          </a:xfrm>
          <a:prstGeom prst="rect">
            <a:avLst/>
          </a:prstGeom>
        </p:spPr>
        <p:txBody>
          <a:bodyPr anchor="t"/>
          <a:lstStyle>
            <a:lvl1pPr>
              <a:defRPr sz="3000" cap="all" spc="-60"/>
            </a:lvl1pPr>
          </a:lstStyle>
          <a:p>
            <a:r>
              <a:t>Titre de la présentation</a:t>
            </a:r>
          </a:p>
        </p:txBody>
      </p:sp>
      <p:pic>
        <p:nvPicPr>
          <p:cNvPr id="20" name="Logo-ReMES.png" descr="Logo-ReMES.png"/>
          <p:cNvPicPr>
            <a:picLocks noChangeAspect="1"/>
          </p:cNvPicPr>
          <p:nvPr/>
        </p:nvPicPr>
        <p:blipFill>
          <a:blip r:embed="rId3"/>
          <a:stretch>
            <a:fillRect/>
          </a:stretch>
        </p:blipFill>
        <p:spPr>
          <a:xfrm>
            <a:off x="4528272" y="363758"/>
            <a:ext cx="3135456" cy="3392461"/>
          </a:xfrm>
          <a:prstGeom prst="rect">
            <a:avLst/>
          </a:prstGeom>
          <a:ln w="12700">
            <a:miter lim="400000"/>
          </a:ln>
        </p:spPr>
      </p:pic>
      <p:sp>
        <p:nvSpPr>
          <p:cNvPr id="21" name="Ligne"/>
          <p:cNvSpPr/>
          <p:nvPr/>
        </p:nvSpPr>
        <p:spPr>
          <a:xfrm>
            <a:off x="843137" y="4449887"/>
            <a:ext cx="6106157" cy="1"/>
          </a:xfrm>
          <a:prstGeom prst="line">
            <a:avLst/>
          </a:prstGeom>
          <a:ln w="114300">
            <a:solidFill>
              <a:srgbClr val="005C9B"/>
            </a:solidFill>
            <a:miter lim="400000"/>
          </a:ln>
        </p:spPr>
        <p:txBody>
          <a:bodyPr lIns="25400" tIns="25400" rIns="25400" bIns="25400" anchor="ctr"/>
          <a:lstStyle/>
          <a:p>
            <a:endParaRPr sz="900"/>
          </a:p>
        </p:txBody>
      </p:sp>
      <p:sp>
        <p:nvSpPr>
          <p:cNvPr id="22" name="Ligne"/>
          <p:cNvSpPr/>
          <p:nvPr/>
        </p:nvSpPr>
        <p:spPr>
          <a:xfrm>
            <a:off x="6939428" y="4449887"/>
            <a:ext cx="1785299" cy="22339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604" y="0"/>
                </a:lnTo>
                <a:lnTo>
                  <a:pt x="21600" y="505"/>
                </a:lnTo>
              </a:path>
            </a:pathLst>
          </a:custGeom>
          <a:ln w="114300">
            <a:solidFill>
              <a:srgbClr val="005C9B"/>
            </a:solidFill>
            <a:miter lim="400000"/>
          </a:ln>
        </p:spPr>
        <p:txBody>
          <a:bodyPr lIns="25400" tIns="25400" rIns="25400" bIns="25400" anchor="ctr"/>
          <a:lstStyle/>
          <a:p>
            <a:pPr>
              <a:defRPr>
                <a:solidFill>
                  <a:srgbClr val="005C9B"/>
                </a:solidFill>
              </a:defRPr>
            </a:pPr>
            <a:endParaRPr sz="900"/>
          </a:p>
        </p:txBody>
      </p:sp>
      <p:sp>
        <p:nvSpPr>
          <p:cNvPr id="23" name="Sur titre de la présentation"/>
          <p:cNvSpPr txBox="1">
            <a:spLocks noGrp="1"/>
          </p:cNvSpPr>
          <p:nvPr>
            <p:ph type="body" sz="quarter" idx="22"/>
          </p:nvPr>
        </p:nvSpPr>
        <p:spPr>
          <a:xfrm>
            <a:off x="807602" y="4092141"/>
            <a:ext cx="2880597" cy="302647"/>
          </a:xfrm>
          <a:prstGeom prst="rect">
            <a:avLst/>
          </a:prstGeom>
        </p:spPr>
        <p:txBody>
          <a:bodyPr wrap="none" anchor="ctr">
            <a:spAutoFit/>
          </a:bodyPr>
          <a:lstStyle>
            <a:lvl1pPr algn="ctr" defTabSz="1219169">
              <a:defRPr sz="1300" cap="all"/>
            </a:lvl1pPr>
          </a:lstStyle>
          <a:p>
            <a:r>
              <a:t>Sur titre de la présentation</a:t>
            </a:r>
          </a:p>
        </p:txBody>
      </p:sp>
      <p:sp>
        <p:nvSpPr>
          <p:cNvPr id="24" name="Numéro de diapositive"/>
          <p:cNvSpPr txBox="1">
            <a:spLocks noGrp="1"/>
          </p:cNvSpPr>
          <p:nvPr>
            <p:ph type="sldNum" sz="quarter" idx="2"/>
          </p:nvPr>
        </p:nvSpPr>
        <p:spPr>
          <a:xfrm>
            <a:off x="11626850" y="6344103"/>
            <a:ext cx="293350" cy="241092"/>
          </a:xfrm>
          <a:prstGeom prst="rect">
            <a:avLst/>
          </a:prstGeom>
        </p:spPr>
        <p:txBody>
          <a:bodyPr/>
          <a:lstStyle>
            <a:lvl1pPr>
              <a:defRPr>
                <a:latin typeface="+mn-lt"/>
                <a:ea typeface="+mn-ea"/>
                <a:cs typeface="+mn-cs"/>
                <a:sym typeface="Helvetica Neue"/>
              </a:defRPr>
            </a:lvl1pPr>
          </a:lstStyle>
          <a:p>
            <a:fld id="{86CB4B4D-7CA3-9044-876B-883B54F8677D}" type="slidenum">
              <a:t>‹N°›</a:t>
            </a:fld>
            <a:endParaRPr/>
          </a:p>
        </p:txBody>
      </p:sp>
      <p:pic>
        <p:nvPicPr>
          <p:cNvPr id="10" name="Graphique 9">
            <a:extLst>
              <a:ext uri="{FF2B5EF4-FFF2-40B4-BE49-F238E27FC236}">
                <a16:creationId xmlns:a16="http://schemas.microsoft.com/office/drawing/2014/main" id="{86EE7A08-4D0C-144E-BFEF-526ECAC29B5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737049" y="5908798"/>
            <a:ext cx="1387608" cy="407915"/>
          </a:xfrm>
          <a:prstGeom prst="rect">
            <a:avLst/>
          </a:prstGeom>
        </p:spPr>
      </p:pic>
      <p:pic>
        <p:nvPicPr>
          <p:cNvPr id="12" name="Image 11">
            <a:extLst>
              <a:ext uri="{FF2B5EF4-FFF2-40B4-BE49-F238E27FC236}">
                <a16:creationId xmlns:a16="http://schemas.microsoft.com/office/drawing/2014/main" id="{5E7F21C3-C973-D74D-B54D-44DF4AC21C10}"/>
              </a:ext>
            </a:extLst>
          </p:cNvPr>
          <p:cNvPicPr>
            <a:picLocks noChangeAspect="1"/>
          </p:cNvPicPr>
          <p:nvPr userDrawn="1"/>
        </p:nvPicPr>
        <p:blipFill>
          <a:blip r:embed="rId6">
            <a:alphaModFix/>
          </a:blip>
          <a:stretch>
            <a:fillRect/>
          </a:stretch>
        </p:blipFill>
        <p:spPr>
          <a:xfrm>
            <a:off x="713813" y="5606893"/>
            <a:ext cx="1507710" cy="1174540"/>
          </a:xfrm>
          <a:prstGeom prst="rect">
            <a:avLst/>
          </a:prstGeom>
        </p:spPr>
      </p:pic>
      <p:sp>
        <p:nvSpPr>
          <p:cNvPr id="13" name="Auteur et date">
            <a:extLst>
              <a:ext uri="{FF2B5EF4-FFF2-40B4-BE49-F238E27FC236}">
                <a16:creationId xmlns:a16="http://schemas.microsoft.com/office/drawing/2014/main" id="{C0145E43-6943-BC44-8613-59CBD5A58BCA}"/>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Session de sensibilisation à Mon espace santé</a:t>
            </a:r>
          </a:p>
        </p:txBody>
      </p:sp>
    </p:spTree>
    <p:extLst>
      <p:ext uri="{BB962C8B-B14F-4D97-AF65-F5344CB8AC3E}">
        <p14:creationId xmlns:p14="http://schemas.microsoft.com/office/powerpoint/2010/main" val="1834555961"/>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Titre">
    <p:spTree>
      <p:nvGrpSpPr>
        <p:cNvPr id="1" name=""/>
        <p:cNvGrpSpPr/>
        <p:nvPr/>
      </p:nvGrpSpPr>
      <p:grpSpPr>
        <a:xfrm>
          <a:off x="0" y="0"/>
          <a:ext cx="0" cy="0"/>
          <a:chOff x="0" y="0"/>
          <a:chExt cx="0" cy="0"/>
        </a:xfrm>
      </p:grpSpPr>
      <p:pic>
        <p:nvPicPr>
          <p:cNvPr id="17" name="MES-masque PPT.jpg" descr="MES-masque PPT.jpg"/>
          <p:cNvPicPr>
            <a:picLocks noChangeAspect="1"/>
          </p:cNvPicPr>
          <p:nvPr userDrawn="1"/>
        </p:nvPicPr>
        <p:blipFill rotWithShape="1">
          <a:blip r:embed="rId2"/>
          <a:srcRect b="18743"/>
          <a:stretch/>
        </p:blipFill>
        <p:spPr>
          <a:xfrm>
            <a:off x="-1" y="1874"/>
            <a:ext cx="12192001" cy="5569586"/>
          </a:xfrm>
          <a:prstGeom prst="rect">
            <a:avLst/>
          </a:prstGeom>
          <a:ln w="12700">
            <a:miter lim="400000"/>
          </a:ln>
        </p:spPr>
      </p:pic>
      <p:sp>
        <p:nvSpPr>
          <p:cNvPr id="19" name="Titre de la présentation"/>
          <p:cNvSpPr txBox="1">
            <a:spLocks noGrp="1"/>
          </p:cNvSpPr>
          <p:nvPr>
            <p:ph type="title" hasCustomPrompt="1"/>
          </p:nvPr>
        </p:nvSpPr>
        <p:spPr>
          <a:xfrm>
            <a:off x="794902" y="2025265"/>
            <a:ext cx="6761760" cy="1263055"/>
          </a:xfrm>
          <a:prstGeom prst="rect">
            <a:avLst/>
          </a:prstGeom>
        </p:spPr>
        <p:txBody>
          <a:bodyPr anchor="b"/>
          <a:lstStyle>
            <a:lvl1pPr>
              <a:defRPr sz="3000" cap="all" spc="-60"/>
            </a:lvl1pPr>
          </a:lstStyle>
          <a:p>
            <a:r>
              <a:rPr err="1"/>
              <a:t>Titre</a:t>
            </a:r>
            <a:r>
              <a:t> de la </a:t>
            </a:r>
            <a:r>
              <a:rPr err="1"/>
              <a:t>présentation</a:t>
            </a:r>
            <a:endParaRPr/>
          </a:p>
        </p:txBody>
      </p:sp>
      <p:sp>
        <p:nvSpPr>
          <p:cNvPr id="21" name="Ligne"/>
          <p:cNvSpPr/>
          <p:nvPr/>
        </p:nvSpPr>
        <p:spPr>
          <a:xfrm>
            <a:off x="830437" y="3429000"/>
            <a:ext cx="6106157" cy="1"/>
          </a:xfrm>
          <a:prstGeom prst="line">
            <a:avLst/>
          </a:prstGeom>
          <a:ln w="114300">
            <a:solidFill>
              <a:srgbClr val="005C9B"/>
            </a:solidFill>
            <a:miter lim="400000"/>
          </a:ln>
        </p:spPr>
        <p:txBody>
          <a:bodyPr lIns="25400" tIns="25400" rIns="25400" bIns="25400" anchor="ctr"/>
          <a:lstStyle/>
          <a:p>
            <a:endParaRPr sz="900"/>
          </a:p>
        </p:txBody>
      </p:sp>
      <p:sp>
        <p:nvSpPr>
          <p:cNvPr id="22" name="Ligne"/>
          <p:cNvSpPr/>
          <p:nvPr/>
        </p:nvSpPr>
        <p:spPr>
          <a:xfrm>
            <a:off x="6926728" y="3429000"/>
            <a:ext cx="1785299" cy="22339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604" y="0"/>
                </a:lnTo>
                <a:lnTo>
                  <a:pt x="21600" y="505"/>
                </a:lnTo>
              </a:path>
            </a:pathLst>
          </a:custGeom>
          <a:ln w="114300">
            <a:solidFill>
              <a:srgbClr val="005C9B"/>
            </a:solidFill>
            <a:miter lim="400000"/>
          </a:ln>
        </p:spPr>
        <p:txBody>
          <a:bodyPr lIns="25400" tIns="25400" rIns="25400" bIns="25400" anchor="ctr"/>
          <a:lstStyle/>
          <a:p>
            <a:pPr>
              <a:defRPr>
                <a:solidFill>
                  <a:srgbClr val="005C9B"/>
                </a:solidFill>
              </a:defRPr>
            </a:pPr>
            <a:endParaRPr sz="900"/>
          </a:p>
        </p:txBody>
      </p:sp>
      <p:sp>
        <p:nvSpPr>
          <p:cNvPr id="23" name="Sur titre de la présentation"/>
          <p:cNvSpPr txBox="1">
            <a:spLocks noGrp="1"/>
          </p:cNvSpPr>
          <p:nvPr>
            <p:ph type="body" sz="quarter" idx="22"/>
          </p:nvPr>
        </p:nvSpPr>
        <p:spPr>
          <a:xfrm>
            <a:off x="794902" y="3537024"/>
            <a:ext cx="2880597" cy="302647"/>
          </a:xfrm>
          <a:prstGeom prst="rect">
            <a:avLst/>
          </a:prstGeom>
        </p:spPr>
        <p:txBody>
          <a:bodyPr wrap="none" anchor="ctr">
            <a:spAutoFit/>
          </a:bodyPr>
          <a:lstStyle>
            <a:lvl1pPr algn="ctr" defTabSz="1219169">
              <a:defRPr sz="1300" cap="all"/>
            </a:lvl1pPr>
          </a:lstStyle>
          <a:p>
            <a:r>
              <a:t>Sur </a:t>
            </a:r>
            <a:r>
              <a:rPr err="1"/>
              <a:t>titre</a:t>
            </a:r>
            <a:r>
              <a:t> de la </a:t>
            </a:r>
            <a:r>
              <a:rPr err="1"/>
              <a:t>présentation</a:t>
            </a:r>
            <a:endParaRPr/>
          </a:p>
        </p:txBody>
      </p:sp>
      <p:sp>
        <p:nvSpPr>
          <p:cNvPr id="24" name="Numéro de diapositive"/>
          <p:cNvSpPr txBox="1">
            <a:spLocks noGrp="1"/>
          </p:cNvSpPr>
          <p:nvPr>
            <p:ph type="sldNum" sz="quarter" idx="2"/>
          </p:nvPr>
        </p:nvSpPr>
        <p:spPr>
          <a:xfrm>
            <a:off x="11626850" y="6344103"/>
            <a:ext cx="293350" cy="241092"/>
          </a:xfrm>
          <a:prstGeom prst="rect">
            <a:avLst/>
          </a:prstGeom>
        </p:spPr>
        <p:txBody>
          <a:bodyPr/>
          <a:lstStyle>
            <a:lvl1pPr>
              <a:defRPr>
                <a:latin typeface="+mn-lt"/>
                <a:ea typeface="+mn-ea"/>
                <a:cs typeface="+mn-cs"/>
                <a:sym typeface="Helvetica Neue"/>
              </a:defRPr>
            </a:lvl1pPr>
          </a:lstStyle>
          <a:p>
            <a:fld id="{86CB4B4D-7CA3-9044-876B-883B54F8677D}" type="slidenum">
              <a:t>‹N°›</a:t>
            </a:fld>
            <a:endParaRPr/>
          </a:p>
        </p:txBody>
      </p:sp>
      <p:pic>
        <p:nvPicPr>
          <p:cNvPr id="10" name="Logo-ReMES.png" descr="Logo-ReMES.png">
            <a:extLst>
              <a:ext uri="{FF2B5EF4-FFF2-40B4-BE49-F238E27FC236}">
                <a16:creationId xmlns:a16="http://schemas.microsoft.com/office/drawing/2014/main" id="{25275FFF-632A-6B46-96DE-FFAF89E4BDF9}"/>
              </a:ext>
            </a:extLst>
          </p:cNvPr>
          <p:cNvPicPr>
            <a:picLocks noChangeAspect="1"/>
          </p:cNvPicPr>
          <p:nvPr userDrawn="1"/>
        </p:nvPicPr>
        <p:blipFill>
          <a:blip r:embed="rId3"/>
          <a:stretch>
            <a:fillRect/>
          </a:stretch>
        </p:blipFill>
        <p:spPr>
          <a:xfrm>
            <a:off x="616672" y="373987"/>
            <a:ext cx="1999528" cy="2163424"/>
          </a:xfrm>
          <a:prstGeom prst="rect">
            <a:avLst/>
          </a:prstGeom>
          <a:ln w="12700">
            <a:miter lim="400000"/>
          </a:ln>
        </p:spPr>
      </p:pic>
      <p:pic>
        <p:nvPicPr>
          <p:cNvPr id="9" name="Graphique 8">
            <a:extLst>
              <a:ext uri="{FF2B5EF4-FFF2-40B4-BE49-F238E27FC236}">
                <a16:creationId xmlns:a16="http://schemas.microsoft.com/office/drawing/2014/main" id="{BA6711FC-B5BC-D940-821A-E4CB71FE228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737049" y="5908798"/>
            <a:ext cx="1387608" cy="407915"/>
          </a:xfrm>
          <a:prstGeom prst="rect">
            <a:avLst/>
          </a:prstGeom>
        </p:spPr>
      </p:pic>
      <p:pic>
        <p:nvPicPr>
          <p:cNvPr id="11" name="Image 10">
            <a:extLst>
              <a:ext uri="{FF2B5EF4-FFF2-40B4-BE49-F238E27FC236}">
                <a16:creationId xmlns:a16="http://schemas.microsoft.com/office/drawing/2014/main" id="{C87D54A3-EE03-1B43-BF95-133AE8DDE44D}"/>
              </a:ext>
            </a:extLst>
          </p:cNvPr>
          <p:cNvPicPr>
            <a:picLocks noChangeAspect="1"/>
          </p:cNvPicPr>
          <p:nvPr userDrawn="1"/>
        </p:nvPicPr>
        <p:blipFill>
          <a:blip r:embed="rId6">
            <a:alphaModFix/>
          </a:blip>
          <a:stretch>
            <a:fillRect/>
          </a:stretch>
        </p:blipFill>
        <p:spPr>
          <a:xfrm>
            <a:off x="713813" y="5606893"/>
            <a:ext cx="1507710" cy="1174540"/>
          </a:xfrm>
          <a:prstGeom prst="rect">
            <a:avLst/>
          </a:prstGeom>
        </p:spPr>
      </p:pic>
      <p:sp>
        <p:nvSpPr>
          <p:cNvPr id="12" name="Auteur et date">
            <a:extLst>
              <a:ext uri="{FF2B5EF4-FFF2-40B4-BE49-F238E27FC236}">
                <a16:creationId xmlns:a16="http://schemas.microsoft.com/office/drawing/2014/main" id="{2B859A87-B1E0-4044-8157-E71691372C06}"/>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Session de sensibilisation à Mon espace santé</a:t>
            </a:r>
          </a:p>
        </p:txBody>
      </p:sp>
      <p:pic>
        <p:nvPicPr>
          <p:cNvPr id="2" name="Image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68021" y="5546328"/>
            <a:ext cx="2040043" cy="1295669"/>
          </a:xfrm>
          <a:prstGeom prst="rect">
            <a:avLst/>
          </a:prstGeom>
        </p:spPr>
      </p:pic>
    </p:spTree>
    <p:extLst>
      <p:ext uri="{BB962C8B-B14F-4D97-AF65-F5344CB8AC3E}">
        <p14:creationId xmlns:p14="http://schemas.microsoft.com/office/powerpoint/2010/main" val="3491152221"/>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hapitre">
    <p:spTree>
      <p:nvGrpSpPr>
        <p:cNvPr id="1" name=""/>
        <p:cNvGrpSpPr/>
        <p:nvPr/>
      </p:nvGrpSpPr>
      <p:grpSpPr>
        <a:xfrm>
          <a:off x="0" y="0"/>
          <a:ext cx="0" cy="0"/>
          <a:chOff x="0" y="0"/>
          <a:chExt cx="0" cy="0"/>
        </a:xfrm>
      </p:grpSpPr>
      <p:pic>
        <p:nvPicPr>
          <p:cNvPr id="7" name="Graphique 6">
            <a:extLst>
              <a:ext uri="{FF2B5EF4-FFF2-40B4-BE49-F238E27FC236}">
                <a16:creationId xmlns:a16="http://schemas.microsoft.com/office/drawing/2014/main" id="{B220D2EE-C8F8-5242-AC0E-C44EB0E22A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12819" y="6390559"/>
            <a:ext cx="819724" cy="240974"/>
          </a:xfrm>
          <a:prstGeom prst="rect">
            <a:avLst/>
          </a:prstGeom>
        </p:spPr>
      </p:pic>
      <p:sp>
        <p:nvSpPr>
          <p:cNvPr id="32" name="Numéro de diapositive"/>
          <p:cNvSpPr txBox="1">
            <a:spLocks noGrp="1"/>
          </p:cNvSpPr>
          <p:nvPr>
            <p:ph type="sldNum" sz="quarter" idx="2"/>
          </p:nvPr>
        </p:nvSpPr>
        <p:spPr>
          <a:prstGeom prst="rect">
            <a:avLst/>
          </a:prstGeom>
        </p:spPr>
        <p:txBody>
          <a:bodyPr/>
          <a:lstStyle/>
          <a:p>
            <a:fld id="{86CB4B4D-7CA3-9044-876B-883B54F8677D}" type="slidenum">
              <a:t>‹N°›</a:t>
            </a:fld>
            <a:endParaRPr/>
          </a:p>
        </p:txBody>
      </p:sp>
      <p:sp>
        <p:nvSpPr>
          <p:cNvPr id="33" name="Titre du chapitre"/>
          <p:cNvSpPr txBox="1">
            <a:spLocks noGrp="1"/>
          </p:cNvSpPr>
          <p:nvPr>
            <p:ph type="body" sz="quarter" idx="22" hasCustomPrompt="1"/>
          </p:nvPr>
        </p:nvSpPr>
        <p:spPr>
          <a:xfrm>
            <a:off x="3450165" y="3390139"/>
            <a:ext cx="6761760" cy="1263055"/>
          </a:xfrm>
          <a:prstGeom prst="rect">
            <a:avLst/>
          </a:prstGeom>
        </p:spPr>
        <p:txBody>
          <a:bodyPr anchor="b"/>
          <a:lstStyle>
            <a:lvl1pPr defTabSz="1219169">
              <a:lnSpc>
                <a:spcPct val="80000"/>
              </a:lnSpc>
              <a:defRPr sz="3000" cap="all" spc="-60">
                <a:solidFill>
                  <a:srgbClr val="005C9B"/>
                </a:solidFill>
              </a:defRPr>
            </a:lvl1pPr>
          </a:lstStyle>
          <a:p>
            <a:r>
              <a:t>TITRE CHAPITRE</a:t>
            </a:r>
          </a:p>
        </p:txBody>
      </p:sp>
      <p:pic>
        <p:nvPicPr>
          <p:cNvPr id="9" name="Imag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11536" y="6234793"/>
            <a:ext cx="839961" cy="533475"/>
          </a:xfrm>
          <a:prstGeom prst="rect">
            <a:avLst/>
          </a:prstGeom>
        </p:spPr>
      </p:pic>
    </p:spTree>
    <p:extLst>
      <p:ext uri="{BB962C8B-B14F-4D97-AF65-F5344CB8AC3E}">
        <p14:creationId xmlns:p14="http://schemas.microsoft.com/office/powerpoint/2010/main" val="320092425"/>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chapitre">
    <p:spTree>
      <p:nvGrpSpPr>
        <p:cNvPr id="1" name=""/>
        <p:cNvGrpSpPr/>
        <p:nvPr/>
      </p:nvGrpSpPr>
      <p:grpSpPr>
        <a:xfrm>
          <a:off x="0" y="0"/>
          <a:ext cx="0" cy="0"/>
          <a:chOff x="0" y="0"/>
          <a:chExt cx="0" cy="0"/>
        </a:xfrm>
      </p:grpSpPr>
      <p:grpSp>
        <p:nvGrpSpPr>
          <p:cNvPr id="6" name="Groupe 5">
            <a:extLst>
              <a:ext uri="{FF2B5EF4-FFF2-40B4-BE49-F238E27FC236}">
                <a16:creationId xmlns:a16="http://schemas.microsoft.com/office/drawing/2014/main" id="{864D9B84-C9D4-434A-A912-274C3D652996}"/>
              </a:ext>
            </a:extLst>
          </p:cNvPr>
          <p:cNvGrpSpPr/>
          <p:nvPr userDrawn="1"/>
        </p:nvGrpSpPr>
        <p:grpSpPr>
          <a:xfrm>
            <a:off x="255787" y="6233160"/>
            <a:ext cx="1676757" cy="574622"/>
            <a:chOff x="373815" y="6143191"/>
            <a:chExt cx="1828112" cy="626491"/>
          </a:xfrm>
        </p:grpSpPr>
        <p:pic>
          <p:nvPicPr>
            <p:cNvPr id="7" name="Graphique 6">
              <a:extLst>
                <a:ext uri="{FF2B5EF4-FFF2-40B4-BE49-F238E27FC236}">
                  <a16:creationId xmlns:a16="http://schemas.microsoft.com/office/drawing/2014/main" id="{B220D2EE-C8F8-5242-AC0E-C44EB0E22A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308209" y="6314802"/>
              <a:ext cx="893718" cy="262726"/>
            </a:xfrm>
            <a:prstGeom prst="rect">
              <a:avLst/>
            </a:prstGeom>
          </p:spPr>
        </p:pic>
        <p:pic>
          <p:nvPicPr>
            <p:cNvPr id="8" name="Image 7">
              <a:extLst>
                <a:ext uri="{FF2B5EF4-FFF2-40B4-BE49-F238E27FC236}">
                  <a16:creationId xmlns:a16="http://schemas.microsoft.com/office/drawing/2014/main" id="{16BC40A0-2206-B240-9C54-6D424BB136AB}"/>
                </a:ext>
              </a:extLst>
            </p:cNvPr>
            <p:cNvPicPr>
              <a:picLocks noChangeAspect="1"/>
            </p:cNvPicPr>
            <p:nvPr userDrawn="1"/>
          </p:nvPicPr>
          <p:blipFill>
            <a:blip r:embed="rId4"/>
            <a:stretch>
              <a:fillRect/>
            </a:stretch>
          </p:blipFill>
          <p:spPr>
            <a:xfrm>
              <a:off x="373815" y="6143191"/>
              <a:ext cx="804201" cy="626491"/>
            </a:xfrm>
            <a:prstGeom prst="rect">
              <a:avLst/>
            </a:prstGeom>
          </p:spPr>
        </p:pic>
      </p:grpSp>
      <p:sp>
        <p:nvSpPr>
          <p:cNvPr id="32" name="Numéro de diapositive"/>
          <p:cNvSpPr txBox="1">
            <a:spLocks noGrp="1"/>
          </p:cNvSpPr>
          <p:nvPr>
            <p:ph type="sldNum" sz="quarter" idx="2"/>
          </p:nvPr>
        </p:nvSpPr>
        <p:spPr>
          <a:prstGeom prst="rect">
            <a:avLst/>
          </a:prstGeom>
        </p:spPr>
        <p:txBody>
          <a:bodyPr/>
          <a:lstStyle/>
          <a:p>
            <a:fld id="{86CB4B4D-7CA3-9044-876B-883B54F8677D}" type="slidenum">
              <a:t>‹N°›</a:t>
            </a:fld>
            <a:endParaRPr/>
          </a:p>
        </p:txBody>
      </p:sp>
      <p:pic>
        <p:nvPicPr>
          <p:cNvPr id="9" name="Image 8">
            <a:extLst>
              <a:ext uri="{FF2B5EF4-FFF2-40B4-BE49-F238E27FC236}">
                <a16:creationId xmlns:a16="http://schemas.microsoft.com/office/drawing/2014/main" id="{6690657A-EA41-284A-B4C4-EFC9AFD722AF}"/>
              </a:ext>
            </a:extLst>
          </p:cNvPr>
          <p:cNvPicPr>
            <a:picLocks noChangeAspect="1"/>
          </p:cNvPicPr>
          <p:nvPr userDrawn="1"/>
        </p:nvPicPr>
        <p:blipFill rotWithShape="1">
          <a:blip r:embed="rId5"/>
          <a:srcRect b="26788"/>
          <a:stretch/>
        </p:blipFill>
        <p:spPr>
          <a:xfrm>
            <a:off x="-1" y="-1"/>
            <a:ext cx="12192001" cy="6195060"/>
          </a:xfrm>
          <a:prstGeom prst="rect">
            <a:avLst/>
          </a:prstGeom>
        </p:spPr>
      </p:pic>
      <p:pic>
        <p:nvPicPr>
          <p:cNvPr id="10" name="Imag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11536" y="6234793"/>
            <a:ext cx="839961" cy="533475"/>
          </a:xfrm>
          <a:prstGeom prst="rect">
            <a:avLst/>
          </a:prstGeom>
        </p:spPr>
      </p:pic>
    </p:spTree>
    <p:extLst>
      <p:ext uri="{BB962C8B-B14F-4D97-AF65-F5344CB8AC3E}">
        <p14:creationId xmlns:p14="http://schemas.microsoft.com/office/powerpoint/2010/main" val="3430836013"/>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7497337-59B0-46C0-A7FE-5255A319F7E4}"/>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CAF28459-57A4-43A1-B79F-407BCE9A7CDC}"/>
              </a:ext>
            </a:extLst>
          </p:cNvPr>
          <p:cNvSpPr>
            <a:spLocks noGrp="1"/>
          </p:cNvSpPr>
          <p:nvPr>
            <p:ph type="dt" sz="half" idx="10"/>
          </p:nvPr>
        </p:nvSpPr>
        <p:spPr/>
        <p:txBody>
          <a:bodyPr/>
          <a:lstStyle/>
          <a:p>
            <a:fld id="{A2413034-B103-41D2-977A-32CF76459AF0}" type="datetimeFigureOut">
              <a:rPr lang="fr-FR" smtClean="0"/>
              <a:t>07/08/2024</a:t>
            </a:fld>
            <a:endParaRPr lang="fr-FR"/>
          </a:p>
        </p:txBody>
      </p:sp>
      <p:sp>
        <p:nvSpPr>
          <p:cNvPr id="4" name="Espace réservé du pied de page 3">
            <a:extLst>
              <a:ext uri="{FF2B5EF4-FFF2-40B4-BE49-F238E27FC236}">
                <a16:creationId xmlns:a16="http://schemas.microsoft.com/office/drawing/2014/main" id="{E6C98F75-A1C6-443E-8176-4851FE8A54BA}"/>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E8D860DE-F0D9-4D5A-AFEB-519B2F57D1F4}"/>
              </a:ext>
            </a:extLst>
          </p:cNvPr>
          <p:cNvSpPr>
            <a:spLocks noGrp="1"/>
          </p:cNvSpPr>
          <p:nvPr>
            <p:ph type="sldNum" sz="quarter" idx="12"/>
          </p:nvPr>
        </p:nvSpPr>
        <p:spPr/>
        <p:txBody>
          <a:bodyPr/>
          <a:lstStyle/>
          <a:p>
            <a:fld id="{1853D752-F3DA-47A2-A775-910B824E1582}" type="slidenum">
              <a:rPr lang="fr-FR" smtClean="0"/>
              <a:t>‹N°›</a:t>
            </a:fld>
            <a:endParaRPr lang="fr-FR"/>
          </a:p>
        </p:txBody>
      </p:sp>
    </p:spTree>
    <p:extLst>
      <p:ext uri="{BB962C8B-B14F-4D97-AF65-F5344CB8AC3E}">
        <p14:creationId xmlns:p14="http://schemas.microsoft.com/office/powerpoint/2010/main" val="16953426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re et puces">
    <p:spTree>
      <p:nvGrpSpPr>
        <p:cNvPr id="1" name=""/>
        <p:cNvGrpSpPr/>
        <p:nvPr/>
      </p:nvGrpSpPr>
      <p:grpSpPr>
        <a:xfrm>
          <a:off x="0" y="0"/>
          <a:ext cx="0" cy="0"/>
          <a:chOff x="0" y="0"/>
          <a:chExt cx="0" cy="0"/>
        </a:xfrm>
      </p:grpSpPr>
      <p:pic>
        <p:nvPicPr>
          <p:cNvPr id="40" name="MES-masque PPT3.jpg" descr="MES-masque PPT3.jpg"/>
          <p:cNvPicPr>
            <a:picLocks noChangeAspect="1"/>
          </p:cNvPicPr>
          <p:nvPr/>
        </p:nvPicPr>
        <p:blipFill rotWithShape="1">
          <a:blip r:embed="rId2"/>
          <a:srcRect b="25207"/>
          <a:stretch/>
        </p:blipFill>
        <p:spPr>
          <a:xfrm>
            <a:off x="-1" y="-13855"/>
            <a:ext cx="12192001" cy="1472537"/>
          </a:xfrm>
          <a:prstGeom prst="rect">
            <a:avLst/>
          </a:prstGeom>
          <a:ln w="12700">
            <a:miter lim="400000"/>
          </a:ln>
        </p:spPr>
      </p:pic>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N°›</a:t>
            </a:fld>
            <a:endParaRPr/>
          </a:p>
        </p:txBody>
      </p:sp>
      <p:sp>
        <p:nvSpPr>
          <p:cNvPr id="45" name="Ligne"/>
          <p:cNvSpPr/>
          <p:nvPr/>
        </p:nvSpPr>
        <p:spPr>
          <a:xfrm>
            <a:off x="327103" y="1006372"/>
            <a:ext cx="7623618" cy="0"/>
          </a:xfrm>
          <a:prstGeom prst="line">
            <a:avLst/>
          </a:prstGeom>
          <a:ln w="63500">
            <a:solidFill>
              <a:srgbClr val="005C9B"/>
            </a:solidFill>
            <a:miter lim="400000"/>
          </a:ln>
        </p:spPr>
        <p:txBody>
          <a:bodyPr lIns="25400" tIns="25400" rIns="25400" bIns="25400" anchor="ctr"/>
          <a:lstStyle/>
          <a:p>
            <a:endParaRPr sz="900"/>
          </a:p>
        </p:txBody>
      </p:sp>
      <p:sp>
        <p:nvSpPr>
          <p:cNvPr id="46" name="Ligne"/>
          <p:cNvSpPr/>
          <p:nvPr/>
        </p:nvSpPr>
        <p:spPr>
          <a:xfrm>
            <a:off x="7971052" y="999061"/>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63500">
            <a:solidFill>
              <a:srgbClr val="005C9B"/>
            </a:solidFill>
            <a:miter lim="400000"/>
          </a:ln>
        </p:spPr>
        <p:txBody>
          <a:bodyPr lIns="25400" tIns="25400" rIns="25400" bIns="25400" anchor="ctr"/>
          <a:lstStyle/>
          <a:p>
            <a:pPr>
              <a:defRPr>
                <a:solidFill>
                  <a:srgbClr val="005C9B"/>
                </a:solidFill>
              </a:defRPr>
            </a:pPr>
            <a:endParaRPr sz="900"/>
          </a:p>
        </p:txBody>
      </p:sp>
      <p:sp>
        <p:nvSpPr>
          <p:cNvPr id="48" name="Ligne"/>
          <p:cNvSpPr/>
          <p:nvPr/>
        </p:nvSpPr>
        <p:spPr>
          <a:xfrm flipV="1">
            <a:off x="327103" y="6154495"/>
            <a:ext cx="11434174" cy="7148"/>
          </a:xfrm>
          <a:prstGeom prst="line">
            <a:avLst/>
          </a:prstGeom>
          <a:ln w="50800">
            <a:solidFill>
              <a:srgbClr val="005C9B"/>
            </a:solidFill>
            <a:miter lim="400000"/>
          </a:ln>
        </p:spPr>
        <p:txBody>
          <a:bodyPr lIns="25400" tIns="25400" rIns="25400" bIns="25400" anchor="ctr"/>
          <a:lstStyle/>
          <a:p>
            <a:endParaRPr sz="900"/>
          </a:p>
        </p:txBody>
      </p:sp>
      <p:sp>
        <p:nvSpPr>
          <p:cNvPr id="12" name="Titre 1">
            <a:extLst>
              <a:ext uri="{FF2B5EF4-FFF2-40B4-BE49-F238E27FC236}">
                <a16:creationId xmlns:a16="http://schemas.microsoft.com/office/drawing/2014/main" id="{D00C3AFE-F4E7-CE4A-AEA1-5618EB75DD74}"/>
              </a:ext>
            </a:extLst>
          </p:cNvPr>
          <p:cNvSpPr>
            <a:spLocks noGrp="1"/>
          </p:cNvSpPr>
          <p:nvPr>
            <p:ph type="title" hasCustomPrompt="1"/>
          </p:nvPr>
        </p:nvSpPr>
        <p:spPr>
          <a:xfrm>
            <a:off x="282960" y="-130625"/>
            <a:ext cx="6984241" cy="1133342"/>
          </a:xfrm>
        </p:spPr>
        <p:txBody>
          <a:bodyPr anchor="b"/>
          <a:lstStyle/>
          <a:p>
            <a:r>
              <a:rPr lang="fr-FR"/>
              <a:t>MODIFIEZ LE STYLE DU TITRE</a:t>
            </a:r>
          </a:p>
        </p:txBody>
      </p:sp>
      <p:grpSp>
        <p:nvGrpSpPr>
          <p:cNvPr id="16" name="Groupe 15">
            <a:extLst>
              <a:ext uri="{FF2B5EF4-FFF2-40B4-BE49-F238E27FC236}">
                <a16:creationId xmlns:a16="http://schemas.microsoft.com/office/drawing/2014/main" id="{19032A32-3BC4-6941-AECF-FE9C27BA9C6C}"/>
              </a:ext>
            </a:extLst>
          </p:cNvPr>
          <p:cNvGrpSpPr/>
          <p:nvPr userDrawn="1"/>
        </p:nvGrpSpPr>
        <p:grpSpPr>
          <a:xfrm>
            <a:off x="255787" y="6233160"/>
            <a:ext cx="1676757" cy="574622"/>
            <a:chOff x="373815" y="6143191"/>
            <a:chExt cx="1828112" cy="626491"/>
          </a:xfrm>
        </p:grpSpPr>
        <p:pic>
          <p:nvPicPr>
            <p:cNvPr id="17" name="Graphique 16">
              <a:extLst>
                <a:ext uri="{FF2B5EF4-FFF2-40B4-BE49-F238E27FC236}">
                  <a16:creationId xmlns:a16="http://schemas.microsoft.com/office/drawing/2014/main" id="{0D43403C-1FA0-DA49-ADAE-94E5F1D58A1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308209" y="6314802"/>
              <a:ext cx="893718" cy="262726"/>
            </a:xfrm>
            <a:prstGeom prst="rect">
              <a:avLst/>
            </a:prstGeom>
          </p:spPr>
        </p:pic>
        <p:pic>
          <p:nvPicPr>
            <p:cNvPr id="18" name="Image 17">
              <a:extLst>
                <a:ext uri="{FF2B5EF4-FFF2-40B4-BE49-F238E27FC236}">
                  <a16:creationId xmlns:a16="http://schemas.microsoft.com/office/drawing/2014/main" id="{ACB49F1B-E482-C642-8571-1C5552E66A3F}"/>
                </a:ext>
              </a:extLst>
            </p:cNvPr>
            <p:cNvPicPr>
              <a:picLocks noChangeAspect="1"/>
            </p:cNvPicPr>
            <p:nvPr userDrawn="1"/>
          </p:nvPicPr>
          <p:blipFill>
            <a:blip r:embed="rId5"/>
            <a:stretch>
              <a:fillRect/>
            </a:stretch>
          </p:blipFill>
          <p:spPr>
            <a:xfrm>
              <a:off x="373815" y="6143191"/>
              <a:ext cx="804201" cy="626491"/>
            </a:xfrm>
            <a:prstGeom prst="rect">
              <a:avLst/>
            </a:prstGeom>
          </p:spPr>
        </p:pic>
      </p:grpSp>
      <p:pic>
        <p:nvPicPr>
          <p:cNvPr id="19" name="Logo-ReMES.png" descr="Logo-ReMES.png">
            <a:extLst>
              <a:ext uri="{FF2B5EF4-FFF2-40B4-BE49-F238E27FC236}">
                <a16:creationId xmlns:a16="http://schemas.microsoft.com/office/drawing/2014/main" id="{970D7B19-CD8E-CE4E-80E2-AF4AF9820198}"/>
              </a:ext>
            </a:extLst>
          </p:cNvPr>
          <p:cNvPicPr>
            <a:picLocks noChangeAspect="1"/>
          </p:cNvPicPr>
          <p:nvPr userDrawn="1"/>
        </p:nvPicPr>
        <p:blipFill>
          <a:blip r:embed="rId6"/>
          <a:stretch>
            <a:fillRect/>
          </a:stretch>
        </p:blipFill>
        <p:spPr>
          <a:xfrm>
            <a:off x="10455732" y="-37842"/>
            <a:ext cx="1453308" cy="1572432"/>
          </a:xfrm>
          <a:prstGeom prst="rect">
            <a:avLst/>
          </a:prstGeom>
          <a:ln w="12700">
            <a:miter lim="400000"/>
          </a:ln>
        </p:spPr>
      </p:pic>
      <p:sp>
        <p:nvSpPr>
          <p:cNvPr id="20" name="Auteur et date">
            <a:extLst>
              <a:ext uri="{FF2B5EF4-FFF2-40B4-BE49-F238E27FC236}">
                <a16:creationId xmlns:a16="http://schemas.microsoft.com/office/drawing/2014/main" id="{DFDEC6E2-7E3C-9E41-8681-32F97B8C6C09}"/>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Session de sensibilisation à Mon espace santé</a:t>
            </a:r>
          </a:p>
        </p:txBody>
      </p:sp>
      <p:pic>
        <p:nvPicPr>
          <p:cNvPr id="14" name="Imag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11536" y="6234793"/>
            <a:ext cx="839961" cy="533475"/>
          </a:xfrm>
          <a:prstGeom prst="rect">
            <a:avLst/>
          </a:prstGeom>
        </p:spPr>
      </p:pic>
    </p:spTree>
    <p:extLst>
      <p:ext uri="{BB962C8B-B14F-4D97-AF65-F5344CB8AC3E}">
        <p14:creationId xmlns:p14="http://schemas.microsoft.com/office/powerpoint/2010/main" val="617883059"/>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2_Titre et puces">
    <p:spTree>
      <p:nvGrpSpPr>
        <p:cNvPr id="1" name=""/>
        <p:cNvGrpSpPr/>
        <p:nvPr/>
      </p:nvGrpSpPr>
      <p:grpSpPr>
        <a:xfrm>
          <a:off x="0" y="0"/>
          <a:ext cx="0" cy="0"/>
          <a:chOff x="0" y="0"/>
          <a:chExt cx="0" cy="0"/>
        </a:xfrm>
      </p:grpSpPr>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N°›</a:t>
            </a:fld>
            <a:endParaRPr/>
          </a:p>
        </p:txBody>
      </p:sp>
      <p:grpSp>
        <p:nvGrpSpPr>
          <p:cNvPr id="16" name="Groupe 15">
            <a:extLst>
              <a:ext uri="{FF2B5EF4-FFF2-40B4-BE49-F238E27FC236}">
                <a16:creationId xmlns:a16="http://schemas.microsoft.com/office/drawing/2014/main" id="{FD4BED4F-8FB7-344B-8640-D3763E8D889C}"/>
              </a:ext>
            </a:extLst>
          </p:cNvPr>
          <p:cNvGrpSpPr/>
          <p:nvPr userDrawn="1"/>
        </p:nvGrpSpPr>
        <p:grpSpPr>
          <a:xfrm>
            <a:off x="255787" y="6233160"/>
            <a:ext cx="1676757" cy="574622"/>
            <a:chOff x="373815" y="6143191"/>
            <a:chExt cx="1828112" cy="626491"/>
          </a:xfrm>
        </p:grpSpPr>
        <p:pic>
          <p:nvPicPr>
            <p:cNvPr id="17" name="Graphique 16">
              <a:extLst>
                <a:ext uri="{FF2B5EF4-FFF2-40B4-BE49-F238E27FC236}">
                  <a16:creationId xmlns:a16="http://schemas.microsoft.com/office/drawing/2014/main" id="{BF50ED17-066A-C248-AEEE-FE8F451DB44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308209" y="6314802"/>
              <a:ext cx="893718" cy="262726"/>
            </a:xfrm>
            <a:prstGeom prst="rect">
              <a:avLst/>
            </a:prstGeom>
          </p:spPr>
        </p:pic>
        <p:pic>
          <p:nvPicPr>
            <p:cNvPr id="18" name="Image 17">
              <a:extLst>
                <a:ext uri="{FF2B5EF4-FFF2-40B4-BE49-F238E27FC236}">
                  <a16:creationId xmlns:a16="http://schemas.microsoft.com/office/drawing/2014/main" id="{E4A1E0FE-0AB3-1E4A-A0C8-7DF02EA6B5CC}"/>
                </a:ext>
              </a:extLst>
            </p:cNvPr>
            <p:cNvPicPr>
              <a:picLocks noChangeAspect="1"/>
            </p:cNvPicPr>
            <p:nvPr userDrawn="1"/>
          </p:nvPicPr>
          <p:blipFill>
            <a:blip r:embed="rId4"/>
            <a:stretch>
              <a:fillRect/>
            </a:stretch>
          </p:blipFill>
          <p:spPr>
            <a:xfrm>
              <a:off x="373815" y="6143191"/>
              <a:ext cx="804201" cy="626491"/>
            </a:xfrm>
            <a:prstGeom prst="rect">
              <a:avLst/>
            </a:prstGeom>
          </p:spPr>
        </p:pic>
      </p:grpSp>
      <p:sp>
        <p:nvSpPr>
          <p:cNvPr id="19" name="Ligne">
            <a:extLst>
              <a:ext uri="{FF2B5EF4-FFF2-40B4-BE49-F238E27FC236}">
                <a16:creationId xmlns:a16="http://schemas.microsoft.com/office/drawing/2014/main" id="{D320721D-93A5-1141-B7B2-DF6C56E96DDA}"/>
              </a:ext>
            </a:extLst>
          </p:cNvPr>
          <p:cNvSpPr/>
          <p:nvPr userDrawn="1"/>
        </p:nvSpPr>
        <p:spPr>
          <a:xfrm flipV="1">
            <a:off x="327103" y="6154495"/>
            <a:ext cx="11434174" cy="7148"/>
          </a:xfrm>
          <a:prstGeom prst="line">
            <a:avLst/>
          </a:prstGeom>
          <a:ln w="50800">
            <a:solidFill>
              <a:srgbClr val="005C9B"/>
            </a:solidFill>
            <a:miter lim="400000"/>
          </a:ln>
        </p:spPr>
        <p:txBody>
          <a:bodyPr lIns="25400" tIns="25400" rIns="25400" bIns="25400" anchor="ctr"/>
          <a:lstStyle/>
          <a:p>
            <a:endParaRPr sz="900"/>
          </a:p>
        </p:txBody>
      </p:sp>
      <p:sp>
        <p:nvSpPr>
          <p:cNvPr id="8" name="Auteur et date">
            <a:extLst>
              <a:ext uri="{FF2B5EF4-FFF2-40B4-BE49-F238E27FC236}">
                <a16:creationId xmlns:a16="http://schemas.microsoft.com/office/drawing/2014/main" id="{E9814A38-F43C-6641-9359-555D391D98F8}"/>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Session de sensibilisation à Mon espace santé</a:t>
            </a:r>
          </a:p>
        </p:txBody>
      </p:sp>
      <p:pic>
        <p:nvPicPr>
          <p:cNvPr id="9" name="Imag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11536" y="6234793"/>
            <a:ext cx="839961" cy="533475"/>
          </a:xfrm>
          <a:prstGeom prst="rect">
            <a:avLst/>
          </a:prstGeom>
        </p:spPr>
      </p:pic>
    </p:spTree>
    <p:extLst>
      <p:ext uri="{BB962C8B-B14F-4D97-AF65-F5344CB8AC3E}">
        <p14:creationId xmlns:p14="http://schemas.microsoft.com/office/powerpoint/2010/main" val="250088193"/>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Titre et puces">
    <p:spTree>
      <p:nvGrpSpPr>
        <p:cNvPr id="1" name=""/>
        <p:cNvGrpSpPr/>
        <p:nvPr/>
      </p:nvGrpSpPr>
      <p:grpSpPr>
        <a:xfrm>
          <a:off x="0" y="0"/>
          <a:ext cx="0" cy="0"/>
          <a:chOff x="0" y="0"/>
          <a:chExt cx="0" cy="0"/>
        </a:xfrm>
      </p:grpSpPr>
      <p:pic>
        <p:nvPicPr>
          <p:cNvPr id="40" name="MES-masque PPT3.jpg" descr="MES-masque PPT3.jpg"/>
          <p:cNvPicPr>
            <a:picLocks noChangeAspect="1"/>
          </p:cNvPicPr>
          <p:nvPr/>
        </p:nvPicPr>
        <p:blipFill rotWithShape="1">
          <a:blip r:embed="rId2"/>
          <a:srcRect b="18035"/>
          <a:stretch/>
        </p:blipFill>
        <p:spPr>
          <a:xfrm>
            <a:off x="-1" y="-13855"/>
            <a:ext cx="12192001" cy="1613733"/>
          </a:xfrm>
          <a:prstGeom prst="rect">
            <a:avLst/>
          </a:prstGeom>
          <a:ln w="12700">
            <a:miter lim="400000"/>
          </a:ln>
        </p:spPr>
      </p:pic>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N°›</a:t>
            </a:fld>
            <a:endParaRPr/>
          </a:p>
        </p:txBody>
      </p:sp>
      <p:pic>
        <p:nvPicPr>
          <p:cNvPr id="43" name="Logo-ReMES.png" descr="Logo-ReMES.png"/>
          <p:cNvPicPr>
            <a:picLocks noChangeAspect="1"/>
          </p:cNvPicPr>
          <p:nvPr/>
        </p:nvPicPr>
        <p:blipFill>
          <a:blip r:embed="rId3"/>
          <a:stretch>
            <a:fillRect/>
          </a:stretch>
        </p:blipFill>
        <p:spPr>
          <a:xfrm>
            <a:off x="222482" y="16625"/>
            <a:ext cx="1415817" cy="1531867"/>
          </a:xfrm>
          <a:prstGeom prst="rect">
            <a:avLst/>
          </a:prstGeom>
          <a:ln w="12700">
            <a:miter lim="400000"/>
          </a:ln>
        </p:spPr>
      </p:pic>
      <p:sp>
        <p:nvSpPr>
          <p:cNvPr id="45" name="Ligne"/>
          <p:cNvSpPr/>
          <p:nvPr/>
        </p:nvSpPr>
        <p:spPr>
          <a:xfrm>
            <a:off x="2318430" y="1153622"/>
            <a:ext cx="7224831" cy="1"/>
          </a:xfrm>
          <a:prstGeom prst="line">
            <a:avLst/>
          </a:prstGeom>
          <a:ln w="63500">
            <a:solidFill>
              <a:srgbClr val="005C9B"/>
            </a:solidFill>
            <a:miter lim="400000"/>
          </a:ln>
        </p:spPr>
        <p:txBody>
          <a:bodyPr lIns="25400" tIns="25400" rIns="25400" bIns="25400" anchor="ctr"/>
          <a:lstStyle/>
          <a:p>
            <a:endParaRPr sz="900"/>
          </a:p>
        </p:txBody>
      </p:sp>
      <p:sp>
        <p:nvSpPr>
          <p:cNvPr id="46" name="Ligne"/>
          <p:cNvSpPr/>
          <p:nvPr/>
        </p:nvSpPr>
        <p:spPr>
          <a:xfrm>
            <a:off x="9533395" y="1146312"/>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63500">
            <a:solidFill>
              <a:srgbClr val="005C9B"/>
            </a:solidFill>
            <a:miter lim="400000"/>
          </a:ln>
        </p:spPr>
        <p:txBody>
          <a:bodyPr lIns="25400" tIns="25400" rIns="25400" bIns="25400" anchor="ctr"/>
          <a:lstStyle/>
          <a:p>
            <a:pPr>
              <a:defRPr>
                <a:solidFill>
                  <a:srgbClr val="005C9B"/>
                </a:solidFill>
              </a:defRPr>
            </a:pPr>
            <a:endParaRPr sz="900"/>
          </a:p>
        </p:txBody>
      </p:sp>
      <p:sp>
        <p:nvSpPr>
          <p:cNvPr id="12" name="Titre 1">
            <a:extLst>
              <a:ext uri="{FF2B5EF4-FFF2-40B4-BE49-F238E27FC236}">
                <a16:creationId xmlns:a16="http://schemas.microsoft.com/office/drawing/2014/main" id="{D00C3AFE-F4E7-CE4A-AEA1-5618EB75DD74}"/>
              </a:ext>
            </a:extLst>
          </p:cNvPr>
          <p:cNvSpPr>
            <a:spLocks noGrp="1"/>
          </p:cNvSpPr>
          <p:nvPr>
            <p:ph type="title" hasCustomPrompt="1"/>
          </p:nvPr>
        </p:nvSpPr>
        <p:spPr>
          <a:xfrm>
            <a:off x="2313517" y="16625"/>
            <a:ext cx="6984241" cy="1133342"/>
          </a:xfrm>
        </p:spPr>
        <p:txBody>
          <a:bodyPr anchor="b"/>
          <a:lstStyle/>
          <a:p>
            <a:r>
              <a:rPr lang="fr-FR"/>
              <a:t>MODIFIEZ LE STYLE DU TITRE</a:t>
            </a:r>
          </a:p>
        </p:txBody>
      </p:sp>
      <p:sp>
        <p:nvSpPr>
          <p:cNvPr id="17" name="Ligne">
            <a:extLst>
              <a:ext uri="{FF2B5EF4-FFF2-40B4-BE49-F238E27FC236}">
                <a16:creationId xmlns:a16="http://schemas.microsoft.com/office/drawing/2014/main" id="{EEC26EF3-16DB-0049-9F50-E599677CA0A6}"/>
              </a:ext>
            </a:extLst>
          </p:cNvPr>
          <p:cNvSpPr/>
          <p:nvPr userDrawn="1"/>
        </p:nvSpPr>
        <p:spPr>
          <a:xfrm flipV="1">
            <a:off x="327103" y="6154495"/>
            <a:ext cx="11434174" cy="7148"/>
          </a:xfrm>
          <a:prstGeom prst="line">
            <a:avLst/>
          </a:prstGeom>
          <a:ln w="50800">
            <a:solidFill>
              <a:srgbClr val="005C9B"/>
            </a:solidFill>
            <a:miter lim="400000"/>
          </a:ln>
        </p:spPr>
        <p:txBody>
          <a:bodyPr lIns="25400" tIns="25400" rIns="25400" bIns="25400" anchor="ctr"/>
          <a:lstStyle/>
          <a:p>
            <a:endParaRPr sz="900"/>
          </a:p>
        </p:txBody>
      </p:sp>
      <p:grpSp>
        <p:nvGrpSpPr>
          <p:cNvPr id="18" name="Groupe 17">
            <a:extLst>
              <a:ext uri="{FF2B5EF4-FFF2-40B4-BE49-F238E27FC236}">
                <a16:creationId xmlns:a16="http://schemas.microsoft.com/office/drawing/2014/main" id="{6BE71E94-1DF2-3A46-8E91-906ADC041DD4}"/>
              </a:ext>
            </a:extLst>
          </p:cNvPr>
          <p:cNvGrpSpPr/>
          <p:nvPr userDrawn="1"/>
        </p:nvGrpSpPr>
        <p:grpSpPr>
          <a:xfrm>
            <a:off x="255787" y="6233160"/>
            <a:ext cx="1676757" cy="574622"/>
            <a:chOff x="373815" y="6143191"/>
            <a:chExt cx="1828112" cy="626491"/>
          </a:xfrm>
        </p:grpSpPr>
        <p:pic>
          <p:nvPicPr>
            <p:cNvPr id="19" name="Graphique 18">
              <a:extLst>
                <a:ext uri="{FF2B5EF4-FFF2-40B4-BE49-F238E27FC236}">
                  <a16:creationId xmlns:a16="http://schemas.microsoft.com/office/drawing/2014/main" id="{83F8677E-CB5D-2141-8C43-E64AA59F446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308209" y="6314802"/>
              <a:ext cx="893718" cy="262726"/>
            </a:xfrm>
            <a:prstGeom prst="rect">
              <a:avLst/>
            </a:prstGeom>
          </p:spPr>
        </p:pic>
        <p:pic>
          <p:nvPicPr>
            <p:cNvPr id="20" name="Image 19">
              <a:extLst>
                <a:ext uri="{FF2B5EF4-FFF2-40B4-BE49-F238E27FC236}">
                  <a16:creationId xmlns:a16="http://schemas.microsoft.com/office/drawing/2014/main" id="{9B40E965-C296-F84D-A1C2-88449CB11A87}"/>
                </a:ext>
              </a:extLst>
            </p:cNvPr>
            <p:cNvPicPr>
              <a:picLocks noChangeAspect="1"/>
            </p:cNvPicPr>
            <p:nvPr userDrawn="1"/>
          </p:nvPicPr>
          <p:blipFill>
            <a:blip r:embed="rId6"/>
            <a:stretch>
              <a:fillRect/>
            </a:stretch>
          </p:blipFill>
          <p:spPr>
            <a:xfrm>
              <a:off x="373815" y="6143191"/>
              <a:ext cx="804201" cy="626491"/>
            </a:xfrm>
            <a:prstGeom prst="rect">
              <a:avLst/>
            </a:prstGeom>
          </p:spPr>
        </p:pic>
      </p:grpSp>
      <p:sp>
        <p:nvSpPr>
          <p:cNvPr id="13" name="Auteur et date">
            <a:extLst>
              <a:ext uri="{FF2B5EF4-FFF2-40B4-BE49-F238E27FC236}">
                <a16:creationId xmlns:a16="http://schemas.microsoft.com/office/drawing/2014/main" id="{E30CA11C-B037-8E48-B945-69C3DE227325}"/>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Session de sensibilisation à Mon espace santé</a:t>
            </a:r>
          </a:p>
        </p:txBody>
      </p:sp>
      <p:pic>
        <p:nvPicPr>
          <p:cNvPr id="14" name="Imag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11536" y="6234793"/>
            <a:ext cx="839961" cy="533475"/>
          </a:xfrm>
          <a:prstGeom prst="rect">
            <a:avLst/>
          </a:prstGeom>
        </p:spPr>
      </p:pic>
    </p:spTree>
    <p:extLst>
      <p:ext uri="{BB962C8B-B14F-4D97-AF65-F5344CB8AC3E}">
        <p14:creationId xmlns:p14="http://schemas.microsoft.com/office/powerpoint/2010/main" val="30876511"/>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3_Titre et puces">
    <p:spTree>
      <p:nvGrpSpPr>
        <p:cNvPr id="1" name=""/>
        <p:cNvGrpSpPr/>
        <p:nvPr/>
      </p:nvGrpSpPr>
      <p:grpSpPr>
        <a:xfrm>
          <a:off x="0" y="0"/>
          <a:ext cx="0" cy="0"/>
          <a:chOff x="0" y="0"/>
          <a:chExt cx="0" cy="0"/>
        </a:xfrm>
      </p:grpSpPr>
      <p:pic>
        <p:nvPicPr>
          <p:cNvPr id="40" name="MES-masque PPT3.jpg" descr="MES-masque PPT3.jpg"/>
          <p:cNvPicPr>
            <a:picLocks noChangeAspect="1"/>
          </p:cNvPicPr>
          <p:nvPr/>
        </p:nvPicPr>
        <p:blipFill rotWithShape="1">
          <a:blip r:embed="rId2"/>
          <a:srcRect b="18035"/>
          <a:stretch/>
        </p:blipFill>
        <p:spPr>
          <a:xfrm>
            <a:off x="-1" y="-13855"/>
            <a:ext cx="12192001" cy="1613733"/>
          </a:xfrm>
          <a:prstGeom prst="rect">
            <a:avLst/>
          </a:prstGeom>
          <a:ln w="12700">
            <a:miter lim="400000"/>
          </a:ln>
        </p:spPr>
      </p:pic>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N°›</a:t>
            </a:fld>
            <a:endParaRPr/>
          </a:p>
        </p:txBody>
      </p:sp>
      <p:pic>
        <p:nvPicPr>
          <p:cNvPr id="43" name="Logo-ReMES.png" descr="Logo-ReMES.png"/>
          <p:cNvPicPr>
            <a:picLocks noChangeAspect="1"/>
          </p:cNvPicPr>
          <p:nvPr/>
        </p:nvPicPr>
        <p:blipFill>
          <a:blip r:embed="rId3"/>
          <a:stretch>
            <a:fillRect/>
          </a:stretch>
        </p:blipFill>
        <p:spPr>
          <a:xfrm>
            <a:off x="222482" y="16625"/>
            <a:ext cx="1415817" cy="1531867"/>
          </a:xfrm>
          <a:prstGeom prst="rect">
            <a:avLst/>
          </a:prstGeom>
          <a:ln w="12700">
            <a:miter lim="400000"/>
          </a:ln>
        </p:spPr>
      </p:pic>
      <p:sp>
        <p:nvSpPr>
          <p:cNvPr id="45" name="Ligne"/>
          <p:cNvSpPr/>
          <p:nvPr/>
        </p:nvSpPr>
        <p:spPr>
          <a:xfrm>
            <a:off x="2318430" y="1153622"/>
            <a:ext cx="7224831" cy="1"/>
          </a:xfrm>
          <a:prstGeom prst="line">
            <a:avLst/>
          </a:prstGeom>
          <a:ln w="63500">
            <a:solidFill>
              <a:srgbClr val="005C9B"/>
            </a:solidFill>
            <a:miter lim="400000"/>
          </a:ln>
        </p:spPr>
        <p:txBody>
          <a:bodyPr lIns="25400" tIns="25400" rIns="25400" bIns="25400" anchor="ctr"/>
          <a:lstStyle/>
          <a:p>
            <a:endParaRPr sz="900"/>
          </a:p>
        </p:txBody>
      </p:sp>
      <p:sp>
        <p:nvSpPr>
          <p:cNvPr id="46" name="Ligne"/>
          <p:cNvSpPr/>
          <p:nvPr/>
        </p:nvSpPr>
        <p:spPr>
          <a:xfrm>
            <a:off x="9533395" y="1146312"/>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63500">
            <a:solidFill>
              <a:srgbClr val="005C9B"/>
            </a:solidFill>
            <a:miter lim="400000"/>
          </a:ln>
        </p:spPr>
        <p:txBody>
          <a:bodyPr lIns="25400" tIns="25400" rIns="25400" bIns="25400" anchor="ctr"/>
          <a:lstStyle/>
          <a:p>
            <a:pPr>
              <a:defRPr>
                <a:solidFill>
                  <a:srgbClr val="005C9B"/>
                </a:solidFill>
              </a:defRPr>
            </a:pPr>
            <a:endParaRPr sz="900"/>
          </a:p>
        </p:txBody>
      </p:sp>
      <p:sp>
        <p:nvSpPr>
          <p:cNvPr id="12" name="Titre 1">
            <a:extLst>
              <a:ext uri="{FF2B5EF4-FFF2-40B4-BE49-F238E27FC236}">
                <a16:creationId xmlns:a16="http://schemas.microsoft.com/office/drawing/2014/main" id="{D00C3AFE-F4E7-CE4A-AEA1-5618EB75DD74}"/>
              </a:ext>
            </a:extLst>
          </p:cNvPr>
          <p:cNvSpPr>
            <a:spLocks noGrp="1"/>
          </p:cNvSpPr>
          <p:nvPr>
            <p:ph type="title" hasCustomPrompt="1"/>
          </p:nvPr>
        </p:nvSpPr>
        <p:spPr>
          <a:xfrm>
            <a:off x="2313517" y="16625"/>
            <a:ext cx="6984241" cy="1133342"/>
          </a:xfrm>
        </p:spPr>
        <p:txBody>
          <a:bodyPr anchor="b"/>
          <a:lstStyle/>
          <a:p>
            <a:r>
              <a:rPr lang="fr-FR"/>
              <a:t>MODIFIEZ LE STYLE DU TITRE</a:t>
            </a:r>
          </a:p>
        </p:txBody>
      </p:sp>
      <p:grpSp>
        <p:nvGrpSpPr>
          <p:cNvPr id="18" name="Groupe 17">
            <a:extLst>
              <a:ext uri="{FF2B5EF4-FFF2-40B4-BE49-F238E27FC236}">
                <a16:creationId xmlns:a16="http://schemas.microsoft.com/office/drawing/2014/main" id="{6BE71E94-1DF2-3A46-8E91-906ADC041DD4}"/>
              </a:ext>
            </a:extLst>
          </p:cNvPr>
          <p:cNvGrpSpPr/>
          <p:nvPr userDrawn="1"/>
        </p:nvGrpSpPr>
        <p:grpSpPr>
          <a:xfrm>
            <a:off x="255787" y="6233160"/>
            <a:ext cx="1676757" cy="574622"/>
            <a:chOff x="373815" y="6143191"/>
            <a:chExt cx="1828112" cy="626491"/>
          </a:xfrm>
        </p:grpSpPr>
        <p:pic>
          <p:nvPicPr>
            <p:cNvPr id="19" name="Graphique 18">
              <a:extLst>
                <a:ext uri="{FF2B5EF4-FFF2-40B4-BE49-F238E27FC236}">
                  <a16:creationId xmlns:a16="http://schemas.microsoft.com/office/drawing/2014/main" id="{83F8677E-CB5D-2141-8C43-E64AA59F446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308209" y="6314802"/>
              <a:ext cx="893718" cy="262726"/>
            </a:xfrm>
            <a:prstGeom prst="rect">
              <a:avLst/>
            </a:prstGeom>
          </p:spPr>
        </p:pic>
        <p:pic>
          <p:nvPicPr>
            <p:cNvPr id="20" name="Image 19">
              <a:extLst>
                <a:ext uri="{FF2B5EF4-FFF2-40B4-BE49-F238E27FC236}">
                  <a16:creationId xmlns:a16="http://schemas.microsoft.com/office/drawing/2014/main" id="{9B40E965-C296-F84D-A1C2-88449CB11A87}"/>
                </a:ext>
              </a:extLst>
            </p:cNvPr>
            <p:cNvPicPr>
              <a:picLocks noChangeAspect="1"/>
            </p:cNvPicPr>
            <p:nvPr userDrawn="1"/>
          </p:nvPicPr>
          <p:blipFill>
            <a:blip r:embed="rId6"/>
            <a:stretch>
              <a:fillRect/>
            </a:stretch>
          </p:blipFill>
          <p:spPr>
            <a:xfrm>
              <a:off x="373815" y="6143191"/>
              <a:ext cx="804201" cy="626491"/>
            </a:xfrm>
            <a:prstGeom prst="rect">
              <a:avLst/>
            </a:prstGeom>
          </p:spPr>
        </p:pic>
      </p:grpSp>
      <p:sp>
        <p:nvSpPr>
          <p:cNvPr id="13" name="Auteur et date">
            <a:extLst>
              <a:ext uri="{FF2B5EF4-FFF2-40B4-BE49-F238E27FC236}">
                <a16:creationId xmlns:a16="http://schemas.microsoft.com/office/drawing/2014/main" id="{E30CA11C-B037-8E48-B945-69C3DE227325}"/>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Session de sensibilisation à Mon espace santé</a:t>
            </a:r>
          </a:p>
        </p:txBody>
      </p:sp>
      <p:pic>
        <p:nvPicPr>
          <p:cNvPr id="14" name="Imag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11536" y="6234793"/>
            <a:ext cx="839961" cy="533475"/>
          </a:xfrm>
          <a:prstGeom prst="rect">
            <a:avLst/>
          </a:prstGeom>
        </p:spPr>
      </p:pic>
    </p:spTree>
    <p:extLst>
      <p:ext uri="{BB962C8B-B14F-4D97-AF65-F5344CB8AC3E}">
        <p14:creationId xmlns:p14="http://schemas.microsoft.com/office/powerpoint/2010/main" val="1768885507"/>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Vierge">
    <p:spTree>
      <p:nvGrpSpPr>
        <p:cNvPr id="1" name=""/>
        <p:cNvGrpSpPr/>
        <p:nvPr/>
      </p:nvGrpSpPr>
      <p:grpSpPr>
        <a:xfrm>
          <a:off x="0" y="0"/>
          <a:ext cx="0" cy="0"/>
          <a:chOff x="0" y="0"/>
          <a:chExt cx="0" cy="0"/>
        </a:xfrm>
      </p:grpSpPr>
      <p:pic>
        <p:nvPicPr>
          <p:cNvPr id="18" name="MES-masque PPT2.jpg" descr="MES-masque PPT2.jpg">
            <a:extLst>
              <a:ext uri="{FF2B5EF4-FFF2-40B4-BE49-F238E27FC236}">
                <a16:creationId xmlns:a16="http://schemas.microsoft.com/office/drawing/2014/main" id="{9D85E3DD-9BFB-A842-8C58-B6B0A0C699A4}"/>
              </a:ext>
            </a:extLst>
          </p:cNvPr>
          <p:cNvPicPr>
            <a:picLocks noChangeAspect="1"/>
          </p:cNvPicPr>
          <p:nvPr userDrawn="1"/>
        </p:nvPicPr>
        <p:blipFill>
          <a:blip r:embed="rId2"/>
          <a:stretch>
            <a:fillRect/>
          </a:stretch>
        </p:blipFill>
        <p:spPr>
          <a:xfrm>
            <a:off x="-1" y="-1354"/>
            <a:ext cx="12192001" cy="6196413"/>
          </a:xfrm>
          <a:prstGeom prst="rect">
            <a:avLst/>
          </a:prstGeom>
          <a:ln w="12700">
            <a:miter lim="400000"/>
          </a:ln>
        </p:spPr>
      </p:pic>
      <p:sp>
        <p:nvSpPr>
          <p:cNvPr id="4" name="Numéro de diapositive">
            <a:extLst>
              <a:ext uri="{FF2B5EF4-FFF2-40B4-BE49-F238E27FC236}">
                <a16:creationId xmlns:a16="http://schemas.microsoft.com/office/drawing/2014/main" id="{3DD48768-1DAF-9745-9152-FA78A48B27BD}"/>
              </a:ext>
            </a:extLst>
          </p:cNvPr>
          <p:cNvSpPr txBox="1">
            <a:spLocks/>
          </p:cNvSpPr>
          <p:nvPr userDrawn="1"/>
        </p:nvSpPr>
        <p:spPr>
          <a:xfrm>
            <a:off x="11626833" y="6340658"/>
            <a:ext cx="309380" cy="241092"/>
          </a:xfrm>
          <a:prstGeom prst="rect">
            <a:avLst/>
          </a:prstGeom>
          <a:ln w="12700">
            <a:miter lim="400000"/>
          </a:ln>
        </p:spPr>
        <p:txBody>
          <a:bodyPr wrap="none" lIns="50800" tIns="50800" rIns="50800" bIns="50800" anchor="b">
            <a:spAutoFit/>
          </a:bodyPr>
          <a:lstStyle>
            <a:defPPr>
              <a:defRPr lang="fr-FR"/>
            </a:defPPr>
            <a:lvl1pPr marL="0" algn="l" defTabSz="292100" rtl="0" eaLnBrk="1" latinLnBrk="0" hangingPunct="1">
              <a:defRPr sz="900" kern="1200">
                <a:solidFill>
                  <a:srgbClr val="DB3080"/>
                </a:solidFill>
                <a:latin typeface="+mj-lt"/>
                <a:ea typeface="+mj-ea"/>
                <a:cs typeface="+mj-cs"/>
                <a:sym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fr-FR" smtClean="0"/>
              <a:pPr/>
              <a:t>‹N°›</a:t>
            </a:fld>
            <a:endParaRPr lang="fr-FR"/>
          </a:p>
        </p:txBody>
      </p:sp>
      <p:sp>
        <p:nvSpPr>
          <p:cNvPr id="5" name="Ligne">
            <a:extLst>
              <a:ext uri="{FF2B5EF4-FFF2-40B4-BE49-F238E27FC236}">
                <a16:creationId xmlns:a16="http://schemas.microsoft.com/office/drawing/2014/main" id="{B204E05A-E282-2945-B2CF-94B0A7B24C53}"/>
              </a:ext>
            </a:extLst>
          </p:cNvPr>
          <p:cNvSpPr/>
          <p:nvPr userDrawn="1"/>
        </p:nvSpPr>
        <p:spPr>
          <a:xfrm>
            <a:off x="3442403" y="4737753"/>
            <a:ext cx="6106157" cy="1"/>
          </a:xfrm>
          <a:prstGeom prst="line">
            <a:avLst/>
          </a:prstGeom>
          <a:ln w="101600">
            <a:solidFill>
              <a:srgbClr val="005C9B"/>
            </a:solidFill>
            <a:miter lim="400000"/>
          </a:ln>
        </p:spPr>
        <p:txBody>
          <a:bodyPr lIns="25400" tIns="25400" rIns="25400" bIns="25400" anchor="ctr"/>
          <a:lstStyle/>
          <a:p>
            <a:endParaRPr sz="900"/>
          </a:p>
        </p:txBody>
      </p:sp>
      <p:sp>
        <p:nvSpPr>
          <p:cNvPr id="6" name="Ligne">
            <a:extLst>
              <a:ext uri="{FF2B5EF4-FFF2-40B4-BE49-F238E27FC236}">
                <a16:creationId xmlns:a16="http://schemas.microsoft.com/office/drawing/2014/main" id="{AD57DF94-146D-7B42-8BBB-DA85D3E8177E}"/>
              </a:ext>
            </a:extLst>
          </p:cNvPr>
          <p:cNvSpPr/>
          <p:nvPr userDrawn="1"/>
        </p:nvSpPr>
        <p:spPr>
          <a:xfrm>
            <a:off x="9538695" y="4730444"/>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101600">
            <a:solidFill>
              <a:srgbClr val="005C9B"/>
            </a:solidFill>
            <a:miter lim="400000"/>
          </a:ln>
        </p:spPr>
        <p:txBody>
          <a:bodyPr lIns="25400" tIns="25400" rIns="25400" bIns="25400" anchor="ctr"/>
          <a:lstStyle/>
          <a:p>
            <a:pPr>
              <a:defRPr>
                <a:solidFill>
                  <a:srgbClr val="005C9B"/>
                </a:solidFill>
              </a:defRPr>
            </a:pPr>
            <a:endParaRPr sz="900"/>
          </a:p>
        </p:txBody>
      </p:sp>
      <p:pic>
        <p:nvPicPr>
          <p:cNvPr id="7" name="Logo-ReMES.png" descr="Logo-ReMES.png">
            <a:extLst>
              <a:ext uri="{FF2B5EF4-FFF2-40B4-BE49-F238E27FC236}">
                <a16:creationId xmlns:a16="http://schemas.microsoft.com/office/drawing/2014/main" id="{A0710F5B-F91A-F643-B997-C9D2C9477555}"/>
              </a:ext>
            </a:extLst>
          </p:cNvPr>
          <p:cNvPicPr>
            <a:picLocks noChangeAspect="1"/>
          </p:cNvPicPr>
          <p:nvPr userDrawn="1"/>
        </p:nvPicPr>
        <p:blipFill>
          <a:blip r:embed="rId3"/>
          <a:stretch>
            <a:fillRect/>
          </a:stretch>
        </p:blipFill>
        <p:spPr>
          <a:xfrm>
            <a:off x="367659" y="362603"/>
            <a:ext cx="2707085" cy="2928978"/>
          </a:xfrm>
          <a:prstGeom prst="rect">
            <a:avLst/>
          </a:prstGeom>
          <a:ln w="12700">
            <a:miter lim="400000"/>
          </a:ln>
        </p:spPr>
      </p:pic>
      <p:sp>
        <p:nvSpPr>
          <p:cNvPr id="9" name="Titre de la présentation">
            <a:extLst>
              <a:ext uri="{FF2B5EF4-FFF2-40B4-BE49-F238E27FC236}">
                <a16:creationId xmlns:a16="http://schemas.microsoft.com/office/drawing/2014/main" id="{DFFB3011-F3C8-B848-B232-BFB5F7BBA78D}"/>
              </a:ext>
            </a:extLst>
          </p:cNvPr>
          <p:cNvSpPr txBox="1">
            <a:spLocks noGrp="1"/>
          </p:cNvSpPr>
          <p:nvPr>
            <p:ph type="title" hasCustomPrompt="1"/>
          </p:nvPr>
        </p:nvSpPr>
        <p:spPr>
          <a:xfrm>
            <a:off x="3442403" y="1713281"/>
            <a:ext cx="6266062" cy="23241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b">
            <a:normAutofit/>
          </a:bodyPr>
          <a:lstStyle/>
          <a:p>
            <a:r>
              <a:rPr err="1"/>
              <a:t>Titre</a:t>
            </a:r>
            <a:r>
              <a:t> de la </a:t>
            </a:r>
            <a:r>
              <a:rPr err="1"/>
              <a:t>présentation</a:t>
            </a:r>
            <a:endParaRPr/>
          </a:p>
        </p:txBody>
      </p:sp>
      <p:sp>
        <p:nvSpPr>
          <p:cNvPr id="10" name="Texte niveau 1…">
            <a:extLst>
              <a:ext uri="{FF2B5EF4-FFF2-40B4-BE49-F238E27FC236}">
                <a16:creationId xmlns:a16="http://schemas.microsoft.com/office/drawing/2014/main" id="{A0D0F5D2-F873-674C-9AE6-AEB49A6857DA}"/>
              </a:ext>
            </a:extLst>
          </p:cNvPr>
          <p:cNvSpPr txBox="1">
            <a:spLocks noGrp="1"/>
          </p:cNvSpPr>
          <p:nvPr>
            <p:ph idx="1" hasCustomPrompt="1"/>
          </p:nvPr>
        </p:nvSpPr>
        <p:spPr>
          <a:xfrm>
            <a:off x="3442403" y="3955885"/>
            <a:ext cx="6266062" cy="70395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ormAutofit/>
          </a:bodyPr>
          <a:lstStyle/>
          <a:p>
            <a:r>
              <a:t>Sous-</a:t>
            </a:r>
            <a:r>
              <a:rPr err="1"/>
              <a:t>titre</a:t>
            </a:r>
            <a:r>
              <a:t> de la </a:t>
            </a:r>
            <a:r>
              <a:rPr err="1"/>
              <a:t>présentation</a:t>
            </a:r>
            <a:endParaRPr/>
          </a:p>
          <a:p>
            <a:pPr lvl="1"/>
            <a:endParaRPr/>
          </a:p>
          <a:p>
            <a:pPr lvl="2"/>
            <a:endParaRPr/>
          </a:p>
          <a:p>
            <a:pPr lvl="3"/>
            <a:endParaRPr/>
          </a:p>
          <a:p>
            <a:pPr lvl="4"/>
            <a:endParaRPr/>
          </a:p>
        </p:txBody>
      </p:sp>
      <p:grpSp>
        <p:nvGrpSpPr>
          <p:cNvPr id="15" name="Groupe 14">
            <a:extLst>
              <a:ext uri="{FF2B5EF4-FFF2-40B4-BE49-F238E27FC236}">
                <a16:creationId xmlns:a16="http://schemas.microsoft.com/office/drawing/2014/main" id="{5BA2D886-B8C4-9942-BD0B-E13A188CD254}"/>
              </a:ext>
            </a:extLst>
          </p:cNvPr>
          <p:cNvGrpSpPr/>
          <p:nvPr userDrawn="1"/>
        </p:nvGrpSpPr>
        <p:grpSpPr>
          <a:xfrm>
            <a:off x="255787" y="6233160"/>
            <a:ext cx="1676757" cy="574622"/>
            <a:chOff x="373815" y="6143191"/>
            <a:chExt cx="1828112" cy="626491"/>
          </a:xfrm>
        </p:grpSpPr>
        <p:pic>
          <p:nvPicPr>
            <p:cNvPr id="16" name="Graphique 15">
              <a:extLst>
                <a:ext uri="{FF2B5EF4-FFF2-40B4-BE49-F238E27FC236}">
                  <a16:creationId xmlns:a16="http://schemas.microsoft.com/office/drawing/2014/main" id="{5BC420B0-CB4D-1443-837A-971E78FF14E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308209" y="6314802"/>
              <a:ext cx="893718" cy="262726"/>
            </a:xfrm>
            <a:prstGeom prst="rect">
              <a:avLst/>
            </a:prstGeom>
          </p:spPr>
        </p:pic>
        <p:pic>
          <p:nvPicPr>
            <p:cNvPr id="17" name="Image 16">
              <a:extLst>
                <a:ext uri="{FF2B5EF4-FFF2-40B4-BE49-F238E27FC236}">
                  <a16:creationId xmlns:a16="http://schemas.microsoft.com/office/drawing/2014/main" id="{E6B06AC1-B997-6E41-852D-06E90637F9CA}"/>
                </a:ext>
              </a:extLst>
            </p:cNvPr>
            <p:cNvPicPr>
              <a:picLocks noChangeAspect="1"/>
            </p:cNvPicPr>
            <p:nvPr userDrawn="1"/>
          </p:nvPicPr>
          <p:blipFill>
            <a:blip r:embed="rId6"/>
            <a:stretch>
              <a:fillRect/>
            </a:stretch>
          </p:blipFill>
          <p:spPr>
            <a:xfrm>
              <a:off x="373815" y="6143191"/>
              <a:ext cx="804201" cy="626491"/>
            </a:xfrm>
            <a:prstGeom prst="rect">
              <a:avLst/>
            </a:prstGeom>
          </p:spPr>
        </p:pic>
      </p:grpSp>
      <p:sp>
        <p:nvSpPr>
          <p:cNvPr id="12" name="Auteur et date">
            <a:extLst>
              <a:ext uri="{FF2B5EF4-FFF2-40B4-BE49-F238E27FC236}">
                <a16:creationId xmlns:a16="http://schemas.microsoft.com/office/drawing/2014/main" id="{7A383187-D814-E74B-9A0D-A2BD9F3D298C}"/>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Session de sensibilisation à Mon espace santé</a:t>
            </a:r>
          </a:p>
        </p:txBody>
      </p:sp>
      <p:pic>
        <p:nvPicPr>
          <p:cNvPr id="13" name="Imag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11536" y="6234793"/>
            <a:ext cx="839961" cy="533475"/>
          </a:xfrm>
          <a:prstGeom prst="rect">
            <a:avLst/>
          </a:prstGeom>
        </p:spPr>
      </p:pic>
    </p:spTree>
    <p:extLst>
      <p:ext uri="{BB962C8B-B14F-4D97-AF65-F5344CB8AC3E}">
        <p14:creationId xmlns:p14="http://schemas.microsoft.com/office/powerpoint/2010/main" val="2507634335"/>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re">
    <p:spTree>
      <p:nvGrpSpPr>
        <p:cNvPr id="1" name=""/>
        <p:cNvGrpSpPr/>
        <p:nvPr/>
      </p:nvGrpSpPr>
      <p:grpSpPr>
        <a:xfrm>
          <a:off x="0" y="0"/>
          <a:ext cx="0" cy="0"/>
          <a:chOff x="0" y="0"/>
          <a:chExt cx="0" cy="0"/>
        </a:xfrm>
      </p:grpSpPr>
      <p:pic>
        <p:nvPicPr>
          <p:cNvPr id="17" name="MES-masque PPT.jpg" descr="MES-masque PPT.jpg"/>
          <p:cNvPicPr>
            <a:picLocks noChangeAspect="1"/>
          </p:cNvPicPr>
          <p:nvPr userDrawn="1"/>
        </p:nvPicPr>
        <p:blipFill rotWithShape="1">
          <a:blip r:embed="rId2"/>
          <a:srcRect b="18253"/>
          <a:stretch/>
        </p:blipFill>
        <p:spPr>
          <a:xfrm>
            <a:off x="0" y="3748"/>
            <a:ext cx="12192001" cy="5603145"/>
          </a:xfrm>
          <a:prstGeom prst="rect">
            <a:avLst/>
          </a:prstGeom>
          <a:ln w="12700">
            <a:miter lim="400000"/>
          </a:ln>
        </p:spPr>
      </p:pic>
      <p:sp>
        <p:nvSpPr>
          <p:cNvPr id="19" name="Titre de la présentation"/>
          <p:cNvSpPr txBox="1">
            <a:spLocks noGrp="1"/>
          </p:cNvSpPr>
          <p:nvPr>
            <p:ph type="title" hasCustomPrompt="1"/>
          </p:nvPr>
        </p:nvSpPr>
        <p:spPr>
          <a:xfrm>
            <a:off x="850898" y="4535186"/>
            <a:ext cx="6761760" cy="831762"/>
          </a:xfrm>
          <a:prstGeom prst="rect">
            <a:avLst/>
          </a:prstGeom>
        </p:spPr>
        <p:txBody>
          <a:bodyPr anchor="t"/>
          <a:lstStyle>
            <a:lvl1pPr>
              <a:defRPr sz="3000" cap="all" spc="-60"/>
            </a:lvl1pPr>
          </a:lstStyle>
          <a:p>
            <a:r>
              <a:t>Titre de la présentation</a:t>
            </a:r>
          </a:p>
        </p:txBody>
      </p:sp>
      <p:pic>
        <p:nvPicPr>
          <p:cNvPr id="20" name="Logo-ReMES.png" descr="Logo-ReMES.png"/>
          <p:cNvPicPr>
            <a:picLocks noChangeAspect="1"/>
          </p:cNvPicPr>
          <p:nvPr/>
        </p:nvPicPr>
        <p:blipFill>
          <a:blip r:embed="rId3"/>
          <a:stretch>
            <a:fillRect/>
          </a:stretch>
        </p:blipFill>
        <p:spPr>
          <a:xfrm>
            <a:off x="4528272" y="363758"/>
            <a:ext cx="3135456" cy="3392461"/>
          </a:xfrm>
          <a:prstGeom prst="rect">
            <a:avLst/>
          </a:prstGeom>
          <a:ln w="12700">
            <a:miter lim="400000"/>
          </a:ln>
        </p:spPr>
      </p:pic>
      <p:sp>
        <p:nvSpPr>
          <p:cNvPr id="21" name="Ligne"/>
          <p:cNvSpPr/>
          <p:nvPr/>
        </p:nvSpPr>
        <p:spPr>
          <a:xfrm>
            <a:off x="843137" y="4449887"/>
            <a:ext cx="6106157" cy="1"/>
          </a:xfrm>
          <a:prstGeom prst="line">
            <a:avLst/>
          </a:prstGeom>
          <a:ln w="114300">
            <a:solidFill>
              <a:srgbClr val="005C9B"/>
            </a:solidFill>
            <a:miter lim="400000"/>
          </a:ln>
        </p:spPr>
        <p:txBody>
          <a:bodyPr lIns="25400" tIns="25400" rIns="25400" bIns="25400" anchor="ctr"/>
          <a:lstStyle/>
          <a:p>
            <a:endParaRPr sz="900"/>
          </a:p>
        </p:txBody>
      </p:sp>
      <p:sp>
        <p:nvSpPr>
          <p:cNvPr id="22" name="Ligne"/>
          <p:cNvSpPr/>
          <p:nvPr/>
        </p:nvSpPr>
        <p:spPr>
          <a:xfrm>
            <a:off x="6939428" y="4449887"/>
            <a:ext cx="1785299" cy="22339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604" y="0"/>
                </a:lnTo>
                <a:lnTo>
                  <a:pt x="21600" y="505"/>
                </a:lnTo>
              </a:path>
            </a:pathLst>
          </a:custGeom>
          <a:ln w="114300">
            <a:solidFill>
              <a:srgbClr val="005C9B"/>
            </a:solidFill>
            <a:miter lim="400000"/>
          </a:ln>
        </p:spPr>
        <p:txBody>
          <a:bodyPr lIns="25400" tIns="25400" rIns="25400" bIns="25400" anchor="ctr"/>
          <a:lstStyle/>
          <a:p>
            <a:pPr>
              <a:defRPr>
                <a:solidFill>
                  <a:srgbClr val="005C9B"/>
                </a:solidFill>
              </a:defRPr>
            </a:pPr>
            <a:endParaRPr sz="900"/>
          </a:p>
        </p:txBody>
      </p:sp>
      <p:sp>
        <p:nvSpPr>
          <p:cNvPr id="23" name="Sur titre de la présentation"/>
          <p:cNvSpPr txBox="1">
            <a:spLocks noGrp="1"/>
          </p:cNvSpPr>
          <p:nvPr>
            <p:ph type="body" sz="quarter" idx="22"/>
          </p:nvPr>
        </p:nvSpPr>
        <p:spPr>
          <a:xfrm>
            <a:off x="807602" y="4092141"/>
            <a:ext cx="2880597" cy="302647"/>
          </a:xfrm>
          <a:prstGeom prst="rect">
            <a:avLst/>
          </a:prstGeom>
        </p:spPr>
        <p:txBody>
          <a:bodyPr wrap="none" anchor="ctr">
            <a:spAutoFit/>
          </a:bodyPr>
          <a:lstStyle>
            <a:lvl1pPr algn="ctr" defTabSz="1219169">
              <a:defRPr sz="1300" cap="all"/>
            </a:lvl1pPr>
          </a:lstStyle>
          <a:p>
            <a:r>
              <a:t>Sur titre de la présentation</a:t>
            </a:r>
          </a:p>
        </p:txBody>
      </p:sp>
      <p:sp>
        <p:nvSpPr>
          <p:cNvPr id="24" name="Numéro de diapositive"/>
          <p:cNvSpPr txBox="1">
            <a:spLocks noGrp="1"/>
          </p:cNvSpPr>
          <p:nvPr>
            <p:ph type="sldNum" sz="quarter" idx="2"/>
          </p:nvPr>
        </p:nvSpPr>
        <p:spPr>
          <a:xfrm>
            <a:off x="11626850" y="6344103"/>
            <a:ext cx="293350" cy="241092"/>
          </a:xfrm>
          <a:prstGeom prst="rect">
            <a:avLst/>
          </a:prstGeom>
        </p:spPr>
        <p:txBody>
          <a:bodyPr/>
          <a:lstStyle>
            <a:lvl1pPr>
              <a:defRPr>
                <a:latin typeface="+mn-lt"/>
                <a:ea typeface="+mn-ea"/>
                <a:cs typeface="+mn-cs"/>
                <a:sym typeface="Helvetica Neue"/>
              </a:defRPr>
            </a:lvl1pPr>
          </a:lstStyle>
          <a:p>
            <a:fld id="{86CB4B4D-7CA3-9044-876B-883B54F8677D}" type="slidenum">
              <a:t>‹N°›</a:t>
            </a:fld>
            <a:endParaRPr/>
          </a:p>
        </p:txBody>
      </p:sp>
      <p:pic>
        <p:nvPicPr>
          <p:cNvPr id="12" name="Image 11">
            <a:extLst>
              <a:ext uri="{FF2B5EF4-FFF2-40B4-BE49-F238E27FC236}">
                <a16:creationId xmlns:a16="http://schemas.microsoft.com/office/drawing/2014/main" id="{5E7F21C3-C973-D74D-B54D-44DF4AC21C10}"/>
              </a:ext>
            </a:extLst>
          </p:cNvPr>
          <p:cNvPicPr>
            <a:picLocks noChangeAspect="1"/>
          </p:cNvPicPr>
          <p:nvPr userDrawn="1"/>
        </p:nvPicPr>
        <p:blipFill>
          <a:blip r:embed="rId4">
            <a:alphaModFix/>
          </a:blip>
          <a:stretch>
            <a:fillRect/>
          </a:stretch>
        </p:blipFill>
        <p:spPr>
          <a:xfrm>
            <a:off x="713813" y="5606893"/>
            <a:ext cx="1507710" cy="1174540"/>
          </a:xfrm>
          <a:prstGeom prst="rect">
            <a:avLst/>
          </a:prstGeom>
        </p:spPr>
      </p:pic>
    </p:spTree>
    <p:extLst>
      <p:ext uri="{BB962C8B-B14F-4D97-AF65-F5344CB8AC3E}">
        <p14:creationId xmlns:p14="http://schemas.microsoft.com/office/powerpoint/2010/main" val="2315456943"/>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2_Titre">
    <p:spTree>
      <p:nvGrpSpPr>
        <p:cNvPr id="1" name=""/>
        <p:cNvGrpSpPr/>
        <p:nvPr/>
      </p:nvGrpSpPr>
      <p:grpSpPr>
        <a:xfrm>
          <a:off x="0" y="0"/>
          <a:ext cx="0" cy="0"/>
          <a:chOff x="0" y="0"/>
          <a:chExt cx="0" cy="0"/>
        </a:xfrm>
      </p:grpSpPr>
      <p:pic>
        <p:nvPicPr>
          <p:cNvPr id="15" name="Image 8">
            <a:extLst>
              <a:ext uri="{FF2B5EF4-FFF2-40B4-BE49-F238E27FC236}">
                <a16:creationId xmlns:a16="http://schemas.microsoft.com/office/drawing/2014/main" id="{F6E746DF-6C77-4DDC-AF36-114D1359F625}"/>
              </a:ext>
            </a:extLst>
          </p:cNvPr>
          <p:cNvPicPr>
            <a:picLocks noChangeAspect="1"/>
          </p:cNvPicPr>
          <p:nvPr userDrawn="1"/>
        </p:nvPicPr>
        <p:blipFill rotWithShape="1">
          <a:blip r:embed="rId2"/>
          <a:srcRect b="26788"/>
          <a:stretch/>
        </p:blipFill>
        <p:spPr>
          <a:xfrm>
            <a:off x="-1" y="-2"/>
            <a:ext cx="12192001" cy="6858001"/>
          </a:xfrm>
          <a:prstGeom prst="rect">
            <a:avLst/>
          </a:prstGeom>
        </p:spPr>
      </p:pic>
      <p:sp>
        <p:nvSpPr>
          <p:cNvPr id="19" name="Titre de la présentation"/>
          <p:cNvSpPr txBox="1">
            <a:spLocks noGrp="1"/>
          </p:cNvSpPr>
          <p:nvPr>
            <p:ph type="title" hasCustomPrompt="1"/>
          </p:nvPr>
        </p:nvSpPr>
        <p:spPr>
          <a:xfrm>
            <a:off x="850898" y="4535186"/>
            <a:ext cx="6761760" cy="831762"/>
          </a:xfrm>
          <a:prstGeom prst="rect">
            <a:avLst/>
          </a:prstGeom>
        </p:spPr>
        <p:txBody>
          <a:bodyPr anchor="t"/>
          <a:lstStyle>
            <a:lvl1pPr>
              <a:defRPr sz="3000" cap="all" spc="-60"/>
            </a:lvl1pPr>
          </a:lstStyle>
          <a:p>
            <a:r>
              <a:t>Titre de la présentation</a:t>
            </a:r>
          </a:p>
        </p:txBody>
      </p:sp>
      <p:sp>
        <p:nvSpPr>
          <p:cNvPr id="21" name="Ligne"/>
          <p:cNvSpPr/>
          <p:nvPr/>
        </p:nvSpPr>
        <p:spPr>
          <a:xfrm>
            <a:off x="843137" y="4449887"/>
            <a:ext cx="6106157" cy="1"/>
          </a:xfrm>
          <a:prstGeom prst="line">
            <a:avLst/>
          </a:prstGeom>
          <a:ln w="114300">
            <a:solidFill>
              <a:srgbClr val="005C9B"/>
            </a:solidFill>
            <a:miter lim="400000"/>
          </a:ln>
        </p:spPr>
        <p:txBody>
          <a:bodyPr lIns="25400" tIns="25400" rIns="25400" bIns="25400" anchor="ctr"/>
          <a:lstStyle/>
          <a:p>
            <a:endParaRPr sz="900"/>
          </a:p>
        </p:txBody>
      </p:sp>
      <p:sp>
        <p:nvSpPr>
          <p:cNvPr id="22" name="Ligne"/>
          <p:cNvSpPr/>
          <p:nvPr/>
        </p:nvSpPr>
        <p:spPr>
          <a:xfrm>
            <a:off x="6939428" y="4449887"/>
            <a:ext cx="1785299" cy="22339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604" y="0"/>
                </a:lnTo>
                <a:lnTo>
                  <a:pt x="21600" y="505"/>
                </a:lnTo>
              </a:path>
            </a:pathLst>
          </a:custGeom>
          <a:ln w="114300">
            <a:solidFill>
              <a:srgbClr val="005C9B"/>
            </a:solidFill>
            <a:miter lim="400000"/>
          </a:ln>
        </p:spPr>
        <p:txBody>
          <a:bodyPr lIns="25400" tIns="25400" rIns="25400" bIns="25400" anchor="ctr"/>
          <a:lstStyle/>
          <a:p>
            <a:pPr>
              <a:defRPr>
                <a:solidFill>
                  <a:srgbClr val="005C9B"/>
                </a:solidFill>
              </a:defRPr>
            </a:pPr>
            <a:endParaRPr sz="900"/>
          </a:p>
        </p:txBody>
      </p:sp>
      <p:sp>
        <p:nvSpPr>
          <p:cNvPr id="23" name="Sur titre de la présentation"/>
          <p:cNvSpPr txBox="1">
            <a:spLocks noGrp="1"/>
          </p:cNvSpPr>
          <p:nvPr>
            <p:ph type="body" sz="quarter" idx="22"/>
          </p:nvPr>
        </p:nvSpPr>
        <p:spPr>
          <a:xfrm>
            <a:off x="807602" y="4092141"/>
            <a:ext cx="2880597" cy="302647"/>
          </a:xfrm>
          <a:prstGeom prst="rect">
            <a:avLst/>
          </a:prstGeom>
        </p:spPr>
        <p:txBody>
          <a:bodyPr wrap="none" anchor="ctr">
            <a:spAutoFit/>
          </a:bodyPr>
          <a:lstStyle>
            <a:lvl1pPr algn="ctr" defTabSz="1219169">
              <a:defRPr sz="1300" cap="all"/>
            </a:lvl1pPr>
          </a:lstStyle>
          <a:p>
            <a:r>
              <a:t>Sur titre de la présentation</a:t>
            </a:r>
          </a:p>
        </p:txBody>
      </p:sp>
      <p:sp>
        <p:nvSpPr>
          <p:cNvPr id="24" name="Numéro de diapositive"/>
          <p:cNvSpPr txBox="1">
            <a:spLocks noGrp="1"/>
          </p:cNvSpPr>
          <p:nvPr>
            <p:ph type="sldNum" sz="quarter" idx="2"/>
          </p:nvPr>
        </p:nvSpPr>
        <p:spPr>
          <a:xfrm>
            <a:off x="11626850" y="6344103"/>
            <a:ext cx="293350" cy="241092"/>
          </a:xfrm>
          <a:prstGeom prst="rect">
            <a:avLst/>
          </a:prstGeom>
        </p:spPr>
        <p:txBody>
          <a:bodyPr/>
          <a:lstStyle>
            <a:lvl1pPr>
              <a:defRPr>
                <a:latin typeface="+mn-lt"/>
                <a:ea typeface="+mn-ea"/>
                <a:cs typeface="+mn-cs"/>
                <a:sym typeface="Helvetica Neue"/>
              </a:defRPr>
            </a:lvl1pPr>
          </a:lstStyle>
          <a:p>
            <a:fld id="{86CB4B4D-7CA3-9044-876B-883B54F8677D}" type="slidenum">
              <a:t>‹N°›</a:t>
            </a:fld>
            <a:endParaRPr/>
          </a:p>
        </p:txBody>
      </p:sp>
      <p:pic>
        <p:nvPicPr>
          <p:cNvPr id="11" name="Image 7">
            <a:extLst>
              <a:ext uri="{FF2B5EF4-FFF2-40B4-BE49-F238E27FC236}">
                <a16:creationId xmlns:a16="http://schemas.microsoft.com/office/drawing/2014/main" id="{BAFF95BA-B5DF-43B8-A6FD-90F9432D9747}"/>
              </a:ext>
            </a:extLst>
          </p:cNvPr>
          <p:cNvPicPr/>
          <p:nvPr userDrawn="1"/>
        </p:nvPicPr>
        <p:blipFill>
          <a:blip r:embed="rId3">
            <a:extLst>
              <a:ext uri="{28A0092B-C50C-407E-A947-70E740481C1C}">
                <a14:useLocalDpi xmlns:a14="http://schemas.microsoft.com/office/drawing/2010/main" val="0"/>
              </a:ext>
            </a:extLst>
          </a:blip>
          <a:stretch>
            <a:fillRect/>
          </a:stretch>
        </p:blipFill>
        <p:spPr>
          <a:xfrm>
            <a:off x="360096" y="180000"/>
            <a:ext cx="4032448" cy="3247812"/>
          </a:xfrm>
          <a:prstGeom prst="rect">
            <a:avLst/>
          </a:prstGeom>
        </p:spPr>
      </p:pic>
    </p:spTree>
    <p:extLst>
      <p:ext uri="{BB962C8B-B14F-4D97-AF65-F5344CB8AC3E}">
        <p14:creationId xmlns:p14="http://schemas.microsoft.com/office/powerpoint/2010/main" val="1334379021"/>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3_Titre">
    <p:spTree>
      <p:nvGrpSpPr>
        <p:cNvPr id="1" name=""/>
        <p:cNvGrpSpPr/>
        <p:nvPr/>
      </p:nvGrpSpPr>
      <p:grpSpPr>
        <a:xfrm>
          <a:off x="0" y="0"/>
          <a:ext cx="0" cy="0"/>
          <a:chOff x="0" y="0"/>
          <a:chExt cx="0" cy="0"/>
        </a:xfrm>
      </p:grpSpPr>
      <p:pic>
        <p:nvPicPr>
          <p:cNvPr id="15" name="Image 8">
            <a:extLst>
              <a:ext uri="{FF2B5EF4-FFF2-40B4-BE49-F238E27FC236}">
                <a16:creationId xmlns:a16="http://schemas.microsoft.com/office/drawing/2014/main" id="{F6E746DF-6C77-4DDC-AF36-114D1359F625}"/>
              </a:ext>
            </a:extLst>
          </p:cNvPr>
          <p:cNvPicPr>
            <a:picLocks noChangeAspect="1"/>
          </p:cNvPicPr>
          <p:nvPr userDrawn="1"/>
        </p:nvPicPr>
        <p:blipFill rotWithShape="1">
          <a:blip r:embed="rId2"/>
          <a:srcRect b="26788"/>
          <a:stretch/>
        </p:blipFill>
        <p:spPr>
          <a:xfrm>
            <a:off x="-1" y="-2"/>
            <a:ext cx="12192001" cy="6858001"/>
          </a:xfrm>
          <a:prstGeom prst="rect">
            <a:avLst/>
          </a:prstGeom>
        </p:spPr>
      </p:pic>
      <p:sp>
        <p:nvSpPr>
          <p:cNvPr id="19" name="Titre de la présentation"/>
          <p:cNvSpPr txBox="1">
            <a:spLocks noGrp="1"/>
          </p:cNvSpPr>
          <p:nvPr>
            <p:ph type="title" hasCustomPrompt="1"/>
          </p:nvPr>
        </p:nvSpPr>
        <p:spPr>
          <a:xfrm>
            <a:off x="850898" y="4535186"/>
            <a:ext cx="6761760" cy="831762"/>
          </a:xfrm>
          <a:prstGeom prst="rect">
            <a:avLst/>
          </a:prstGeom>
        </p:spPr>
        <p:txBody>
          <a:bodyPr anchor="t"/>
          <a:lstStyle>
            <a:lvl1pPr>
              <a:defRPr sz="3000" cap="all" spc="-60"/>
            </a:lvl1pPr>
          </a:lstStyle>
          <a:p>
            <a:r>
              <a:t>Titre de la présentation</a:t>
            </a:r>
          </a:p>
        </p:txBody>
      </p:sp>
      <p:sp>
        <p:nvSpPr>
          <p:cNvPr id="21" name="Ligne"/>
          <p:cNvSpPr/>
          <p:nvPr/>
        </p:nvSpPr>
        <p:spPr>
          <a:xfrm>
            <a:off x="843137" y="4449887"/>
            <a:ext cx="6106157" cy="1"/>
          </a:xfrm>
          <a:prstGeom prst="line">
            <a:avLst/>
          </a:prstGeom>
          <a:ln w="114300">
            <a:solidFill>
              <a:srgbClr val="005C9B"/>
            </a:solidFill>
            <a:miter lim="400000"/>
          </a:ln>
        </p:spPr>
        <p:txBody>
          <a:bodyPr lIns="25400" tIns="25400" rIns="25400" bIns="25400" anchor="ctr"/>
          <a:lstStyle/>
          <a:p>
            <a:endParaRPr sz="900"/>
          </a:p>
        </p:txBody>
      </p:sp>
      <p:sp>
        <p:nvSpPr>
          <p:cNvPr id="22" name="Ligne"/>
          <p:cNvSpPr/>
          <p:nvPr/>
        </p:nvSpPr>
        <p:spPr>
          <a:xfrm>
            <a:off x="6939428" y="4449887"/>
            <a:ext cx="1785299" cy="22339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604" y="0"/>
                </a:lnTo>
                <a:lnTo>
                  <a:pt x="21600" y="505"/>
                </a:lnTo>
              </a:path>
            </a:pathLst>
          </a:custGeom>
          <a:ln w="114300">
            <a:solidFill>
              <a:srgbClr val="005C9B"/>
            </a:solidFill>
            <a:miter lim="400000"/>
          </a:ln>
        </p:spPr>
        <p:txBody>
          <a:bodyPr lIns="25400" tIns="25400" rIns="25400" bIns="25400" anchor="ctr"/>
          <a:lstStyle/>
          <a:p>
            <a:pPr>
              <a:defRPr>
                <a:solidFill>
                  <a:srgbClr val="005C9B"/>
                </a:solidFill>
              </a:defRPr>
            </a:pPr>
            <a:endParaRPr sz="900"/>
          </a:p>
        </p:txBody>
      </p:sp>
      <p:sp>
        <p:nvSpPr>
          <p:cNvPr id="23" name="Sur titre de la présentation"/>
          <p:cNvSpPr txBox="1">
            <a:spLocks noGrp="1"/>
          </p:cNvSpPr>
          <p:nvPr>
            <p:ph type="body" sz="quarter" idx="22"/>
          </p:nvPr>
        </p:nvSpPr>
        <p:spPr>
          <a:xfrm>
            <a:off x="807602" y="4092141"/>
            <a:ext cx="2880597" cy="302647"/>
          </a:xfrm>
          <a:prstGeom prst="rect">
            <a:avLst/>
          </a:prstGeom>
        </p:spPr>
        <p:txBody>
          <a:bodyPr wrap="none" anchor="ctr">
            <a:spAutoFit/>
          </a:bodyPr>
          <a:lstStyle>
            <a:lvl1pPr algn="ctr" defTabSz="1219169">
              <a:defRPr sz="1300" cap="all"/>
            </a:lvl1pPr>
          </a:lstStyle>
          <a:p>
            <a:r>
              <a:t>Sur titre de la présentation</a:t>
            </a:r>
          </a:p>
        </p:txBody>
      </p:sp>
      <p:sp>
        <p:nvSpPr>
          <p:cNvPr id="24" name="Numéro de diapositive"/>
          <p:cNvSpPr txBox="1">
            <a:spLocks noGrp="1"/>
          </p:cNvSpPr>
          <p:nvPr>
            <p:ph type="sldNum" sz="quarter" idx="2"/>
          </p:nvPr>
        </p:nvSpPr>
        <p:spPr>
          <a:xfrm>
            <a:off x="11626850" y="6344103"/>
            <a:ext cx="293350" cy="241092"/>
          </a:xfrm>
          <a:prstGeom prst="rect">
            <a:avLst/>
          </a:prstGeom>
        </p:spPr>
        <p:txBody>
          <a:bodyPr/>
          <a:lstStyle>
            <a:lvl1pPr>
              <a:defRPr>
                <a:latin typeface="+mn-lt"/>
                <a:ea typeface="+mn-ea"/>
                <a:cs typeface="+mn-cs"/>
                <a:sym typeface="Helvetica Neue"/>
              </a:defRPr>
            </a:lvl1pPr>
          </a:lstStyle>
          <a:p>
            <a:fld id="{86CB4B4D-7CA3-9044-876B-883B54F8677D}" type="slidenum">
              <a:t>‹N°›</a:t>
            </a:fld>
            <a:endParaRPr/>
          </a:p>
        </p:txBody>
      </p:sp>
      <p:pic>
        <p:nvPicPr>
          <p:cNvPr id="11" name="Image 7">
            <a:extLst>
              <a:ext uri="{FF2B5EF4-FFF2-40B4-BE49-F238E27FC236}">
                <a16:creationId xmlns:a16="http://schemas.microsoft.com/office/drawing/2014/main" id="{BAFF95BA-B5DF-43B8-A6FD-90F9432D974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60097" y="180000"/>
            <a:ext cx="1694034" cy="1448930"/>
          </a:xfrm>
          <a:prstGeom prst="rect">
            <a:avLst/>
          </a:prstGeom>
        </p:spPr>
      </p:pic>
      <p:grpSp>
        <p:nvGrpSpPr>
          <p:cNvPr id="10" name="Group 9">
            <a:extLst>
              <a:ext uri="{FF2B5EF4-FFF2-40B4-BE49-F238E27FC236}">
                <a16:creationId xmlns:a16="http://schemas.microsoft.com/office/drawing/2014/main" id="{C974AB67-08A5-4066-8A13-D0F9FD36E975}"/>
              </a:ext>
            </a:extLst>
          </p:cNvPr>
          <p:cNvGrpSpPr>
            <a:grpSpLocks noChangeAspect="1"/>
          </p:cNvGrpSpPr>
          <p:nvPr userDrawn="1"/>
        </p:nvGrpSpPr>
        <p:grpSpPr>
          <a:xfrm>
            <a:off x="519098" y="1621847"/>
            <a:ext cx="1163394" cy="724172"/>
            <a:chOff x="-3503846" y="918425"/>
            <a:chExt cx="2954257" cy="1838922"/>
          </a:xfrm>
        </p:grpSpPr>
        <p:sp>
          <p:nvSpPr>
            <p:cNvPr id="12" name="Freeform 225">
              <a:extLst>
                <a:ext uri="{FF2B5EF4-FFF2-40B4-BE49-F238E27FC236}">
                  <a16:creationId xmlns:a16="http://schemas.microsoft.com/office/drawing/2014/main" id="{DA8C0795-61FB-42AE-A127-0CAF38C9C04C}"/>
                </a:ext>
              </a:extLst>
            </p:cNvPr>
            <p:cNvSpPr/>
            <p:nvPr/>
          </p:nvSpPr>
          <p:spPr>
            <a:xfrm>
              <a:off x="-3330576" y="1566518"/>
              <a:ext cx="334784" cy="535317"/>
            </a:xfrm>
            <a:custGeom>
              <a:avLst/>
              <a:gdLst/>
              <a:ahLst/>
              <a:cxnLst/>
              <a:rect l="0" t="0" r="0" b="0"/>
              <a:pathLst>
                <a:path w="334784" h="535317">
                  <a:moveTo>
                    <a:pt x="70167" y="68097"/>
                  </a:moveTo>
                  <a:lnTo>
                    <a:pt x="333399" y="68097"/>
                  </a:lnTo>
                  <a:lnTo>
                    <a:pt x="333399" y="0"/>
                  </a:lnTo>
                  <a:lnTo>
                    <a:pt x="0" y="0"/>
                  </a:lnTo>
                  <a:lnTo>
                    <a:pt x="0" y="535317"/>
                  </a:lnTo>
                  <a:lnTo>
                    <a:pt x="333399" y="535317"/>
                  </a:lnTo>
                  <a:lnTo>
                    <a:pt x="333399" y="467207"/>
                  </a:lnTo>
                  <a:lnTo>
                    <a:pt x="70167" y="467207"/>
                  </a:lnTo>
                  <a:lnTo>
                    <a:pt x="70167" y="244500"/>
                  </a:lnTo>
                  <a:lnTo>
                    <a:pt x="334784" y="244500"/>
                  </a:lnTo>
                  <a:lnTo>
                    <a:pt x="334784" y="176415"/>
                  </a:lnTo>
                  <a:lnTo>
                    <a:pt x="70167" y="176415"/>
                  </a:lnTo>
                  <a:close/>
                  <a:moveTo>
                    <a:pt x="70167" y="68097"/>
                  </a:moveTo>
                </a:path>
              </a:pathLst>
            </a:custGeom>
            <a:solidFill>
              <a:srgbClr val="E83182">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14" name="Freeform 226">
              <a:extLst>
                <a:ext uri="{FF2B5EF4-FFF2-40B4-BE49-F238E27FC236}">
                  <a16:creationId xmlns:a16="http://schemas.microsoft.com/office/drawing/2014/main" id="{ED07601A-A723-42DA-987F-FE98DCC3DD78}"/>
                </a:ext>
              </a:extLst>
            </p:cNvPr>
            <p:cNvSpPr/>
            <p:nvPr/>
          </p:nvSpPr>
          <p:spPr>
            <a:xfrm>
              <a:off x="-2944482" y="1555493"/>
              <a:ext cx="349935" cy="562190"/>
            </a:xfrm>
            <a:custGeom>
              <a:avLst/>
              <a:gdLst/>
              <a:ahLst/>
              <a:cxnLst/>
              <a:rect l="0" t="0" r="0" b="0"/>
              <a:pathLst>
                <a:path w="349935" h="562190">
                  <a:moveTo>
                    <a:pt x="349935" y="383768"/>
                  </a:moveTo>
                  <a:cubicBezTo>
                    <a:pt x="349935" y="305562"/>
                    <a:pt x="305803" y="247866"/>
                    <a:pt x="219024" y="212395"/>
                  </a:cubicBezTo>
                  <a:cubicBezTo>
                    <a:pt x="121120" y="170739"/>
                    <a:pt x="112877" y="156337"/>
                    <a:pt x="112877" y="122593"/>
                  </a:cubicBezTo>
                  <a:cubicBezTo>
                    <a:pt x="112877" y="98361"/>
                    <a:pt x="122821" y="69469"/>
                    <a:pt x="170142" y="69469"/>
                  </a:cubicBezTo>
                  <a:cubicBezTo>
                    <a:pt x="208470" y="69469"/>
                    <a:pt x="224980" y="84277"/>
                    <a:pt x="231064" y="124117"/>
                  </a:cubicBezTo>
                  <a:lnTo>
                    <a:pt x="234048" y="143675"/>
                  </a:lnTo>
                  <a:lnTo>
                    <a:pt x="302653" y="131216"/>
                  </a:lnTo>
                  <a:lnTo>
                    <a:pt x="299339" y="112369"/>
                  </a:lnTo>
                  <a:cubicBezTo>
                    <a:pt x="286791" y="40957"/>
                    <a:pt x="239941" y="0"/>
                    <a:pt x="170840" y="0"/>
                  </a:cubicBezTo>
                  <a:cubicBezTo>
                    <a:pt x="95808" y="0"/>
                    <a:pt x="43408" y="52680"/>
                    <a:pt x="43408" y="128118"/>
                  </a:cubicBezTo>
                  <a:cubicBezTo>
                    <a:pt x="43408" y="163906"/>
                    <a:pt x="56667" y="196888"/>
                    <a:pt x="81000" y="221208"/>
                  </a:cubicBezTo>
                  <a:cubicBezTo>
                    <a:pt x="101168" y="240627"/>
                    <a:pt x="121221" y="252730"/>
                    <a:pt x="170650" y="275260"/>
                  </a:cubicBezTo>
                  <a:cubicBezTo>
                    <a:pt x="214223" y="294487"/>
                    <a:pt x="233565" y="305511"/>
                    <a:pt x="249834" y="320459"/>
                  </a:cubicBezTo>
                  <a:cubicBezTo>
                    <a:pt x="269519" y="340258"/>
                    <a:pt x="279082" y="363220"/>
                    <a:pt x="279082" y="390664"/>
                  </a:cubicBezTo>
                  <a:cubicBezTo>
                    <a:pt x="279082" y="448830"/>
                    <a:pt x="233426" y="492708"/>
                    <a:pt x="172898" y="492708"/>
                  </a:cubicBezTo>
                  <a:cubicBezTo>
                    <a:pt x="113538" y="492708"/>
                    <a:pt x="68783" y="454456"/>
                    <a:pt x="68783" y="403757"/>
                  </a:cubicBezTo>
                  <a:lnTo>
                    <a:pt x="68783" y="345364"/>
                  </a:lnTo>
                  <a:lnTo>
                    <a:pt x="0" y="345364"/>
                  </a:lnTo>
                  <a:lnTo>
                    <a:pt x="0" y="403757"/>
                  </a:lnTo>
                  <a:cubicBezTo>
                    <a:pt x="0" y="489635"/>
                    <a:pt x="78549" y="562190"/>
                    <a:pt x="171513" y="562190"/>
                  </a:cubicBezTo>
                  <a:cubicBezTo>
                    <a:pt x="269900" y="562190"/>
                    <a:pt x="349935" y="482142"/>
                    <a:pt x="349935" y="383768"/>
                  </a:cubicBezTo>
                </a:path>
              </a:pathLst>
            </a:custGeom>
            <a:solidFill>
              <a:srgbClr val="E83182">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6" name="Picture 227">
              <a:extLst>
                <a:ext uri="{FF2B5EF4-FFF2-40B4-BE49-F238E27FC236}">
                  <a16:creationId xmlns:a16="http://schemas.microsoft.com/office/drawing/2014/main" id="{54FF5759-C8D9-470D-A325-637A26B41695}"/>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2534961" y="1553808"/>
              <a:ext cx="411162" cy="560730"/>
            </a:xfrm>
            <a:prstGeom prst="rect">
              <a:avLst/>
            </a:prstGeom>
            <a:noFill/>
          </p:spPr>
        </p:pic>
        <p:sp>
          <p:nvSpPr>
            <p:cNvPr id="17" name="Freeform 228">
              <a:extLst>
                <a:ext uri="{FF2B5EF4-FFF2-40B4-BE49-F238E27FC236}">
                  <a16:creationId xmlns:a16="http://schemas.microsoft.com/office/drawing/2014/main" id="{BF575502-E550-48AF-A382-4AC8B30069D8}"/>
                </a:ext>
              </a:extLst>
            </p:cNvPr>
            <p:cNvSpPr/>
            <p:nvPr/>
          </p:nvSpPr>
          <p:spPr>
            <a:xfrm>
              <a:off x="-1043375" y="1566520"/>
              <a:ext cx="334771" cy="535304"/>
            </a:xfrm>
            <a:custGeom>
              <a:avLst/>
              <a:gdLst/>
              <a:ahLst/>
              <a:cxnLst/>
              <a:rect l="0" t="0" r="0" b="0"/>
              <a:pathLst>
                <a:path w="334771" h="535304">
                  <a:moveTo>
                    <a:pt x="333400" y="467207"/>
                  </a:moveTo>
                  <a:lnTo>
                    <a:pt x="70155" y="467207"/>
                  </a:lnTo>
                  <a:lnTo>
                    <a:pt x="70155" y="244513"/>
                  </a:lnTo>
                  <a:lnTo>
                    <a:pt x="334771" y="244513"/>
                  </a:lnTo>
                  <a:lnTo>
                    <a:pt x="334771" y="176403"/>
                  </a:lnTo>
                  <a:lnTo>
                    <a:pt x="70155" y="176403"/>
                  </a:lnTo>
                  <a:lnTo>
                    <a:pt x="70155" y="68097"/>
                  </a:lnTo>
                  <a:lnTo>
                    <a:pt x="333400" y="68097"/>
                  </a:lnTo>
                  <a:lnTo>
                    <a:pt x="333400" y="0"/>
                  </a:lnTo>
                  <a:lnTo>
                    <a:pt x="0" y="0"/>
                  </a:lnTo>
                  <a:lnTo>
                    <a:pt x="0" y="535304"/>
                  </a:lnTo>
                  <a:lnTo>
                    <a:pt x="333400" y="535304"/>
                  </a:lnTo>
                  <a:close/>
                  <a:moveTo>
                    <a:pt x="333400" y="467207"/>
                  </a:moveTo>
                </a:path>
              </a:pathLst>
            </a:custGeom>
            <a:solidFill>
              <a:srgbClr val="E83182">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18" name="Freeform 229">
              <a:extLst>
                <a:ext uri="{FF2B5EF4-FFF2-40B4-BE49-F238E27FC236}">
                  <a16:creationId xmlns:a16="http://schemas.microsoft.com/office/drawing/2014/main" id="{7DC97D3B-A5D1-4230-BDD6-EF826DB0EAD8}"/>
                </a:ext>
              </a:extLst>
            </p:cNvPr>
            <p:cNvSpPr/>
            <p:nvPr/>
          </p:nvSpPr>
          <p:spPr>
            <a:xfrm>
              <a:off x="-1582424" y="1556870"/>
              <a:ext cx="478357" cy="560120"/>
            </a:xfrm>
            <a:custGeom>
              <a:avLst/>
              <a:gdLst/>
              <a:ahLst/>
              <a:cxnLst/>
              <a:rect l="0" t="0" r="0" b="0"/>
              <a:pathLst>
                <a:path w="478357" h="560120">
                  <a:moveTo>
                    <a:pt x="423544" y="430860"/>
                  </a:moveTo>
                  <a:cubicBezTo>
                    <a:pt x="360578" y="476110"/>
                    <a:pt x="324789" y="490651"/>
                    <a:pt x="276275" y="490651"/>
                  </a:cubicBezTo>
                  <a:cubicBezTo>
                    <a:pt x="184708" y="490651"/>
                    <a:pt x="108965" y="433323"/>
                    <a:pt x="80772" y="351485"/>
                  </a:cubicBezTo>
                  <a:cubicBezTo>
                    <a:pt x="79806" y="348679"/>
                    <a:pt x="78701" y="345986"/>
                    <a:pt x="77863" y="343116"/>
                  </a:cubicBezTo>
                  <a:cubicBezTo>
                    <a:pt x="77800" y="342951"/>
                    <a:pt x="77774" y="342748"/>
                    <a:pt x="77724" y="342570"/>
                  </a:cubicBezTo>
                  <a:cubicBezTo>
                    <a:pt x="71958" y="322885"/>
                    <a:pt x="68833" y="301917"/>
                    <a:pt x="68808" y="280061"/>
                  </a:cubicBezTo>
                  <a:cubicBezTo>
                    <a:pt x="68833" y="258191"/>
                    <a:pt x="71958" y="237198"/>
                    <a:pt x="77724" y="217526"/>
                  </a:cubicBezTo>
                  <a:cubicBezTo>
                    <a:pt x="77774" y="217348"/>
                    <a:pt x="77812" y="217170"/>
                    <a:pt x="77863" y="216992"/>
                  </a:cubicBezTo>
                  <a:cubicBezTo>
                    <a:pt x="78701" y="214135"/>
                    <a:pt x="79819" y="211417"/>
                    <a:pt x="80772" y="208623"/>
                  </a:cubicBezTo>
                  <a:cubicBezTo>
                    <a:pt x="108978" y="126797"/>
                    <a:pt x="184708" y="69469"/>
                    <a:pt x="276275" y="69469"/>
                  </a:cubicBezTo>
                  <a:cubicBezTo>
                    <a:pt x="324789" y="69469"/>
                    <a:pt x="360578" y="83998"/>
                    <a:pt x="423544" y="129248"/>
                  </a:cubicBezTo>
                  <a:lnTo>
                    <a:pt x="439622" y="140818"/>
                  </a:lnTo>
                  <a:lnTo>
                    <a:pt x="478357" y="83503"/>
                  </a:lnTo>
                  <a:lnTo>
                    <a:pt x="463295" y="72581"/>
                  </a:lnTo>
                  <a:cubicBezTo>
                    <a:pt x="390359" y="19673"/>
                    <a:pt x="339686" y="0"/>
                    <a:pt x="276275" y="0"/>
                  </a:cubicBezTo>
                  <a:cubicBezTo>
                    <a:pt x="276047" y="0"/>
                    <a:pt x="275818" y="26"/>
                    <a:pt x="275590" y="26"/>
                  </a:cubicBezTo>
                  <a:lnTo>
                    <a:pt x="275590" y="0"/>
                  </a:lnTo>
                  <a:cubicBezTo>
                    <a:pt x="202793" y="0"/>
                    <a:pt x="133769" y="29363"/>
                    <a:pt x="81267" y="82652"/>
                  </a:cubicBezTo>
                  <a:cubicBezTo>
                    <a:pt x="28854" y="135827"/>
                    <a:pt x="0" y="205563"/>
                    <a:pt x="0" y="279032"/>
                  </a:cubicBezTo>
                  <a:cubicBezTo>
                    <a:pt x="0" y="279375"/>
                    <a:pt x="25" y="279718"/>
                    <a:pt x="25" y="280061"/>
                  </a:cubicBezTo>
                  <a:cubicBezTo>
                    <a:pt x="25" y="280404"/>
                    <a:pt x="0" y="280747"/>
                    <a:pt x="0" y="281089"/>
                  </a:cubicBezTo>
                  <a:cubicBezTo>
                    <a:pt x="0" y="354546"/>
                    <a:pt x="28854" y="424295"/>
                    <a:pt x="81267" y="477469"/>
                  </a:cubicBezTo>
                  <a:cubicBezTo>
                    <a:pt x="133769" y="530758"/>
                    <a:pt x="202793" y="560120"/>
                    <a:pt x="275590" y="560120"/>
                  </a:cubicBezTo>
                  <a:lnTo>
                    <a:pt x="275590" y="560107"/>
                  </a:lnTo>
                  <a:cubicBezTo>
                    <a:pt x="275818" y="560107"/>
                    <a:pt x="276047" y="560120"/>
                    <a:pt x="276275" y="560120"/>
                  </a:cubicBezTo>
                  <a:cubicBezTo>
                    <a:pt x="339686" y="560120"/>
                    <a:pt x="390359" y="540448"/>
                    <a:pt x="463295" y="487540"/>
                  </a:cubicBezTo>
                  <a:lnTo>
                    <a:pt x="478357" y="476618"/>
                  </a:lnTo>
                  <a:lnTo>
                    <a:pt x="439622" y="419303"/>
                  </a:lnTo>
                  <a:close/>
                  <a:moveTo>
                    <a:pt x="423544" y="430860"/>
                  </a:moveTo>
                </a:path>
              </a:pathLst>
            </a:custGeom>
            <a:solidFill>
              <a:srgbClr val="E83182">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20" name="Picture 230">
              <a:extLst>
                <a:ext uri="{FF2B5EF4-FFF2-40B4-BE49-F238E27FC236}">
                  <a16:creationId xmlns:a16="http://schemas.microsoft.com/office/drawing/2014/main" id="{2F04E164-9270-4A9A-9E38-E45B160DD30F}"/>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2106119" y="1540038"/>
              <a:ext cx="482142" cy="574497"/>
            </a:xfrm>
            <a:prstGeom prst="rect">
              <a:avLst/>
            </a:prstGeom>
            <a:noFill/>
          </p:spPr>
        </p:pic>
        <p:sp>
          <p:nvSpPr>
            <p:cNvPr id="25" name="Freeform 231">
              <a:extLst>
                <a:ext uri="{FF2B5EF4-FFF2-40B4-BE49-F238E27FC236}">
                  <a16:creationId xmlns:a16="http://schemas.microsoft.com/office/drawing/2014/main" id="{57A28938-3701-430B-A38B-C841F24112FB}"/>
                </a:ext>
              </a:extLst>
            </p:cNvPr>
            <p:cNvSpPr/>
            <p:nvPr/>
          </p:nvSpPr>
          <p:spPr>
            <a:xfrm>
              <a:off x="-884284" y="2166716"/>
              <a:ext cx="334695" cy="574789"/>
            </a:xfrm>
            <a:custGeom>
              <a:avLst/>
              <a:gdLst/>
              <a:ahLst/>
              <a:cxnLst/>
              <a:rect l="0" t="0" r="0" b="0"/>
              <a:pathLst>
                <a:path w="334695" h="574789">
                  <a:moveTo>
                    <a:pt x="237591" y="39484"/>
                  </a:moveTo>
                  <a:lnTo>
                    <a:pt x="265213" y="0"/>
                  </a:lnTo>
                  <a:lnTo>
                    <a:pt x="174473" y="0"/>
                  </a:lnTo>
                  <a:lnTo>
                    <a:pt x="148387" y="39484"/>
                  </a:lnTo>
                  <a:lnTo>
                    <a:pt x="0" y="39484"/>
                  </a:lnTo>
                  <a:lnTo>
                    <a:pt x="0" y="574789"/>
                  </a:lnTo>
                  <a:lnTo>
                    <a:pt x="333399" y="574789"/>
                  </a:lnTo>
                  <a:lnTo>
                    <a:pt x="333399" y="506691"/>
                  </a:lnTo>
                  <a:lnTo>
                    <a:pt x="70167" y="506691"/>
                  </a:lnTo>
                  <a:lnTo>
                    <a:pt x="70167" y="283984"/>
                  </a:lnTo>
                  <a:lnTo>
                    <a:pt x="334695" y="283984"/>
                  </a:lnTo>
                  <a:lnTo>
                    <a:pt x="334695" y="215887"/>
                  </a:lnTo>
                  <a:lnTo>
                    <a:pt x="70167" y="215887"/>
                  </a:lnTo>
                  <a:lnTo>
                    <a:pt x="70167" y="107581"/>
                  </a:lnTo>
                  <a:lnTo>
                    <a:pt x="334695" y="107581"/>
                  </a:lnTo>
                  <a:lnTo>
                    <a:pt x="334695" y="39484"/>
                  </a:lnTo>
                  <a:close/>
                  <a:moveTo>
                    <a:pt x="237591" y="39484"/>
                  </a:moveTo>
                </a:path>
              </a:pathLst>
            </a:custGeom>
            <a:solidFill>
              <a:srgbClr val="E83182">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26" name="Freeform 232">
              <a:extLst>
                <a:ext uri="{FF2B5EF4-FFF2-40B4-BE49-F238E27FC236}">
                  <a16:creationId xmlns:a16="http://schemas.microsoft.com/office/drawing/2014/main" id="{56DBEC19-6EA5-46C6-8BB8-152EF9C86841}"/>
                </a:ext>
              </a:extLst>
            </p:cNvPr>
            <p:cNvSpPr/>
            <p:nvPr/>
          </p:nvSpPr>
          <p:spPr>
            <a:xfrm>
              <a:off x="-1820262" y="2192419"/>
              <a:ext cx="456754" cy="549084"/>
            </a:xfrm>
            <a:custGeom>
              <a:avLst/>
              <a:gdLst/>
              <a:ahLst/>
              <a:cxnLst/>
              <a:rect l="0" t="0" r="0" b="0"/>
              <a:pathLst>
                <a:path w="456754" h="549084">
                  <a:moveTo>
                    <a:pt x="230098" y="0"/>
                  </a:moveTo>
                  <a:cubicBezTo>
                    <a:pt x="105372" y="0"/>
                    <a:pt x="0" y="107899"/>
                    <a:pt x="0" y="235597"/>
                  </a:cubicBezTo>
                  <a:lnTo>
                    <a:pt x="0" y="549084"/>
                  </a:lnTo>
                  <a:lnTo>
                    <a:pt x="70167" y="549084"/>
                  </a:lnTo>
                  <a:lnTo>
                    <a:pt x="70167" y="235597"/>
                  </a:lnTo>
                  <a:cubicBezTo>
                    <a:pt x="70167" y="142455"/>
                    <a:pt x="140411" y="69468"/>
                    <a:pt x="230098" y="69468"/>
                  </a:cubicBezTo>
                  <a:cubicBezTo>
                    <a:pt x="320382" y="69468"/>
                    <a:pt x="385901" y="141960"/>
                    <a:pt x="385901" y="241808"/>
                  </a:cubicBezTo>
                  <a:lnTo>
                    <a:pt x="385901" y="549084"/>
                  </a:lnTo>
                  <a:lnTo>
                    <a:pt x="456754" y="549084"/>
                  </a:lnTo>
                  <a:lnTo>
                    <a:pt x="456754" y="241808"/>
                  </a:lnTo>
                  <a:cubicBezTo>
                    <a:pt x="456754" y="108483"/>
                    <a:pt x="355078" y="0"/>
                    <a:pt x="230098" y="0"/>
                  </a:cubicBezTo>
                </a:path>
              </a:pathLst>
            </a:custGeom>
            <a:solidFill>
              <a:srgbClr val="E83182">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27" name="Freeform 233">
              <a:extLst>
                <a:ext uri="{FF2B5EF4-FFF2-40B4-BE49-F238E27FC236}">
                  <a16:creationId xmlns:a16="http://schemas.microsoft.com/office/drawing/2014/main" id="{A58FB0B2-0E32-40B0-AAB5-788F843C4EC7}"/>
                </a:ext>
              </a:extLst>
            </p:cNvPr>
            <p:cNvSpPr/>
            <p:nvPr/>
          </p:nvSpPr>
          <p:spPr>
            <a:xfrm>
              <a:off x="-1360382" y="2206197"/>
              <a:ext cx="428498" cy="535304"/>
            </a:xfrm>
            <a:custGeom>
              <a:avLst/>
              <a:gdLst/>
              <a:ahLst/>
              <a:cxnLst/>
              <a:rect l="0" t="0" r="0" b="0"/>
              <a:pathLst>
                <a:path w="428498" h="535304">
                  <a:moveTo>
                    <a:pt x="0" y="68097"/>
                  </a:moveTo>
                  <a:lnTo>
                    <a:pt x="176403" y="68097"/>
                  </a:lnTo>
                  <a:lnTo>
                    <a:pt x="176403" y="535304"/>
                  </a:lnTo>
                  <a:lnTo>
                    <a:pt x="247954" y="535304"/>
                  </a:lnTo>
                  <a:lnTo>
                    <a:pt x="247954" y="68097"/>
                  </a:lnTo>
                  <a:lnTo>
                    <a:pt x="428498" y="68097"/>
                  </a:lnTo>
                  <a:lnTo>
                    <a:pt x="428498" y="0"/>
                  </a:lnTo>
                  <a:lnTo>
                    <a:pt x="0" y="0"/>
                  </a:lnTo>
                  <a:close/>
                  <a:moveTo>
                    <a:pt x="0" y="68097"/>
                  </a:moveTo>
                </a:path>
              </a:pathLst>
            </a:custGeom>
            <a:solidFill>
              <a:srgbClr val="E83182">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28" name="Picture 234">
              <a:extLst>
                <a:ext uri="{FF2B5EF4-FFF2-40B4-BE49-F238E27FC236}">
                  <a16:creationId xmlns:a16="http://schemas.microsoft.com/office/drawing/2014/main" id="{1554E15E-B6D9-42E9-B55C-59E269C4A695}"/>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2374023" y="2179720"/>
              <a:ext cx="482155" cy="574484"/>
            </a:xfrm>
            <a:prstGeom prst="rect">
              <a:avLst/>
            </a:prstGeom>
            <a:noFill/>
          </p:spPr>
        </p:pic>
        <p:sp>
          <p:nvSpPr>
            <p:cNvPr id="29" name="Freeform 235">
              <a:extLst>
                <a:ext uri="{FF2B5EF4-FFF2-40B4-BE49-F238E27FC236}">
                  <a16:creationId xmlns:a16="http://schemas.microsoft.com/office/drawing/2014/main" id="{865A1252-EB32-4371-B8AA-75E38FFD1220}"/>
                </a:ext>
              </a:extLst>
            </p:cNvPr>
            <p:cNvSpPr/>
            <p:nvPr/>
          </p:nvSpPr>
          <p:spPr>
            <a:xfrm>
              <a:off x="-2782507" y="2195157"/>
              <a:ext cx="349935" cy="562190"/>
            </a:xfrm>
            <a:custGeom>
              <a:avLst/>
              <a:gdLst/>
              <a:ahLst/>
              <a:cxnLst/>
              <a:rect l="0" t="0" r="0" b="0"/>
              <a:pathLst>
                <a:path w="349935" h="562190">
                  <a:moveTo>
                    <a:pt x="349935" y="383768"/>
                  </a:moveTo>
                  <a:cubicBezTo>
                    <a:pt x="349935" y="305562"/>
                    <a:pt x="305803" y="247866"/>
                    <a:pt x="219024" y="212395"/>
                  </a:cubicBezTo>
                  <a:cubicBezTo>
                    <a:pt x="121107" y="170739"/>
                    <a:pt x="112877" y="156324"/>
                    <a:pt x="112877" y="122593"/>
                  </a:cubicBezTo>
                  <a:cubicBezTo>
                    <a:pt x="112877" y="98349"/>
                    <a:pt x="122821" y="69469"/>
                    <a:pt x="170142" y="69469"/>
                  </a:cubicBezTo>
                  <a:cubicBezTo>
                    <a:pt x="208470" y="69469"/>
                    <a:pt x="224980" y="84277"/>
                    <a:pt x="231064" y="124117"/>
                  </a:cubicBezTo>
                  <a:lnTo>
                    <a:pt x="234048" y="143675"/>
                  </a:lnTo>
                  <a:lnTo>
                    <a:pt x="302653" y="131216"/>
                  </a:lnTo>
                  <a:lnTo>
                    <a:pt x="299339" y="112369"/>
                  </a:lnTo>
                  <a:cubicBezTo>
                    <a:pt x="286778" y="40957"/>
                    <a:pt x="239941" y="0"/>
                    <a:pt x="170840" y="0"/>
                  </a:cubicBezTo>
                  <a:cubicBezTo>
                    <a:pt x="95808" y="0"/>
                    <a:pt x="43408" y="52680"/>
                    <a:pt x="43408" y="128118"/>
                  </a:cubicBezTo>
                  <a:cubicBezTo>
                    <a:pt x="43408" y="163906"/>
                    <a:pt x="56667" y="196875"/>
                    <a:pt x="81000" y="221208"/>
                  </a:cubicBezTo>
                  <a:cubicBezTo>
                    <a:pt x="101168" y="240627"/>
                    <a:pt x="121221" y="252730"/>
                    <a:pt x="170650" y="275247"/>
                  </a:cubicBezTo>
                  <a:cubicBezTo>
                    <a:pt x="214223" y="294487"/>
                    <a:pt x="233565" y="305511"/>
                    <a:pt x="249834" y="320459"/>
                  </a:cubicBezTo>
                  <a:cubicBezTo>
                    <a:pt x="269519" y="340258"/>
                    <a:pt x="279082" y="363220"/>
                    <a:pt x="279082" y="390651"/>
                  </a:cubicBezTo>
                  <a:cubicBezTo>
                    <a:pt x="279082" y="448830"/>
                    <a:pt x="233426" y="492708"/>
                    <a:pt x="172898" y="492708"/>
                  </a:cubicBezTo>
                  <a:cubicBezTo>
                    <a:pt x="113538" y="492708"/>
                    <a:pt x="68783" y="454456"/>
                    <a:pt x="68783" y="403757"/>
                  </a:cubicBezTo>
                  <a:lnTo>
                    <a:pt x="68783" y="345351"/>
                  </a:lnTo>
                  <a:lnTo>
                    <a:pt x="0" y="345351"/>
                  </a:lnTo>
                  <a:lnTo>
                    <a:pt x="0" y="403757"/>
                  </a:lnTo>
                  <a:cubicBezTo>
                    <a:pt x="0" y="489622"/>
                    <a:pt x="78536" y="562190"/>
                    <a:pt x="171513" y="562190"/>
                  </a:cubicBezTo>
                  <a:cubicBezTo>
                    <a:pt x="269900" y="562190"/>
                    <a:pt x="349935" y="482142"/>
                    <a:pt x="349935" y="383768"/>
                  </a:cubicBezTo>
                </a:path>
              </a:pathLst>
            </a:custGeom>
            <a:solidFill>
              <a:srgbClr val="E83182">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30" name="Picture 236">
              <a:extLst>
                <a:ext uri="{FF2B5EF4-FFF2-40B4-BE49-F238E27FC236}">
                  <a16:creationId xmlns:a16="http://schemas.microsoft.com/office/drawing/2014/main" id="{EDD8C8BB-CA59-448E-B2D0-8D4F2A78F751}"/>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2778351" y="918425"/>
              <a:ext cx="584835" cy="586206"/>
            </a:xfrm>
            <a:prstGeom prst="rect">
              <a:avLst/>
            </a:prstGeom>
            <a:noFill/>
          </p:spPr>
        </p:pic>
        <p:sp>
          <p:nvSpPr>
            <p:cNvPr id="31" name="Freeform 237">
              <a:extLst>
                <a:ext uri="{FF2B5EF4-FFF2-40B4-BE49-F238E27FC236}">
                  <a16:creationId xmlns:a16="http://schemas.microsoft.com/office/drawing/2014/main" id="{E6A15102-5EA9-45DC-97C8-963A51132DD6}"/>
                </a:ext>
              </a:extLst>
            </p:cNvPr>
            <p:cNvSpPr/>
            <p:nvPr/>
          </p:nvSpPr>
          <p:spPr>
            <a:xfrm>
              <a:off x="-2144563" y="925619"/>
              <a:ext cx="1594599" cy="1176400"/>
            </a:xfrm>
            <a:custGeom>
              <a:avLst/>
              <a:gdLst/>
              <a:ahLst/>
              <a:cxnLst/>
              <a:rect l="0" t="0" r="0" b="0"/>
              <a:pathLst>
                <a:path w="1594599" h="1176400">
                  <a:moveTo>
                    <a:pt x="1594599" y="627557"/>
                  </a:moveTo>
                  <a:cubicBezTo>
                    <a:pt x="1594599" y="548348"/>
                    <a:pt x="1530160" y="483908"/>
                    <a:pt x="1450937" y="483908"/>
                  </a:cubicBezTo>
                  <a:lnTo>
                    <a:pt x="495211" y="482396"/>
                  </a:lnTo>
                  <a:lnTo>
                    <a:pt x="495211" y="241808"/>
                  </a:lnTo>
                  <a:cubicBezTo>
                    <a:pt x="495211" y="108470"/>
                    <a:pt x="355067" y="0"/>
                    <a:pt x="230086" y="0"/>
                  </a:cubicBezTo>
                  <a:cubicBezTo>
                    <a:pt x="105372" y="0"/>
                    <a:pt x="0" y="107899"/>
                    <a:pt x="0" y="235610"/>
                  </a:cubicBezTo>
                  <a:lnTo>
                    <a:pt x="0" y="549097"/>
                  </a:lnTo>
                  <a:lnTo>
                    <a:pt x="70155" y="549097"/>
                  </a:lnTo>
                  <a:lnTo>
                    <a:pt x="70155" y="235610"/>
                  </a:lnTo>
                  <a:cubicBezTo>
                    <a:pt x="70155" y="142443"/>
                    <a:pt x="140411" y="69469"/>
                    <a:pt x="230086" y="69469"/>
                  </a:cubicBezTo>
                  <a:cubicBezTo>
                    <a:pt x="320370" y="69469"/>
                    <a:pt x="424345" y="141948"/>
                    <a:pt x="424345" y="241808"/>
                  </a:cubicBezTo>
                  <a:lnTo>
                    <a:pt x="424345" y="550646"/>
                  </a:lnTo>
                  <a:lnTo>
                    <a:pt x="1450937" y="549884"/>
                  </a:lnTo>
                  <a:cubicBezTo>
                    <a:pt x="1491971" y="549884"/>
                    <a:pt x="1524483" y="586524"/>
                    <a:pt x="1524483" y="627557"/>
                  </a:cubicBezTo>
                  <a:lnTo>
                    <a:pt x="1524483" y="1176400"/>
                  </a:lnTo>
                  <a:lnTo>
                    <a:pt x="1594599" y="1176400"/>
                  </a:lnTo>
                  <a:close/>
                  <a:moveTo>
                    <a:pt x="1594599" y="627557"/>
                  </a:moveTo>
                </a:path>
              </a:pathLst>
            </a:custGeom>
            <a:solidFill>
              <a:srgbClr val="005DA9">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32" name="Freeform 238">
              <a:extLst>
                <a:ext uri="{FF2B5EF4-FFF2-40B4-BE49-F238E27FC236}">
                  <a16:creationId xmlns:a16="http://schemas.microsoft.com/office/drawing/2014/main" id="{FFD3BD95-0797-4D17-A632-31E4B26D31A9}"/>
                </a:ext>
              </a:extLst>
            </p:cNvPr>
            <p:cNvSpPr/>
            <p:nvPr/>
          </p:nvSpPr>
          <p:spPr>
            <a:xfrm>
              <a:off x="-3503846" y="924242"/>
              <a:ext cx="677264" cy="1817281"/>
            </a:xfrm>
            <a:custGeom>
              <a:avLst/>
              <a:gdLst/>
              <a:ahLst/>
              <a:cxnLst/>
              <a:rect l="0" t="0" r="0" b="0"/>
              <a:pathLst>
                <a:path w="677264" h="1817281">
                  <a:moveTo>
                    <a:pt x="143649" y="1749298"/>
                  </a:moveTo>
                  <a:cubicBezTo>
                    <a:pt x="102616" y="1749298"/>
                    <a:pt x="70117" y="1714666"/>
                    <a:pt x="70117" y="1673632"/>
                  </a:cubicBezTo>
                  <a:lnTo>
                    <a:pt x="70167" y="182550"/>
                  </a:lnTo>
                  <a:cubicBezTo>
                    <a:pt x="70167" y="117183"/>
                    <a:pt x="114401" y="71540"/>
                    <a:pt x="177723" y="71540"/>
                  </a:cubicBezTo>
                  <a:cubicBezTo>
                    <a:pt x="248474" y="71540"/>
                    <a:pt x="301814" y="123698"/>
                    <a:pt x="301814" y="192888"/>
                  </a:cubicBezTo>
                  <a:lnTo>
                    <a:pt x="301814" y="550469"/>
                  </a:lnTo>
                  <a:lnTo>
                    <a:pt x="372680" y="550469"/>
                  </a:lnTo>
                  <a:lnTo>
                    <a:pt x="372680" y="192202"/>
                  </a:lnTo>
                  <a:cubicBezTo>
                    <a:pt x="372680" y="148578"/>
                    <a:pt x="380008" y="128131"/>
                    <a:pt x="403910" y="104839"/>
                  </a:cubicBezTo>
                  <a:cubicBezTo>
                    <a:pt x="427443" y="82474"/>
                    <a:pt x="458710" y="70155"/>
                    <a:pt x="491959" y="70155"/>
                  </a:cubicBezTo>
                  <a:cubicBezTo>
                    <a:pt x="557592" y="70155"/>
                    <a:pt x="607097" y="122619"/>
                    <a:pt x="607097" y="192202"/>
                  </a:cubicBezTo>
                  <a:lnTo>
                    <a:pt x="607097" y="550469"/>
                  </a:lnTo>
                  <a:lnTo>
                    <a:pt x="677264" y="550469"/>
                  </a:lnTo>
                  <a:lnTo>
                    <a:pt x="677264" y="185992"/>
                  </a:lnTo>
                  <a:cubicBezTo>
                    <a:pt x="677264" y="86907"/>
                    <a:pt x="590993" y="0"/>
                    <a:pt x="492644" y="0"/>
                  </a:cubicBezTo>
                  <a:cubicBezTo>
                    <a:pt x="444410" y="0"/>
                    <a:pt x="394042" y="21108"/>
                    <a:pt x="358101" y="56300"/>
                  </a:cubicBezTo>
                  <a:cubicBezTo>
                    <a:pt x="348703" y="65240"/>
                    <a:pt x="342061" y="73076"/>
                    <a:pt x="335520" y="83020"/>
                  </a:cubicBezTo>
                  <a:cubicBezTo>
                    <a:pt x="330364" y="75794"/>
                    <a:pt x="325017" y="69419"/>
                    <a:pt x="317766" y="61799"/>
                  </a:cubicBezTo>
                  <a:lnTo>
                    <a:pt x="317118" y="61138"/>
                  </a:lnTo>
                  <a:cubicBezTo>
                    <a:pt x="299770" y="44539"/>
                    <a:pt x="280123" y="30353"/>
                    <a:pt x="260311" y="20066"/>
                  </a:cubicBezTo>
                  <a:lnTo>
                    <a:pt x="259409" y="19635"/>
                  </a:lnTo>
                  <a:cubicBezTo>
                    <a:pt x="234758" y="8433"/>
                    <a:pt x="207745" y="2756"/>
                    <a:pt x="179094" y="2756"/>
                  </a:cubicBezTo>
                  <a:cubicBezTo>
                    <a:pt x="76987" y="2756"/>
                    <a:pt x="0" y="84786"/>
                    <a:pt x="0" y="193574"/>
                  </a:cubicBezTo>
                  <a:lnTo>
                    <a:pt x="0" y="1061632"/>
                  </a:lnTo>
                  <a:lnTo>
                    <a:pt x="0" y="1673632"/>
                  </a:lnTo>
                  <a:cubicBezTo>
                    <a:pt x="0" y="1752841"/>
                    <a:pt x="64440" y="1817281"/>
                    <a:pt x="143649" y="1817281"/>
                  </a:cubicBezTo>
                  <a:lnTo>
                    <a:pt x="677150" y="1817281"/>
                  </a:lnTo>
                  <a:lnTo>
                    <a:pt x="677150" y="1749222"/>
                  </a:lnTo>
                  <a:close/>
                  <a:moveTo>
                    <a:pt x="143649" y="1749298"/>
                  </a:moveTo>
                </a:path>
              </a:pathLst>
            </a:custGeom>
            <a:solidFill>
              <a:srgbClr val="005DA9">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grpSp>
    </p:spTree>
    <p:extLst>
      <p:ext uri="{BB962C8B-B14F-4D97-AF65-F5344CB8AC3E}">
        <p14:creationId xmlns:p14="http://schemas.microsoft.com/office/powerpoint/2010/main" val="536643542"/>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_Titre">
    <p:spTree>
      <p:nvGrpSpPr>
        <p:cNvPr id="1" name=""/>
        <p:cNvGrpSpPr/>
        <p:nvPr/>
      </p:nvGrpSpPr>
      <p:grpSpPr>
        <a:xfrm>
          <a:off x="0" y="0"/>
          <a:ext cx="0" cy="0"/>
          <a:chOff x="0" y="0"/>
          <a:chExt cx="0" cy="0"/>
        </a:xfrm>
      </p:grpSpPr>
      <p:pic>
        <p:nvPicPr>
          <p:cNvPr id="17" name="MES-masque PPT.jpg" descr="MES-masque PPT.jpg"/>
          <p:cNvPicPr>
            <a:picLocks noChangeAspect="1"/>
          </p:cNvPicPr>
          <p:nvPr userDrawn="1"/>
        </p:nvPicPr>
        <p:blipFill rotWithShape="1">
          <a:blip r:embed="rId2"/>
          <a:srcRect b="18743"/>
          <a:stretch/>
        </p:blipFill>
        <p:spPr>
          <a:xfrm>
            <a:off x="-1" y="1874"/>
            <a:ext cx="12192001" cy="5569586"/>
          </a:xfrm>
          <a:prstGeom prst="rect">
            <a:avLst/>
          </a:prstGeom>
          <a:ln w="12700">
            <a:miter lim="400000"/>
          </a:ln>
        </p:spPr>
      </p:pic>
      <p:sp>
        <p:nvSpPr>
          <p:cNvPr id="19" name="Titre de la présentation"/>
          <p:cNvSpPr txBox="1">
            <a:spLocks noGrp="1"/>
          </p:cNvSpPr>
          <p:nvPr>
            <p:ph type="title" hasCustomPrompt="1"/>
          </p:nvPr>
        </p:nvSpPr>
        <p:spPr>
          <a:xfrm>
            <a:off x="794902" y="2025265"/>
            <a:ext cx="6761760" cy="1263055"/>
          </a:xfrm>
          <a:prstGeom prst="rect">
            <a:avLst/>
          </a:prstGeom>
        </p:spPr>
        <p:txBody>
          <a:bodyPr anchor="b"/>
          <a:lstStyle>
            <a:lvl1pPr>
              <a:defRPr sz="3000" cap="all" spc="-60"/>
            </a:lvl1pPr>
          </a:lstStyle>
          <a:p>
            <a:r>
              <a:rPr err="1"/>
              <a:t>Titre</a:t>
            </a:r>
            <a:r>
              <a:t> de la </a:t>
            </a:r>
            <a:r>
              <a:rPr err="1"/>
              <a:t>présentation</a:t>
            </a:r>
            <a:endParaRPr/>
          </a:p>
        </p:txBody>
      </p:sp>
      <p:sp>
        <p:nvSpPr>
          <p:cNvPr id="21" name="Ligne"/>
          <p:cNvSpPr/>
          <p:nvPr/>
        </p:nvSpPr>
        <p:spPr>
          <a:xfrm>
            <a:off x="830437" y="3429000"/>
            <a:ext cx="6106157" cy="1"/>
          </a:xfrm>
          <a:prstGeom prst="line">
            <a:avLst/>
          </a:prstGeom>
          <a:ln w="114300">
            <a:solidFill>
              <a:srgbClr val="005C9B"/>
            </a:solidFill>
            <a:miter lim="400000"/>
          </a:ln>
        </p:spPr>
        <p:txBody>
          <a:bodyPr lIns="25400" tIns="25400" rIns="25400" bIns="25400" anchor="ctr"/>
          <a:lstStyle/>
          <a:p>
            <a:endParaRPr sz="900"/>
          </a:p>
        </p:txBody>
      </p:sp>
      <p:sp>
        <p:nvSpPr>
          <p:cNvPr id="22" name="Ligne"/>
          <p:cNvSpPr/>
          <p:nvPr/>
        </p:nvSpPr>
        <p:spPr>
          <a:xfrm>
            <a:off x="6926728" y="3429000"/>
            <a:ext cx="1785299" cy="22339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604" y="0"/>
                </a:lnTo>
                <a:lnTo>
                  <a:pt x="21600" y="505"/>
                </a:lnTo>
              </a:path>
            </a:pathLst>
          </a:custGeom>
          <a:ln w="114300">
            <a:solidFill>
              <a:srgbClr val="005C9B"/>
            </a:solidFill>
            <a:miter lim="400000"/>
          </a:ln>
        </p:spPr>
        <p:txBody>
          <a:bodyPr lIns="25400" tIns="25400" rIns="25400" bIns="25400" anchor="ctr"/>
          <a:lstStyle/>
          <a:p>
            <a:pPr>
              <a:defRPr>
                <a:solidFill>
                  <a:srgbClr val="005C9B"/>
                </a:solidFill>
              </a:defRPr>
            </a:pPr>
            <a:endParaRPr sz="900"/>
          </a:p>
        </p:txBody>
      </p:sp>
      <p:sp>
        <p:nvSpPr>
          <p:cNvPr id="23" name="Sur titre de la présentation"/>
          <p:cNvSpPr txBox="1">
            <a:spLocks noGrp="1"/>
          </p:cNvSpPr>
          <p:nvPr>
            <p:ph type="body" sz="quarter" idx="22"/>
          </p:nvPr>
        </p:nvSpPr>
        <p:spPr>
          <a:xfrm>
            <a:off x="794902" y="3537024"/>
            <a:ext cx="2880597" cy="302647"/>
          </a:xfrm>
          <a:prstGeom prst="rect">
            <a:avLst/>
          </a:prstGeom>
        </p:spPr>
        <p:txBody>
          <a:bodyPr wrap="none" anchor="ctr">
            <a:spAutoFit/>
          </a:bodyPr>
          <a:lstStyle>
            <a:lvl1pPr algn="ctr" defTabSz="1219169">
              <a:defRPr sz="1300" cap="all"/>
            </a:lvl1pPr>
          </a:lstStyle>
          <a:p>
            <a:r>
              <a:t>Sur </a:t>
            </a:r>
            <a:r>
              <a:rPr err="1"/>
              <a:t>titre</a:t>
            </a:r>
            <a:r>
              <a:t> de la </a:t>
            </a:r>
            <a:r>
              <a:rPr err="1"/>
              <a:t>présentation</a:t>
            </a:r>
            <a:endParaRPr/>
          </a:p>
        </p:txBody>
      </p:sp>
      <p:sp>
        <p:nvSpPr>
          <p:cNvPr id="24" name="Numéro de diapositive"/>
          <p:cNvSpPr txBox="1">
            <a:spLocks noGrp="1"/>
          </p:cNvSpPr>
          <p:nvPr>
            <p:ph type="sldNum" sz="quarter" idx="2"/>
          </p:nvPr>
        </p:nvSpPr>
        <p:spPr>
          <a:xfrm>
            <a:off x="11626850" y="6344103"/>
            <a:ext cx="293350" cy="241092"/>
          </a:xfrm>
          <a:prstGeom prst="rect">
            <a:avLst/>
          </a:prstGeom>
        </p:spPr>
        <p:txBody>
          <a:bodyPr/>
          <a:lstStyle>
            <a:lvl1pPr>
              <a:defRPr>
                <a:latin typeface="+mn-lt"/>
                <a:ea typeface="+mn-ea"/>
                <a:cs typeface="+mn-cs"/>
                <a:sym typeface="Helvetica Neue"/>
              </a:defRPr>
            </a:lvl1pPr>
          </a:lstStyle>
          <a:p>
            <a:fld id="{86CB4B4D-7CA3-9044-876B-883B54F8677D}" type="slidenum">
              <a:t>‹N°›</a:t>
            </a:fld>
            <a:endParaRPr/>
          </a:p>
        </p:txBody>
      </p:sp>
      <p:pic>
        <p:nvPicPr>
          <p:cNvPr id="10" name="Logo-ReMES.png" descr="Logo-ReMES.png">
            <a:extLst>
              <a:ext uri="{FF2B5EF4-FFF2-40B4-BE49-F238E27FC236}">
                <a16:creationId xmlns:a16="http://schemas.microsoft.com/office/drawing/2014/main" id="{25275FFF-632A-6B46-96DE-FFAF89E4BDF9}"/>
              </a:ext>
            </a:extLst>
          </p:cNvPr>
          <p:cNvPicPr>
            <a:picLocks noChangeAspect="1"/>
          </p:cNvPicPr>
          <p:nvPr userDrawn="1"/>
        </p:nvPicPr>
        <p:blipFill>
          <a:blip r:embed="rId3"/>
          <a:stretch>
            <a:fillRect/>
          </a:stretch>
        </p:blipFill>
        <p:spPr>
          <a:xfrm>
            <a:off x="616672" y="373987"/>
            <a:ext cx="1999528" cy="2163424"/>
          </a:xfrm>
          <a:prstGeom prst="rect">
            <a:avLst/>
          </a:prstGeom>
          <a:ln w="12700">
            <a:miter lim="400000"/>
          </a:ln>
        </p:spPr>
      </p:pic>
      <p:pic>
        <p:nvPicPr>
          <p:cNvPr id="11" name="Image 10">
            <a:extLst>
              <a:ext uri="{FF2B5EF4-FFF2-40B4-BE49-F238E27FC236}">
                <a16:creationId xmlns:a16="http://schemas.microsoft.com/office/drawing/2014/main" id="{C87D54A3-EE03-1B43-BF95-133AE8DDE44D}"/>
              </a:ext>
            </a:extLst>
          </p:cNvPr>
          <p:cNvPicPr>
            <a:picLocks noChangeAspect="1"/>
          </p:cNvPicPr>
          <p:nvPr userDrawn="1"/>
        </p:nvPicPr>
        <p:blipFill>
          <a:blip r:embed="rId4">
            <a:alphaModFix/>
          </a:blip>
          <a:stretch>
            <a:fillRect/>
          </a:stretch>
        </p:blipFill>
        <p:spPr>
          <a:xfrm>
            <a:off x="713813" y="5606893"/>
            <a:ext cx="1507710" cy="1174540"/>
          </a:xfrm>
          <a:prstGeom prst="rect">
            <a:avLst/>
          </a:prstGeom>
        </p:spPr>
      </p:pic>
    </p:spTree>
    <p:extLst>
      <p:ext uri="{BB962C8B-B14F-4D97-AF65-F5344CB8AC3E}">
        <p14:creationId xmlns:p14="http://schemas.microsoft.com/office/powerpoint/2010/main" val="2181195100"/>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hapitr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16BC40A0-2206-B240-9C54-6D424BB136AB}"/>
              </a:ext>
            </a:extLst>
          </p:cNvPr>
          <p:cNvPicPr>
            <a:picLocks noChangeAspect="1"/>
          </p:cNvPicPr>
          <p:nvPr userDrawn="1"/>
        </p:nvPicPr>
        <p:blipFill>
          <a:blip r:embed="rId2"/>
          <a:stretch>
            <a:fillRect/>
          </a:stretch>
        </p:blipFill>
        <p:spPr>
          <a:xfrm>
            <a:off x="255787" y="6233160"/>
            <a:ext cx="737619" cy="574622"/>
          </a:xfrm>
          <a:prstGeom prst="rect">
            <a:avLst/>
          </a:prstGeom>
        </p:spPr>
      </p:pic>
      <p:sp>
        <p:nvSpPr>
          <p:cNvPr id="32" name="Numéro de diapositive"/>
          <p:cNvSpPr txBox="1">
            <a:spLocks noGrp="1"/>
          </p:cNvSpPr>
          <p:nvPr>
            <p:ph type="sldNum" sz="quarter" idx="2"/>
          </p:nvPr>
        </p:nvSpPr>
        <p:spPr>
          <a:prstGeom prst="rect">
            <a:avLst/>
          </a:prstGeom>
        </p:spPr>
        <p:txBody>
          <a:bodyPr/>
          <a:lstStyle/>
          <a:p>
            <a:fld id="{86CB4B4D-7CA3-9044-876B-883B54F8677D}" type="slidenum">
              <a:t>‹N°›</a:t>
            </a:fld>
            <a:endParaRPr/>
          </a:p>
        </p:txBody>
      </p:sp>
      <p:sp>
        <p:nvSpPr>
          <p:cNvPr id="33" name="Titre du chapitre"/>
          <p:cNvSpPr txBox="1">
            <a:spLocks noGrp="1"/>
          </p:cNvSpPr>
          <p:nvPr>
            <p:ph type="body" sz="quarter" idx="22" hasCustomPrompt="1"/>
          </p:nvPr>
        </p:nvSpPr>
        <p:spPr>
          <a:xfrm>
            <a:off x="3640665" y="2866264"/>
            <a:ext cx="6761760" cy="1263055"/>
          </a:xfrm>
          <a:prstGeom prst="rect">
            <a:avLst/>
          </a:prstGeom>
        </p:spPr>
        <p:txBody>
          <a:bodyPr anchor="b"/>
          <a:lstStyle>
            <a:lvl1pPr defTabSz="1219169">
              <a:lnSpc>
                <a:spcPct val="80000"/>
              </a:lnSpc>
              <a:defRPr sz="3000" cap="all" spc="-60">
                <a:solidFill>
                  <a:srgbClr val="005C9B"/>
                </a:solidFill>
              </a:defRPr>
            </a:lvl1pPr>
          </a:lstStyle>
          <a:p>
            <a:r>
              <a:rPr dirty="0"/>
              <a:t>TITRE CHAPITRE</a:t>
            </a:r>
          </a:p>
        </p:txBody>
      </p:sp>
    </p:spTree>
    <p:extLst>
      <p:ext uri="{BB962C8B-B14F-4D97-AF65-F5344CB8AC3E}">
        <p14:creationId xmlns:p14="http://schemas.microsoft.com/office/powerpoint/2010/main" val="3846716598"/>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41098B58-54F3-4ADF-AB96-9DBA311ECB0D}"/>
              </a:ext>
            </a:extLst>
          </p:cNvPr>
          <p:cNvSpPr>
            <a:spLocks noGrp="1"/>
          </p:cNvSpPr>
          <p:nvPr>
            <p:ph type="dt" sz="half" idx="10"/>
          </p:nvPr>
        </p:nvSpPr>
        <p:spPr/>
        <p:txBody>
          <a:bodyPr/>
          <a:lstStyle/>
          <a:p>
            <a:fld id="{A2413034-B103-41D2-977A-32CF76459AF0}" type="datetimeFigureOut">
              <a:rPr lang="fr-FR" smtClean="0"/>
              <a:t>07/08/2024</a:t>
            </a:fld>
            <a:endParaRPr lang="fr-FR"/>
          </a:p>
        </p:txBody>
      </p:sp>
      <p:sp>
        <p:nvSpPr>
          <p:cNvPr id="3" name="Espace réservé du pied de page 2">
            <a:extLst>
              <a:ext uri="{FF2B5EF4-FFF2-40B4-BE49-F238E27FC236}">
                <a16:creationId xmlns:a16="http://schemas.microsoft.com/office/drawing/2014/main" id="{AF4FBC01-2930-4AA4-B7AA-8214B80C0926}"/>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A465F952-0E15-45A6-BCE3-775867D9DE8B}"/>
              </a:ext>
            </a:extLst>
          </p:cNvPr>
          <p:cNvSpPr>
            <a:spLocks noGrp="1"/>
          </p:cNvSpPr>
          <p:nvPr>
            <p:ph type="sldNum" sz="quarter" idx="12"/>
          </p:nvPr>
        </p:nvSpPr>
        <p:spPr/>
        <p:txBody>
          <a:bodyPr/>
          <a:lstStyle/>
          <a:p>
            <a:fld id="{1853D752-F3DA-47A2-A775-910B824E1582}" type="slidenum">
              <a:rPr lang="fr-FR" smtClean="0"/>
              <a:t>‹N°›</a:t>
            </a:fld>
            <a:endParaRPr lang="fr-FR"/>
          </a:p>
        </p:txBody>
      </p:sp>
    </p:spTree>
    <p:extLst>
      <p:ext uri="{BB962C8B-B14F-4D97-AF65-F5344CB8AC3E}">
        <p14:creationId xmlns:p14="http://schemas.microsoft.com/office/powerpoint/2010/main" val="35172492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chapitr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16BC40A0-2206-B240-9C54-6D424BB136AB}"/>
              </a:ext>
            </a:extLst>
          </p:cNvPr>
          <p:cNvPicPr>
            <a:picLocks noChangeAspect="1"/>
          </p:cNvPicPr>
          <p:nvPr userDrawn="1"/>
        </p:nvPicPr>
        <p:blipFill>
          <a:blip r:embed="rId2"/>
          <a:stretch>
            <a:fillRect/>
          </a:stretch>
        </p:blipFill>
        <p:spPr>
          <a:xfrm>
            <a:off x="255787" y="6233160"/>
            <a:ext cx="737619" cy="574622"/>
          </a:xfrm>
          <a:prstGeom prst="rect">
            <a:avLst/>
          </a:prstGeom>
        </p:spPr>
      </p:pic>
      <p:sp>
        <p:nvSpPr>
          <p:cNvPr id="32" name="Numéro de diapositive"/>
          <p:cNvSpPr txBox="1">
            <a:spLocks noGrp="1"/>
          </p:cNvSpPr>
          <p:nvPr>
            <p:ph type="sldNum" sz="quarter" idx="2"/>
          </p:nvPr>
        </p:nvSpPr>
        <p:spPr>
          <a:prstGeom prst="rect">
            <a:avLst/>
          </a:prstGeom>
        </p:spPr>
        <p:txBody>
          <a:bodyPr/>
          <a:lstStyle/>
          <a:p>
            <a:fld id="{86CB4B4D-7CA3-9044-876B-883B54F8677D}" type="slidenum">
              <a:t>‹N°›</a:t>
            </a:fld>
            <a:endParaRPr/>
          </a:p>
        </p:txBody>
      </p:sp>
      <p:pic>
        <p:nvPicPr>
          <p:cNvPr id="9" name="Image 8">
            <a:extLst>
              <a:ext uri="{FF2B5EF4-FFF2-40B4-BE49-F238E27FC236}">
                <a16:creationId xmlns:a16="http://schemas.microsoft.com/office/drawing/2014/main" id="{6690657A-EA41-284A-B4C4-EFC9AFD722AF}"/>
              </a:ext>
            </a:extLst>
          </p:cNvPr>
          <p:cNvPicPr>
            <a:picLocks noChangeAspect="1"/>
          </p:cNvPicPr>
          <p:nvPr userDrawn="1"/>
        </p:nvPicPr>
        <p:blipFill rotWithShape="1">
          <a:blip r:embed="rId3"/>
          <a:srcRect b="26788"/>
          <a:stretch/>
        </p:blipFill>
        <p:spPr>
          <a:xfrm>
            <a:off x="-1" y="-1"/>
            <a:ext cx="12192001" cy="6195060"/>
          </a:xfrm>
          <a:prstGeom prst="rect">
            <a:avLst/>
          </a:prstGeom>
        </p:spPr>
      </p:pic>
    </p:spTree>
    <p:extLst>
      <p:ext uri="{BB962C8B-B14F-4D97-AF65-F5344CB8AC3E}">
        <p14:creationId xmlns:p14="http://schemas.microsoft.com/office/powerpoint/2010/main" val="3100438825"/>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4_Titre et puces">
    <p:spTree>
      <p:nvGrpSpPr>
        <p:cNvPr id="1" name=""/>
        <p:cNvGrpSpPr/>
        <p:nvPr/>
      </p:nvGrpSpPr>
      <p:grpSpPr>
        <a:xfrm>
          <a:off x="0" y="0"/>
          <a:ext cx="0" cy="0"/>
          <a:chOff x="0" y="0"/>
          <a:chExt cx="0" cy="0"/>
        </a:xfrm>
      </p:grpSpPr>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N°›</a:t>
            </a:fld>
            <a:endParaRPr/>
          </a:p>
        </p:txBody>
      </p:sp>
      <p:pic>
        <p:nvPicPr>
          <p:cNvPr id="18" name="Image 17">
            <a:extLst>
              <a:ext uri="{FF2B5EF4-FFF2-40B4-BE49-F238E27FC236}">
                <a16:creationId xmlns:a16="http://schemas.microsoft.com/office/drawing/2014/main" id="{E4A1E0FE-0AB3-1E4A-A0C8-7DF02EA6B5CC}"/>
              </a:ext>
            </a:extLst>
          </p:cNvPr>
          <p:cNvPicPr>
            <a:picLocks noChangeAspect="1"/>
          </p:cNvPicPr>
          <p:nvPr userDrawn="1"/>
        </p:nvPicPr>
        <p:blipFill>
          <a:blip r:embed="rId2"/>
          <a:stretch>
            <a:fillRect/>
          </a:stretch>
        </p:blipFill>
        <p:spPr>
          <a:xfrm>
            <a:off x="255787" y="6233160"/>
            <a:ext cx="737619" cy="574622"/>
          </a:xfrm>
          <a:prstGeom prst="rect">
            <a:avLst/>
          </a:prstGeom>
        </p:spPr>
      </p:pic>
      <p:sp>
        <p:nvSpPr>
          <p:cNvPr id="4" name="Title 3">
            <a:extLst>
              <a:ext uri="{FF2B5EF4-FFF2-40B4-BE49-F238E27FC236}">
                <a16:creationId xmlns:a16="http://schemas.microsoft.com/office/drawing/2014/main" id="{7B008386-3309-413E-88CE-C2AD9AB236FA}"/>
              </a:ext>
            </a:extLst>
          </p:cNvPr>
          <p:cNvSpPr>
            <a:spLocks noGrp="1"/>
          </p:cNvSpPr>
          <p:nvPr>
            <p:ph type="title"/>
          </p:nvPr>
        </p:nvSpPr>
        <p:spPr>
          <a:xfrm>
            <a:off x="255599" y="255600"/>
            <a:ext cx="11242266" cy="644908"/>
          </a:xfrm>
        </p:spPr>
        <p:txBody>
          <a:bodyPr anchor="ctr">
            <a:normAutofit/>
          </a:bodyPr>
          <a:lstStyle>
            <a:lvl1pPr>
              <a:defRPr sz="2800"/>
            </a:lvl1pPr>
          </a:lstStyle>
          <a:p>
            <a:r>
              <a:rPr lang="en-US"/>
              <a:t>Click to edit Master title style</a:t>
            </a:r>
            <a:endParaRPr lang="fr-FR"/>
          </a:p>
        </p:txBody>
      </p:sp>
    </p:spTree>
    <p:extLst>
      <p:ext uri="{BB962C8B-B14F-4D97-AF65-F5344CB8AC3E}">
        <p14:creationId xmlns:p14="http://schemas.microsoft.com/office/powerpoint/2010/main" val="3730011888"/>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3_Titre et puces">
    <p:spTree>
      <p:nvGrpSpPr>
        <p:cNvPr id="1" name=""/>
        <p:cNvGrpSpPr/>
        <p:nvPr/>
      </p:nvGrpSpPr>
      <p:grpSpPr>
        <a:xfrm>
          <a:off x="0" y="0"/>
          <a:ext cx="0" cy="0"/>
          <a:chOff x="0" y="0"/>
          <a:chExt cx="0" cy="0"/>
        </a:xfrm>
      </p:grpSpPr>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N°›</a:t>
            </a:fld>
            <a:endParaRPr/>
          </a:p>
        </p:txBody>
      </p:sp>
      <p:pic>
        <p:nvPicPr>
          <p:cNvPr id="18" name="Image 17">
            <a:extLst>
              <a:ext uri="{FF2B5EF4-FFF2-40B4-BE49-F238E27FC236}">
                <a16:creationId xmlns:a16="http://schemas.microsoft.com/office/drawing/2014/main" id="{E4A1E0FE-0AB3-1E4A-A0C8-7DF02EA6B5CC}"/>
              </a:ext>
            </a:extLst>
          </p:cNvPr>
          <p:cNvPicPr>
            <a:picLocks noChangeAspect="1"/>
          </p:cNvPicPr>
          <p:nvPr userDrawn="1"/>
        </p:nvPicPr>
        <p:blipFill>
          <a:blip r:embed="rId2"/>
          <a:stretch>
            <a:fillRect/>
          </a:stretch>
        </p:blipFill>
        <p:spPr>
          <a:xfrm>
            <a:off x="255787" y="6233160"/>
            <a:ext cx="737619" cy="574622"/>
          </a:xfrm>
          <a:prstGeom prst="rect">
            <a:avLst/>
          </a:prstGeom>
        </p:spPr>
      </p:pic>
      <p:sp>
        <p:nvSpPr>
          <p:cNvPr id="6" name="Title 3">
            <a:extLst>
              <a:ext uri="{FF2B5EF4-FFF2-40B4-BE49-F238E27FC236}">
                <a16:creationId xmlns:a16="http://schemas.microsoft.com/office/drawing/2014/main" id="{D88CC1CD-7566-406D-BE7D-B3D0BEDEAD11}"/>
              </a:ext>
            </a:extLst>
          </p:cNvPr>
          <p:cNvSpPr>
            <a:spLocks noGrp="1"/>
          </p:cNvSpPr>
          <p:nvPr>
            <p:ph type="title" idx="4294967295"/>
          </p:nvPr>
        </p:nvSpPr>
        <p:spPr>
          <a:xfrm>
            <a:off x="255787" y="254880"/>
            <a:ext cx="6985000" cy="682625"/>
          </a:xfrm>
        </p:spPr>
        <p:txBody>
          <a:bodyPr anchor="ctr">
            <a:normAutofit/>
          </a:bodyPr>
          <a:lstStyle>
            <a:lvl1pPr>
              <a:defRPr sz="2800">
                <a:solidFill>
                  <a:srgbClr val="005CA9"/>
                </a:solidFill>
              </a:defRPr>
            </a:lvl1pPr>
          </a:lstStyle>
          <a:p>
            <a:endParaRPr lang="fr-FR"/>
          </a:p>
        </p:txBody>
      </p:sp>
    </p:spTree>
    <p:extLst>
      <p:ext uri="{BB962C8B-B14F-4D97-AF65-F5344CB8AC3E}">
        <p14:creationId xmlns:p14="http://schemas.microsoft.com/office/powerpoint/2010/main" val="2860398041"/>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0_Titre et puces">
    <p:spTree>
      <p:nvGrpSpPr>
        <p:cNvPr id="1" name=""/>
        <p:cNvGrpSpPr/>
        <p:nvPr/>
      </p:nvGrpSpPr>
      <p:grpSpPr>
        <a:xfrm>
          <a:off x="0" y="0"/>
          <a:ext cx="0" cy="0"/>
          <a:chOff x="0" y="0"/>
          <a:chExt cx="0" cy="0"/>
        </a:xfrm>
      </p:grpSpPr>
      <p:pic>
        <p:nvPicPr>
          <p:cNvPr id="12" name="Image 8">
            <a:extLst>
              <a:ext uri="{FF2B5EF4-FFF2-40B4-BE49-F238E27FC236}">
                <a16:creationId xmlns:a16="http://schemas.microsoft.com/office/drawing/2014/main" id="{1BF34AE7-AC77-41F0-A5FC-C838F14AA243}"/>
              </a:ext>
            </a:extLst>
          </p:cNvPr>
          <p:cNvPicPr>
            <a:picLocks noChangeAspect="1"/>
          </p:cNvPicPr>
          <p:nvPr userDrawn="1"/>
        </p:nvPicPr>
        <p:blipFill rotWithShape="1">
          <a:blip r:embed="rId2"/>
          <a:srcRect b="26788"/>
          <a:stretch/>
        </p:blipFill>
        <p:spPr>
          <a:xfrm>
            <a:off x="-1" y="-1"/>
            <a:ext cx="12192001" cy="6195060"/>
          </a:xfrm>
          <a:prstGeom prst="rect">
            <a:avLst/>
          </a:prstGeom>
        </p:spPr>
      </p:pic>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N°›</a:t>
            </a:fld>
            <a:endParaRPr/>
          </a:p>
        </p:txBody>
      </p:sp>
      <p:pic>
        <p:nvPicPr>
          <p:cNvPr id="18" name="Image 17">
            <a:extLst>
              <a:ext uri="{FF2B5EF4-FFF2-40B4-BE49-F238E27FC236}">
                <a16:creationId xmlns:a16="http://schemas.microsoft.com/office/drawing/2014/main" id="{E4A1E0FE-0AB3-1E4A-A0C8-7DF02EA6B5CC}"/>
              </a:ext>
            </a:extLst>
          </p:cNvPr>
          <p:cNvPicPr>
            <a:picLocks noChangeAspect="1"/>
          </p:cNvPicPr>
          <p:nvPr userDrawn="1"/>
        </p:nvPicPr>
        <p:blipFill>
          <a:blip r:embed="rId3"/>
          <a:stretch>
            <a:fillRect/>
          </a:stretch>
        </p:blipFill>
        <p:spPr>
          <a:xfrm>
            <a:off x="255787" y="6233160"/>
            <a:ext cx="737619" cy="574622"/>
          </a:xfrm>
          <a:prstGeom prst="rect">
            <a:avLst/>
          </a:prstGeom>
        </p:spPr>
      </p:pic>
      <p:sp>
        <p:nvSpPr>
          <p:cNvPr id="6" name="Title 3">
            <a:extLst>
              <a:ext uri="{FF2B5EF4-FFF2-40B4-BE49-F238E27FC236}">
                <a16:creationId xmlns:a16="http://schemas.microsoft.com/office/drawing/2014/main" id="{D88CC1CD-7566-406D-BE7D-B3D0BEDEAD11}"/>
              </a:ext>
            </a:extLst>
          </p:cNvPr>
          <p:cNvSpPr>
            <a:spLocks noGrp="1"/>
          </p:cNvSpPr>
          <p:nvPr>
            <p:ph type="title" idx="4294967295"/>
          </p:nvPr>
        </p:nvSpPr>
        <p:spPr>
          <a:xfrm>
            <a:off x="255787" y="2966538"/>
            <a:ext cx="6985000" cy="682625"/>
          </a:xfrm>
        </p:spPr>
        <p:txBody>
          <a:bodyPr anchor="ctr"/>
          <a:lstStyle>
            <a:lvl1pPr>
              <a:defRPr>
                <a:solidFill>
                  <a:srgbClr val="005CA9"/>
                </a:solidFill>
              </a:defRPr>
            </a:lvl1pPr>
          </a:lstStyle>
          <a:p>
            <a:endParaRPr lang="fr-FR"/>
          </a:p>
        </p:txBody>
      </p:sp>
      <p:sp>
        <p:nvSpPr>
          <p:cNvPr id="10" name="Ligne">
            <a:extLst>
              <a:ext uri="{FF2B5EF4-FFF2-40B4-BE49-F238E27FC236}">
                <a16:creationId xmlns:a16="http://schemas.microsoft.com/office/drawing/2014/main" id="{14711DEF-5831-41CC-AB49-599942FBCBEA}"/>
              </a:ext>
            </a:extLst>
          </p:cNvPr>
          <p:cNvSpPr/>
          <p:nvPr userDrawn="1"/>
        </p:nvSpPr>
        <p:spPr>
          <a:xfrm>
            <a:off x="255787" y="3739064"/>
            <a:ext cx="7623618" cy="0"/>
          </a:xfrm>
          <a:prstGeom prst="line">
            <a:avLst/>
          </a:prstGeom>
          <a:ln w="63500">
            <a:solidFill>
              <a:srgbClr val="005CA9"/>
            </a:solidFill>
            <a:miter lim="400000"/>
          </a:ln>
        </p:spPr>
        <p:txBody>
          <a:bodyPr lIns="25400" tIns="25400" rIns="25400" bIns="25400" anchor="ctr"/>
          <a:lstStyle/>
          <a:p>
            <a:endParaRPr sz="900"/>
          </a:p>
        </p:txBody>
      </p:sp>
      <p:sp>
        <p:nvSpPr>
          <p:cNvPr id="11" name="Ligne">
            <a:extLst>
              <a:ext uri="{FF2B5EF4-FFF2-40B4-BE49-F238E27FC236}">
                <a16:creationId xmlns:a16="http://schemas.microsoft.com/office/drawing/2014/main" id="{126035E3-63CB-4EA7-BEEF-13C4E5999C48}"/>
              </a:ext>
            </a:extLst>
          </p:cNvPr>
          <p:cNvSpPr/>
          <p:nvPr userDrawn="1"/>
        </p:nvSpPr>
        <p:spPr>
          <a:xfrm>
            <a:off x="7899736" y="3731753"/>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63500">
            <a:solidFill>
              <a:srgbClr val="005CA9"/>
            </a:solidFill>
            <a:miter lim="400000"/>
          </a:ln>
        </p:spPr>
        <p:txBody>
          <a:bodyPr lIns="25400" tIns="25400" rIns="25400" bIns="25400" anchor="ctr"/>
          <a:lstStyle/>
          <a:p>
            <a:pPr>
              <a:defRPr>
                <a:solidFill>
                  <a:srgbClr val="005C9B"/>
                </a:solidFill>
              </a:defRPr>
            </a:pPr>
            <a:endParaRPr sz="900"/>
          </a:p>
        </p:txBody>
      </p:sp>
      <p:pic>
        <p:nvPicPr>
          <p:cNvPr id="13" name="Picture 12">
            <a:extLst>
              <a:ext uri="{FF2B5EF4-FFF2-40B4-BE49-F238E27FC236}">
                <a16:creationId xmlns:a16="http://schemas.microsoft.com/office/drawing/2014/main" id="{D5DEA5A0-CD6C-4049-BFBD-1B041441E9D8}"/>
              </a:ext>
            </a:extLst>
          </p:cNvPr>
          <p:cNvPicPr>
            <a:picLocks noChangeAspect="1"/>
          </p:cNvPicPr>
          <p:nvPr userDrawn="1"/>
        </p:nvPicPr>
        <p:blipFill>
          <a:blip r:embed="rId4"/>
          <a:stretch>
            <a:fillRect/>
          </a:stretch>
        </p:blipFill>
        <p:spPr>
          <a:xfrm>
            <a:off x="1116023" y="6258058"/>
            <a:ext cx="665633" cy="524826"/>
          </a:xfrm>
          <a:prstGeom prst="rect">
            <a:avLst/>
          </a:prstGeom>
        </p:spPr>
      </p:pic>
    </p:spTree>
    <p:extLst>
      <p:ext uri="{BB962C8B-B14F-4D97-AF65-F5344CB8AC3E}">
        <p14:creationId xmlns:p14="http://schemas.microsoft.com/office/powerpoint/2010/main" val="3584349221"/>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9_Titre et puces">
    <p:spTree>
      <p:nvGrpSpPr>
        <p:cNvPr id="1" name=""/>
        <p:cNvGrpSpPr/>
        <p:nvPr/>
      </p:nvGrpSpPr>
      <p:grpSpPr>
        <a:xfrm>
          <a:off x="0" y="0"/>
          <a:ext cx="0" cy="0"/>
          <a:chOff x="0" y="0"/>
          <a:chExt cx="0" cy="0"/>
        </a:xfrm>
      </p:grpSpPr>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N°›</a:t>
            </a:fld>
            <a:endParaRPr/>
          </a:p>
        </p:txBody>
      </p:sp>
      <p:pic>
        <p:nvPicPr>
          <p:cNvPr id="43" name="Logo-ReMES.png" descr="Logo-ReMES.png"/>
          <p:cNvPicPr>
            <a:picLocks noChangeAspect="1"/>
          </p:cNvPicPr>
          <p:nvPr/>
        </p:nvPicPr>
        <p:blipFill>
          <a:blip r:embed="rId2"/>
          <a:stretch>
            <a:fillRect/>
          </a:stretch>
        </p:blipFill>
        <p:spPr>
          <a:xfrm>
            <a:off x="222482" y="16625"/>
            <a:ext cx="1415817" cy="1531867"/>
          </a:xfrm>
          <a:prstGeom prst="rect">
            <a:avLst/>
          </a:prstGeom>
          <a:ln w="12700">
            <a:miter lim="400000"/>
          </a:ln>
        </p:spPr>
      </p:pic>
      <p:sp>
        <p:nvSpPr>
          <p:cNvPr id="45" name="Ligne"/>
          <p:cNvSpPr/>
          <p:nvPr/>
        </p:nvSpPr>
        <p:spPr>
          <a:xfrm>
            <a:off x="2318430" y="1153622"/>
            <a:ext cx="7224831" cy="1"/>
          </a:xfrm>
          <a:prstGeom prst="line">
            <a:avLst/>
          </a:prstGeom>
          <a:ln w="63500">
            <a:solidFill>
              <a:srgbClr val="005CA9"/>
            </a:solidFill>
            <a:miter lim="400000"/>
          </a:ln>
        </p:spPr>
        <p:txBody>
          <a:bodyPr lIns="25400" tIns="25400" rIns="25400" bIns="25400" anchor="ctr"/>
          <a:lstStyle/>
          <a:p>
            <a:endParaRPr sz="900"/>
          </a:p>
        </p:txBody>
      </p:sp>
      <p:sp>
        <p:nvSpPr>
          <p:cNvPr id="46" name="Ligne"/>
          <p:cNvSpPr/>
          <p:nvPr/>
        </p:nvSpPr>
        <p:spPr>
          <a:xfrm>
            <a:off x="9533395" y="1146312"/>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63500">
            <a:solidFill>
              <a:srgbClr val="005CA9"/>
            </a:solidFill>
            <a:miter lim="400000"/>
          </a:ln>
        </p:spPr>
        <p:txBody>
          <a:bodyPr lIns="25400" tIns="25400" rIns="25400" bIns="25400" anchor="ctr"/>
          <a:lstStyle/>
          <a:p>
            <a:pPr>
              <a:defRPr>
                <a:solidFill>
                  <a:srgbClr val="005C9B"/>
                </a:solidFill>
              </a:defRPr>
            </a:pPr>
            <a:endParaRPr sz="900"/>
          </a:p>
        </p:txBody>
      </p:sp>
      <p:sp>
        <p:nvSpPr>
          <p:cNvPr id="12" name="Titre 1">
            <a:extLst>
              <a:ext uri="{FF2B5EF4-FFF2-40B4-BE49-F238E27FC236}">
                <a16:creationId xmlns:a16="http://schemas.microsoft.com/office/drawing/2014/main" id="{D00C3AFE-F4E7-CE4A-AEA1-5618EB75DD74}"/>
              </a:ext>
            </a:extLst>
          </p:cNvPr>
          <p:cNvSpPr>
            <a:spLocks noGrp="1"/>
          </p:cNvSpPr>
          <p:nvPr>
            <p:ph type="title" hasCustomPrompt="1"/>
          </p:nvPr>
        </p:nvSpPr>
        <p:spPr>
          <a:xfrm>
            <a:off x="2313517" y="16625"/>
            <a:ext cx="9306965" cy="1133342"/>
          </a:xfrm>
          <a:ln>
            <a:noFill/>
          </a:ln>
        </p:spPr>
        <p:txBody>
          <a:bodyPr anchor="b">
            <a:normAutofit/>
          </a:bodyPr>
          <a:lstStyle>
            <a:lvl1pPr>
              <a:defRPr sz="2800">
                <a:solidFill>
                  <a:srgbClr val="005CA9"/>
                </a:solidFill>
              </a:defRPr>
            </a:lvl1pPr>
          </a:lstStyle>
          <a:p>
            <a:r>
              <a:rPr lang="fr-FR"/>
              <a:t>MODIFIEZ LE STYLE DU TITRE</a:t>
            </a:r>
          </a:p>
        </p:txBody>
      </p:sp>
      <p:pic>
        <p:nvPicPr>
          <p:cNvPr id="20" name="Image 19">
            <a:extLst>
              <a:ext uri="{FF2B5EF4-FFF2-40B4-BE49-F238E27FC236}">
                <a16:creationId xmlns:a16="http://schemas.microsoft.com/office/drawing/2014/main" id="{9B40E965-C296-F84D-A1C2-88449CB11A87}"/>
              </a:ext>
            </a:extLst>
          </p:cNvPr>
          <p:cNvPicPr>
            <a:picLocks noChangeAspect="1"/>
          </p:cNvPicPr>
          <p:nvPr userDrawn="1"/>
        </p:nvPicPr>
        <p:blipFill>
          <a:blip r:embed="rId3"/>
          <a:stretch>
            <a:fillRect/>
          </a:stretch>
        </p:blipFill>
        <p:spPr>
          <a:xfrm>
            <a:off x="255787" y="6233160"/>
            <a:ext cx="737619" cy="574622"/>
          </a:xfrm>
          <a:prstGeom prst="rect">
            <a:avLst/>
          </a:prstGeom>
        </p:spPr>
      </p:pic>
    </p:spTree>
    <p:extLst>
      <p:ext uri="{BB962C8B-B14F-4D97-AF65-F5344CB8AC3E}">
        <p14:creationId xmlns:p14="http://schemas.microsoft.com/office/powerpoint/2010/main" val="1392573049"/>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re et puces">
    <p:spTree>
      <p:nvGrpSpPr>
        <p:cNvPr id="1" name=""/>
        <p:cNvGrpSpPr/>
        <p:nvPr/>
      </p:nvGrpSpPr>
      <p:grpSpPr>
        <a:xfrm>
          <a:off x="0" y="0"/>
          <a:ext cx="0" cy="0"/>
          <a:chOff x="0" y="0"/>
          <a:chExt cx="0" cy="0"/>
        </a:xfrm>
      </p:grpSpPr>
      <p:pic>
        <p:nvPicPr>
          <p:cNvPr id="40" name="MES-masque PPT3.jpg" descr="MES-masque PPT3.jpg"/>
          <p:cNvPicPr>
            <a:picLocks noChangeAspect="1"/>
          </p:cNvPicPr>
          <p:nvPr/>
        </p:nvPicPr>
        <p:blipFill rotWithShape="1">
          <a:blip r:embed="rId2"/>
          <a:srcRect b="25207"/>
          <a:stretch/>
        </p:blipFill>
        <p:spPr>
          <a:xfrm>
            <a:off x="-1" y="-13855"/>
            <a:ext cx="12192001" cy="1472537"/>
          </a:xfrm>
          <a:prstGeom prst="rect">
            <a:avLst/>
          </a:prstGeom>
          <a:ln w="12700">
            <a:miter lim="400000"/>
          </a:ln>
        </p:spPr>
      </p:pic>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N°›</a:t>
            </a:fld>
            <a:endParaRPr/>
          </a:p>
        </p:txBody>
      </p:sp>
      <p:sp>
        <p:nvSpPr>
          <p:cNvPr id="45" name="Ligne"/>
          <p:cNvSpPr/>
          <p:nvPr/>
        </p:nvSpPr>
        <p:spPr>
          <a:xfrm>
            <a:off x="327103" y="1006372"/>
            <a:ext cx="7623618" cy="0"/>
          </a:xfrm>
          <a:prstGeom prst="line">
            <a:avLst/>
          </a:prstGeom>
          <a:ln w="63500">
            <a:solidFill>
              <a:srgbClr val="005C9B"/>
            </a:solidFill>
            <a:miter lim="400000"/>
          </a:ln>
        </p:spPr>
        <p:txBody>
          <a:bodyPr lIns="25400" tIns="25400" rIns="25400" bIns="25400" anchor="ctr"/>
          <a:lstStyle/>
          <a:p>
            <a:endParaRPr sz="900"/>
          </a:p>
        </p:txBody>
      </p:sp>
      <p:sp>
        <p:nvSpPr>
          <p:cNvPr id="46" name="Ligne"/>
          <p:cNvSpPr/>
          <p:nvPr/>
        </p:nvSpPr>
        <p:spPr>
          <a:xfrm>
            <a:off x="7971052" y="999061"/>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63500">
            <a:solidFill>
              <a:srgbClr val="005C9B"/>
            </a:solidFill>
            <a:miter lim="400000"/>
          </a:ln>
        </p:spPr>
        <p:txBody>
          <a:bodyPr lIns="25400" tIns="25400" rIns="25400" bIns="25400" anchor="ctr"/>
          <a:lstStyle/>
          <a:p>
            <a:pPr>
              <a:defRPr>
                <a:solidFill>
                  <a:srgbClr val="005C9B"/>
                </a:solidFill>
              </a:defRPr>
            </a:pPr>
            <a:endParaRPr sz="900"/>
          </a:p>
        </p:txBody>
      </p:sp>
      <p:sp>
        <p:nvSpPr>
          <p:cNvPr id="48" name="Ligne"/>
          <p:cNvSpPr/>
          <p:nvPr/>
        </p:nvSpPr>
        <p:spPr>
          <a:xfrm flipV="1">
            <a:off x="327103" y="6154495"/>
            <a:ext cx="11434174" cy="7148"/>
          </a:xfrm>
          <a:prstGeom prst="line">
            <a:avLst/>
          </a:prstGeom>
          <a:ln w="50800">
            <a:solidFill>
              <a:srgbClr val="005C9B"/>
            </a:solidFill>
            <a:miter lim="400000"/>
          </a:ln>
        </p:spPr>
        <p:txBody>
          <a:bodyPr lIns="25400" tIns="25400" rIns="25400" bIns="25400" anchor="ctr"/>
          <a:lstStyle/>
          <a:p>
            <a:endParaRPr sz="900"/>
          </a:p>
        </p:txBody>
      </p:sp>
      <p:sp>
        <p:nvSpPr>
          <p:cNvPr id="12" name="Titre 1">
            <a:extLst>
              <a:ext uri="{FF2B5EF4-FFF2-40B4-BE49-F238E27FC236}">
                <a16:creationId xmlns:a16="http://schemas.microsoft.com/office/drawing/2014/main" id="{D00C3AFE-F4E7-CE4A-AEA1-5618EB75DD74}"/>
              </a:ext>
            </a:extLst>
          </p:cNvPr>
          <p:cNvSpPr>
            <a:spLocks noGrp="1"/>
          </p:cNvSpPr>
          <p:nvPr>
            <p:ph type="title" hasCustomPrompt="1"/>
          </p:nvPr>
        </p:nvSpPr>
        <p:spPr>
          <a:xfrm>
            <a:off x="282960" y="-130625"/>
            <a:ext cx="6984241" cy="1133342"/>
          </a:xfrm>
        </p:spPr>
        <p:txBody>
          <a:bodyPr anchor="b">
            <a:normAutofit/>
          </a:bodyPr>
          <a:lstStyle>
            <a:lvl1pPr>
              <a:defRPr sz="2800"/>
            </a:lvl1pPr>
          </a:lstStyle>
          <a:p>
            <a:r>
              <a:rPr lang="fr-FR"/>
              <a:t>MODIFIEZ LE STYLE DU TITRE</a:t>
            </a:r>
          </a:p>
        </p:txBody>
      </p:sp>
      <p:pic>
        <p:nvPicPr>
          <p:cNvPr id="18" name="Image 17">
            <a:extLst>
              <a:ext uri="{FF2B5EF4-FFF2-40B4-BE49-F238E27FC236}">
                <a16:creationId xmlns:a16="http://schemas.microsoft.com/office/drawing/2014/main" id="{ACB49F1B-E482-C642-8571-1C5552E66A3F}"/>
              </a:ext>
            </a:extLst>
          </p:cNvPr>
          <p:cNvPicPr>
            <a:picLocks noChangeAspect="1"/>
          </p:cNvPicPr>
          <p:nvPr userDrawn="1"/>
        </p:nvPicPr>
        <p:blipFill>
          <a:blip r:embed="rId3"/>
          <a:stretch>
            <a:fillRect/>
          </a:stretch>
        </p:blipFill>
        <p:spPr>
          <a:xfrm>
            <a:off x="255787" y="6233160"/>
            <a:ext cx="737619" cy="574622"/>
          </a:xfrm>
          <a:prstGeom prst="rect">
            <a:avLst/>
          </a:prstGeom>
        </p:spPr>
      </p:pic>
      <p:pic>
        <p:nvPicPr>
          <p:cNvPr id="19" name="Logo-ReMES.png" descr="Logo-ReMES.png">
            <a:extLst>
              <a:ext uri="{FF2B5EF4-FFF2-40B4-BE49-F238E27FC236}">
                <a16:creationId xmlns:a16="http://schemas.microsoft.com/office/drawing/2014/main" id="{970D7B19-CD8E-CE4E-80E2-AF4AF9820198}"/>
              </a:ext>
            </a:extLst>
          </p:cNvPr>
          <p:cNvPicPr>
            <a:picLocks noChangeAspect="1"/>
          </p:cNvPicPr>
          <p:nvPr userDrawn="1"/>
        </p:nvPicPr>
        <p:blipFill>
          <a:blip r:embed="rId4"/>
          <a:stretch>
            <a:fillRect/>
          </a:stretch>
        </p:blipFill>
        <p:spPr>
          <a:xfrm>
            <a:off x="10455732" y="-37842"/>
            <a:ext cx="1453308" cy="1572432"/>
          </a:xfrm>
          <a:prstGeom prst="rect">
            <a:avLst/>
          </a:prstGeom>
          <a:ln w="12700">
            <a:miter lim="400000"/>
          </a:ln>
        </p:spPr>
      </p:pic>
    </p:spTree>
    <p:extLst>
      <p:ext uri="{BB962C8B-B14F-4D97-AF65-F5344CB8AC3E}">
        <p14:creationId xmlns:p14="http://schemas.microsoft.com/office/powerpoint/2010/main" val="2638015775"/>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2_Titre et puces">
    <p:spTree>
      <p:nvGrpSpPr>
        <p:cNvPr id="1" name=""/>
        <p:cNvGrpSpPr/>
        <p:nvPr/>
      </p:nvGrpSpPr>
      <p:grpSpPr>
        <a:xfrm>
          <a:off x="0" y="0"/>
          <a:ext cx="0" cy="0"/>
          <a:chOff x="0" y="0"/>
          <a:chExt cx="0" cy="0"/>
        </a:xfrm>
      </p:grpSpPr>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N°›</a:t>
            </a:fld>
            <a:endParaRPr/>
          </a:p>
        </p:txBody>
      </p:sp>
      <p:pic>
        <p:nvPicPr>
          <p:cNvPr id="18" name="Image 17">
            <a:extLst>
              <a:ext uri="{FF2B5EF4-FFF2-40B4-BE49-F238E27FC236}">
                <a16:creationId xmlns:a16="http://schemas.microsoft.com/office/drawing/2014/main" id="{E4A1E0FE-0AB3-1E4A-A0C8-7DF02EA6B5CC}"/>
              </a:ext>
            </a:extLst>
          </p:cNvPr>
          <p:cNvPicPr>
            <a:picLocks noChangeAspect="1"/>
          </p:cNvPicPr>
          <p:nvPr userDrawn="1"/>
        </p:nvPicPr>
        <p:blipFill>
          <a:blip r:embed="rId2"/>
          <a:stretch>
            <a:fillRect/>
          </a:stretch>
        </p:blipFill>
        <p:spPr>
          <a:xfrm>
            <a:off x="255787" y="6233160"/>
            <a:ext cx="737619" cy="574622"/>
          </a:xfrm>
          <a:prstGeom prst="rect">
            <a:avLst/>
          </a:prstGeom>
        </p:spPr>
      </p:pic>
      <p:sp>
        <p:nvSpPr>
          <p:cNvPr id="19" name="Ligne">
            <a:extLst>
              <a:ext uri="{FF2B5EF4-FFF2-40B4-BE49-F238E27FC236}">
                <a16:creationId xmlns:a16="http://schemas.microsoft.com/office/drawing/2014/main" id="{D320721D-93A5-1141-B7B2-DF6C56E96DDA}"/>
              </a:ext>
            </a:extLst>
          </p:cNvPr>
          <p:cNvSpPr/>
          <p:nvPr userDrawn="1"/>
        </p:nvSpPr>
        <p:spPr>
          <a:xfrm flipV="1">
            <a:off x="327103" y="6154495"/>
            <a:ext cx="11434174" cy="7148"/>
          </a:xfrm>
          <a:prstGeom prst="line">
            <a:avLst/>
          </a:prstGeom>
          <a:ln w="50800">
            <a:solidFill>
              <a:srgbClr val="005C9B"/>
            </a:solidFill>
            <a:miter lim="400000"/>
          </a:ln>
        </p:spPr>
        <p:txBody>
          <a:bodyPr lIns="25400" tIns="25400" rIns="25400" bIns="25400" anchor="ctr"/>
          <a:lstStyle/>
          <a:p>
            <a:endParaRPr sz="900"/>
          </a:p>
        </p:txBody>
      </p:sp>
    </p:spTree>
    <p:extLst>
      <p:ext uri="{BB962C8B-B14F-4D97-AF65-F5344CB8AC3E}">
        <p14:creationId xmlns:p14="http://schemas.microsoft.com/office/powerpoint/2010/main" val="3701679369"/>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6_Titre et puces">
    <p:spTree>
      <p:nvGrpSpPr>
        <p:cNvPr id="1" name=""/>
        <p:cNvGrpSpPr/>
        <p:nvPr/>
      </p:nvGrpSpPr>
      <p:grpSpPr>
        <a:xfrm>
          <a:off x="0" y="0"/>
          <a:ext cx="0" cy="0"/>
          <a:chOff x="0" y="0"/>
          <a:chExt cx="0" cy="0"/>
        </a:xfrm>
      </p:grpSpPr>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N°›</a:t>
            </a:fld>
            <a:endParaRPr/>
          </a:p>
        </p:txBody>
      </p:sp>
      <p:pic>
        <p:nvPicPr>
          <p:cNvPr id="18" name="Image 17">
            <a:extLst>
              <a:ext uri="{FF2B5EF4-FFF2-40B4-BE49-F238E27FC236}">
                <a16:creationId xmlns:a16="http://schemas.microsoft.com/office/drawing/2014/main" id="{E4A1E0FE-0AB3-1E4A-A0C8-7DF02EA6B5CC}"/>
              </a:ext>
            </a:extLst>
          </p:cNvPr>
          <p:cNvPicPr>
            <a:picLocks noChangeAspect="1"/>
          </p:cNvPicPr>
          <p:nvPr userDrawn="1"/>
        </p:nvPicPr>
        <p:blipFill>
          <a:blip r:embed="rId2"/>
          <a:stretch>
            <a:fillRect/>
          </a:stretch>
        </p:blipFill>
        <p:spPr>
          <a:xfrm>
            <a:off x="255787" y="6233160"/>
            <a:ext cx="737619" cy="574622"/>
          </a:xfrm>
          <a:prstGeom prst="rect">
            <a:avLst/>
          </a:prstGeom>
        </p:spPr>
      </p:pic>
      <p:sp>
        <p:nvSpPr>
          <p:cNvPr id="19" name="Ligne">
            <a:extLst>
              <a:ext uri="{FF2B5EF4-FFF2-40B4-BE49-F238E27FC236}">
                <a16:creationId xmlns:a16="http://schemas.microsoft.com/office/drawing/2014/main" id="{D320721D-93A5-1141-B7B2-DF6C56E96DDA}"/>
              </a:ext>
            </a:extLst>
          </p:cNvPr>
          <p:cNvSpPr/>
          <p:nvPr userDrawn="1"/>
        </p:nvSpPr>
        <p:spPr>
          <a:xfrm flipV="1">
            <a:off x="327103" y="6154495"/>
            <a:ext cx="11434174" cy="7148"/>
          </a:xfrm>
          <a:prstGeom prst="line">
            <a:avLst/>
          </a:prstGeom>
          <a:ln w="50800">
            <a:solidFill>
              <a:srgbClr val="005C9B"/>
            </a:solidFill>
            <a:miter lim="400000"/>
          </a:ln>
        </p:spPr>
        <p:txBody>
          <a:bodyPr lIns="25400" tIns="25400" rIns="25400" bIns="25400" anchor="ctr"/>
          <a:lstStyle/>
          <a:p>
            <a:endParaRPr sz="900"/>
          </a:p>
        </p:txBody>
      </p:sp>
      <p:pic>
        <p:nvPicPr>
          <p:cNvPr id="9" name="Logo-ReMES.png" descr="Logo-ReMES.png">
            <a:extLst>
              <a:ext uri="{FF2B5EF4-FFF2-40B4-BE49-F238E27FC236}">
                <a16:creationId xmlns:a16="http://schemas.microsoft.com/office/drawing/2014/main" id="{E5485AB1-A227-4EDB-9891-6F42EF6ECF5D}"/>
              </a:ext>
            </a:extLst>
          </p:cNvPr>
          <p:cNvPicPr>
            <a:picLocks noChangeAspect="1"/>
          </p:cNvPicPr>
          <p:nvPr userDrawn="1"/>
        </p:nvPicPr>
        <p:blipFill>
          <a:blip r:embed="rId3"/>
          <a:stretch>
            <a:fillRect/>
          </a:stretch>
        </p:blipFill>
        <p:spPr>
          <a:xfrm>
            <a:off x="222482" y="16625"/>
            <a:ext cx="1415817" cy="1531867"/>
          </a:xfrm>
          <a:prstGeom prst="rect">
            <a:avLst/>
          </a:prstGeom>
          <a:ln w="12700">
            <a:miter lim="400000"/>
          </a:ln>
        </p:spPr>
      </p:pic>
    </p:spTree>
    <p:extLst>
      <p:ext uri="{BB962C8B-B14F-4D97-AF65-F5344CB8AC3E}">
        <p14:creationId xmlns:p14="http://schemas.microsoft.com/office/powerpoint/2010/main" val="3766437052"/>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4_Titre et puces">
    <p:spTree>
      <p:nvGrpSpPr>
        <p:cNvPr id="1" name=""/>
        <p:cNvGrpSpPr/>
        <p:nvPr/>
      </p:nvGrpSpPr>
      <p:grpSpPr>
        <a:xfrm>
          <a:off x="0" y="0"/>
          <a:ext cx="0" cy="0"/>
          <a:chOff x="0" y="0"/>
          <a:chExt cx="0" cy="0"/>
        </a:xfrm>
      </p:grpSpPr>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N°›</a:t>
            </a:fld>
            <a:endParaRPr/>
          </a:p>
        </p:txBody>
      </p:sp>
      <p:pic>
        <p:nvPicPr>
          <p:cNvPr id="18" name="Image 17">
            <a:extLst>
              <a:ext uri="{FF2B5EF4-FFF2-40B4-BE49-F238E27FC236}">
                <a16:creationId xmlns:a16="http://schemas.microsoft.com/office/drawing/2014/main" id="{E4A1E0FE-0AB3-1E4A-A0C8-7DF02EA6B5CC}"/>
              </a:ext>
            </a:extLst>
          </p:cNvPr>
          <p:cNvPicPr>
            <a:picLocks noChangeAspect="1"/>
          </p:cNvPicPr>
          <p:nvPr userDrawn="1"/>
        </p:nvPicPr>
        <p:blipFill>
          <a:blip r:embed="rId2"/>
          <a:stretch>
            <a:fillRect/>
          </a:stretch>
        </p:blipFill>
        <p:spPr>
          <a:xfrm>
            <a:off x="255787" y="6233160"/>
            <a:ext cx="737619" cy="574622"/>
          </a:xfrm>
          <a:prstGeom prst="rect">
            <a:avLst/>
          </a:prstGeom>
        </p:spPr>
      </p:pic>
    </p:spTree>
    <p:extLst>
      <p:ext uri="{BB962C8B-B14F-4D97-AF65-F5344CB8AC3E}">
        <p14:creationId xmlns:p14="http://schemas.microsoft.com/office/powerpoint/2010/main" val="449691294"/>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5_Titre et puces">
    <p:spTree>
      <p:nvGrpSpPr>
        <p:cNvPr id="1" name=""/>
        <p:cNvGrpSpPr/>
        <p:nvPr/>
      </p:nvGrpSpPr>
      <p:grpSpPr>
        <a:xfrm>
          <a:off x="0" y="0"/>
          <a:ext cx="0" cy="0"/>
          <a:chOff x="0" y="0"/>
          <a:chExt cx="0" cy="0"/>
        </a:xfrm>
      </p:grpSpPr>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N°›</a:t>
            </a:fld>
            <a:endParaRPr/>
          </a:p>
        </p:txBody>
      </p:sp>
      <p:pic>
        <p:nvPicPr>
          <p:cNvPr id="18" name="Image 17">
            <a:extLst>
              <a:ext uri="{FF2B5EF4-FFF2-40B4-BE49-F238E27FC236}">
                <a16:creationId xmlns:a16="http://schemas.microsoft.com/office/drawing/2014/main" id="{E4A1E0FE-0AB3-1E4A-A0C8-7DF02EA6B5CC}"/>
              </a:ext>
            </a:extLst>
          </p:cNvPr>
          <p:cNvPicPr>
            <a:picLocks noChangeAspect="1"/>
          </p:cNvPicPr>
          <p:nvPr userDrawn="1"/>
        </p:nvPicPr>
        <p:blipFill>
          <a:blip r:embed="rId2"/>
          <a:stretch>
            <a:fillRect/>
          </a:stretch>
        </p:blipFill>
        <p:spPr>
          <a:xfrm>
            <a:off x="255787" y="6233160"/>
            <a:ext cx="737619" cy="574622"/>
          </a:xfrm>
          <a:prstGeom prst="rect">
            <a:avLst/>
          </a:prstGeom>
        </p:spPr>
      </p:pic>
      <p:pic>
        <p:nvPicPr>
          <p:cNvPr id="9" name="Logo-ReMES.png" descr="Logo-ReMES.png">
            <a:extLst>
              <a:ext uri="{FF2B5EF4-FFF2-40B4-BE49-F238E27FC236}">
                <a16:creationId xmlns:a16="http://schemas.microsoft.com/office/drawing/2014/main" id="{BEC92112-7E05-4651-8DF2-940B6266A4F0}"/>
              </a:ext>
            </a:extLst>
          </p:cNvPr>
          <p:cNvPicPr>
            <a:picLocks noChangeAspect="1"/>
          </p:cNvPicPr>
          <p:nvPr userDrawn="1"/>
        </p:nvPicPr>
        <p:blipFill>
          <a:blip r:embed="rId3"/>
          <a:stretch>
            <a:fillRect/>
          </a:stretch>
        </p:blipFill>
        <p:spPr>
          <a:xfrm>
            <a:off x="222482" y="16625"/>
            <a:ext cx="1415817" cy="1531867"/>
          </a:xfrm>
          <a:prstGeom prst="rect">
            <a:avLst/>
          </a:prstGeom>
          <a:ln w="12700">
            <a:miter lim="400000"/>
          </a:ln>
        </p:spPr>
      </p:pic>
    </p:spTree>
    <p:extLst>
      <p:ext uri="{BB962C8B-B14F-4D97-AF65-F5344CB8AC3E}">
        <p14:creationId xmlns:p14="http://schemas.microsoft.com/office/powerpoint/2010/main" val="1198151175"/>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DAB550E-7396-4922-AC64-1AD1B665E456}"/>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D2818C2C-2062-498A-B5FE-DF11E404B33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B90EE76B-485F-4760-BEA2-5515C0F7674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79206AEC-D017-4BF1-9A14-A89F278578BD}"/>
              </a:ext>
            </a:extLst>
          </p:cNvPr>
          <p:cNvSpPr>
            <a:spLocks noGrp="1"/>
          </p:cNvSpPr>
          <p:nvPr>
            <p:ph type="dt" sz="half" idx="10"/>
          </p:nvPr>
        </p:nvSpPr>
        <p:spPr/>
        <p:txBody>
          <a:bodyPr/>
          <a:lstStyle/>
          <a:p>
            <a:fld id="{A2413034-B103-41D2-977A-32CF76459AF0}" type="datetimeFigureOut">
              <a:rPr lang="fr-FR" smtClean="0"/>
              <a:t>07/08/2024</a:t>
            </a:fld>
            <a:endParaRPr lang="fr-FR"/>
          </a:p>
        </p:txBody>
      </p:sp>
      <p:sp>
        <p:nvSpPr>
          <p:cNvPr id="6" name="Espace réservé du pied de page 5">
            <a:extLst>
              <a:ext uri="{FF2B5EF4-FFF2-40B4-BE49-F238E27FC236}">
                <a16:creationId xmlns:a16="http://schemas.microsoft.com/office/drawing/2014/main" id="{35475995-F746-4ECA-A3C9-27735CA6DA3A}"/>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68E95F4E-DA7D-4E44-8035-CCCDB09A6834}"/>
              </a:ext>
            </a:extLst>
          </p:cNvPr>
          <p:cNvSpPr>
            <a:spLocks noGrp="1"/>
          </p:cNvSpPr>
          <p:nvPr>
            <p:ph type="sldNum" sz="quarter" idx="12"/>
          </p:nvPr>
        </p:nvSpPr>
        <p:spPr/>
        <p:txBody>
          <a:bodyPr/>
          <a:lstStyle/>
          <a:p>
            <a:fld id="{1853D752-F3DA-47A2-A775-910B824E1582}" type="slidenum">
              <a:rPr lang="fr-FR" smtClean="0"/>
              <a:t>‹N°›</a:t>
            </a:fld>
            <a:endParaRPr lang="fr-FR"/>
          </a:p>
        </p:txBody>
      </p:sp>
    </p:spTree>
    <p:extLst>
      <p:ext uri="{BB962C8B-B14F-4D97-AF65-F5344CB8AC3E}">
        <p14:creationId xmlns:p14="http://schemas.microsoft.com/office/powerpoint/2010/main" val="142525006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Titre et puces">
    <p:spTree>
      <p:nvGrpSpPr>
        <p:cNvPr id="1" name=""/>
        <p:cNvGrpSpPr/>
        <p:nvPr/>
      </p:nvGrpSpPr>
      <p:grpSpPr>
        <a:xfrm>
          <a:off x="0" y="0"/>
          <a:ext cx="0" cy="0"/>
          <a:chOff x="0" y="0"/>
          <a:chExt cx="0" cy="0"/>
        </a:xfrm>
      </p:grpSpPr>
      <p:pic>
        <p:nvPicPr>
          <p:cNvPr id="40" name="MES-masque PPT3.jpg" descr="MES-masque PPT3.jpg"/>
          <p:cNvPicPr>
            <a:picLocks noChangeAspect="1"/>
          </p:cNvPicPr>
          <p:nvPr/>
        </p:nvPicPr>
        <p:blipFill rotWithShape="1">
          <a:blip r:embed="rId2"/>
          <a:srcRect b="18035"/>
          <a:stretch/>
        </p:blipFill>
        <p:spPr>
          <a:xfrm>
            <a:off x="-1" y="-13855"/>
            <a:ext cx="12192001" cy="1613733"/>
          </a:xfrm>
          <a:prstGeom prst="rect">
            <a:avLst/>
          </a:prstGeom>
          <a:ln w="12700">
            <a:miter lim="400000"/>
          </a:ln>
        </p:spPr>
      </p:pic>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N°›</a:t>
            </a:fld>
            <a:endParaRPr/>
          </a:p>
        </p:txBody>
      </p:sp>
      <p:pic>
        <p:nvPicPr>
          <p:cNvPr id="43" name="Logo-ReMES.png" descr="Logo-ReMES.png"/>
          <p:cNvPicPr>
            <a:picLocks noChangeAspect="1"/>
          </p:cNvPicPr>
          <p:nvPr/>
        </p:nvPicPr>
        <p:blipFill>
          <a:blip r:embed="rId3"/>
          <a:stretch>
            <a:fillRect/>
          </a:stretch>
        </p:blipFill>
        <p:spPr>
          <a:xfrm>
            <a:off x="222482" y="16625"/>
            <a:ext cx="1415817" cy="1531867"/>
          </a:xfrm>
          <a:prstGeom prst="rect">
            <a:avLst/>
          </a:prstGeom>
          <a:ln w="12700">
            <a:miter lim="400000"/>
          </a:ln>
        </p:spPr>
      </p:pic>
      <p:sp>
        <p:nvSpPr>
          <p:cNvPr id="45" name="Ligne"/>
          <p:cNvSpPr/>
          <p:nvPr/>
        </p:nvSpPr>
        <p:spPr>
          <a:xfrm>
            <a:off x="2318430" y="1153622"/>
            <a:ext cx="7224831" cy="1"/>
          </a:xfrm>
          <a:prstGeom prst="line">
            <a:avLst/>
          </a:prstGeom>
          <a:ln w="63500">
            <a:solidFill>
              <a:srgbClr val="005C9B"/>
            </a:solidFill>
            <a:miter lim="400000"/>
          </a:ln>
        </p:spPr>
        <p:txBody>
          <a:bodyPr lIns="25400" tIns="25400" rIns="25400" bIns="25400" anchor="ctr"/>
          <a:lstStyle/>
          <a:p>
            <a:endParaRPr sz="900"/>
          </a:p>
        </p:txBody>
      </p:sp>
      <p:sp>
        <p:nvSpPr>
          <p:cNvPr id="46" name="Ligne"/>
          <p:cNvSpPr/>
          <p:nvPr/>
        </p:nvSpPr>
        <p:spPr>
          <a:xfrm>
            <a:off x="9533395" y="1146312"/>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63500">
            <a:solidFill>
              <a:srgbClr val="005C9B"/>
            </a:solidFill>
            <a:miter lim="400000"/>
          </a:ln>
        </p:spPr>
        <p:txBody>
          <a:bodyPr lIns="25400" tIns="25400" rIns="25400" bIns="25400" anchor="ctr"/>
          <a:lstStyle/>
          <a:p>
            <a:pPr>
              <a:defRPr>
                <a:solidFill>
                  <a:srgbClr val="005C9B"/>
                </a:solidFill>
              </a:defRPr>
            </a:pPr>
            <a:endParaRPr sz="900"/>
          </a:p>
        </p:txBody>
      </p:sp>
      <p:sp>
        <p:nvSpPr>
          <p:cNvPr id="12" name="Titre 1">
            <a:extLst>
              <a:ext uri="{FF2B5EF4-FFF2-40B4-BE49-F238E27FC236}">
                <a16:creationId xmlns:a16="http://schemas.microsoft.com/office/drawing/2014/main" id="{D00C3AFE-F4E7-CE4A-AEA1-5618EB75DD74}"/>
              </a:ext>
            </a:extLst>
          </p:cNvPr>
          <p:cNvSpPr>
            <a:spLocks noGrp="1"/>
          </p:cNvSpPr>
          <p:nvPr>
            <p:ph type="title" hasCustomPrompt="1"/>
          </p:nvPr>
        </p:nvSpPr>
        <p:spPr>
          <a:xfrm>
            <a:off x="2313517" y="16625"/>
            <a:ext cx="6984241" cy="1133342"/>
          </a:xfrm>
        </p:spPr>
        <p:txBody>
          <a:bodyPr anchor="b"/>
          <a:lstStyle/>
          <a:p>
            <a:r>
              <a:rPr lang="fr-FR"/>
              <a:t>MODIFIEZ LE STYLE DU TITRE</a:t>
            </a:r>
          </a:p>
        </p:txBody>
      </p:sp>
      <p:sp>
        <p:nvSpPr>
          <p:cNvPr id="17" name="Ligne">
            <a:extLst>
              <a:ext uri="{FF2B5EF4-FFF2-40B4-BE49-F238E27FC236}">
                <a16:creationId xmlns:a16="http://schemas.microsoft.com/office/drawing/2014/main" id="{EEC26EF3-16DB-0049-9F50-E599677CA0A6}"/>
              </a:ext>
            </a:extLst>
          </p:cNvPr>
          <p:cNvSpPr/>
          <p:nvPr userDrawn="1"/>
        </p:nvSpPr>
        <p:spPr>
          <a:xfrm flipV="1">
            <a:off x="327103" y="6154495"/>
            <a:ext cx="11434174" cy="7148"/>
          </a:xfrm>
          <a:prstGeom prst="line">
            <a:avLst/>
          </a:prstGeom>
          <a:ln w="50800">
            <a:solidFill>
              <a:srgbClr val="005C9B"/>
            </a:solidFill>
            <a:miter lim="400000"/>
          </a:ln>
        </p:spPr>
        <p:txBody>
          <a:bodyPr lIns="25400" tIns="25400" rIns="25400" bIns="25400" anchor="ctr"/>
          <a:lstStyle/>
          <a:p>
            <a:endParaRPr sz="900"/>
          </a:p>
        </p:txBody>
      </p:sp>
      <p:pic>
        <p:nvPicPr>
          <p:cNvPr id="20" name="Image 19">
            <a:extLst>
              <a:ext uri="{FF2B5EF4-FFF2-40B4-BE49-F238E27FC236}">
                <a16:creationId xmlns:a16="http://schemas.microsoft.com/office/drawing/2014/main" id="{9B40E965-C296-F84D-A1C2-88449CB11A87}"/>
              </a:ext>
            </a:extLst>
          </p:cNvPr>
          <p:cNvPicPr>
            <a:picLocks noChangeAspect="1"/>
          </p:cNvPicPr>
          <p:nvPr userDrawn="1"/>
        </p:nvPicPr>
        <p:blipFill>
          <a:blip r:embed="rId4"/>
          <a:stretch>
            <a:fillRect/>
          </a:stretch>
        </p:blipFill>
        <p:spPr>
          <a:xfrm>
            <a:off x="255787" y="6233160"/>
            <a:ext cx="737619" cy="574622"/>
          </a:xfrm>
          <a:prstGeom prst="rect">
            <a:avLst/>
          </a:prstGeom>
        </p:spPr>
      </p:pic>
    </p:spTree>
    <p:extLst>
      <p:ext uri="{BB962C8B-B14F-4D97-AF65-F5344CB8AC3E}">
        <p14:creationId xmlns:p14="http://schemas.microsoft.com/office/powerpoint/2010/main" val="2325440795"/>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3_Titre et puces">
    <p:spTree>
      <p:nvGrpSpPr>
        <p:cNvPr id="1" name=""/>
        <p:cNvGrpSpPr/>
        <p:nvPr/>
      </p:nvGrpSpPr>
      <p:grpSpPr>
        <a:xfrm>
          <a:off x="0" y="0"/>
          <a:ext cx="0" cy="0"/>
          <a:chOff x="0" y="0"/>
          <a:chExt cx="0" cy="0"/>
        </a:xfrm>
      </p:grpSpPr>
      <p:pic>
        <p:nvPicPr>
          <p:cNvPr id="40" name="MES-masque PPT3.jpg" descr="MES-masque PPT3.jpg"/>
          <p:cNvPicPr>
            <a:picLocks noChangeAspect="1"/>
          </p:cNvPicPr>
          <p:nvPr/>
        </p:nvPicPr>
        <p:blipFill rotWithShape="1">
          <a:blip r:embed="rId2"/>
          <a:srcRect b="18035"/>
          <a:stretch/>
        </p:blipFill>
        <p:spPr>
          <a:xfrm>
            <a:off x="-1" y="-13855"/>
            <a:ext cx="12192001" cy="1613733"/>
          </a:xfrm>
          <a:prstGeom prst="rect">
            <a:avLst/>
          </a:prstGeom>
          <a:ln w="12700">
            <a:miter lim="400000"/>
          </a:ln>
        </p:spPr>
      </p:pic>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N°›</a:t>
            </a:fld>
            <a:endParaRPr/>
          </a:p>
        </p:txBody>
      </p:sp>
      <p:pic>
        <p:nvPicPr>
          <p:cNvPr id="43" name="Logo-ReMES.png" descr="Logo-ReMES.png"/>
          <p:cNvPicPr>
            <a:picLocks noChangeAspect="1"/>
          </p:cNvPicPr>
          <p:nvPr/>
        </p:nvPicPr>
        <p:blipFill>
          <a:blip r:embed="rId3"/>
          <a:stretch>
            <a:fillRect/>
          </a:stretch>
        </p:blipFill>
        <p:spPr>
          <a:xfrm>
            <a:off x="222482" y="16625"/>
            <a:ext cx="1415817" cy="1531867"/>
          </a:xfrm>
          <a:prstGeom prst="rect">
            <a:avLst/>
          </a:prstGeom>
          <a:ln w="12700">
            <a:miter lim="400000"/>
          </a:ln>
        </p:spPr>
      </p:pic>
      <p:sp>
        <p:nvSpPr>
          <p:cNvPr id="45" name="Ligne"/>
          <p:cNvSpPr/>
          <p:nvPr/>
        </p:nvSpPr>
        <p:spPr>
          <a:xfrm>
            <a:off x="2318430" y="1153622"/>
            <a:ext cx="7224831" cy="1"/>
          </a:xfrm>
          <a:prstGeom prst="line">
            <a:avLst/>
          </a:prstGeom>
          <a:ln w="63500">
            <a:solidFill>
              <a:srgbClr val="005C9B"/>
            </a:solidFill>
            <a:miter lim="400000"/>
          </a:ln>
        </p:spPr>
        <p:txBody>
          <a:bodyPr lIns="25400" tIns="25400" rIns="25400" bIns="25400" anchor="ctr"/>
          <a:lstStyle/>
          <a:p>
            <a:endParaRPr sz="900"/>
          </a:p>
        </p:txBody>
      </p:sp>
      <p:sp>
        <p:nvSpPr>
          <p:cNvPr id="46" name="Ligne"/>
          <p:cNvSpPr/>
          <p:nvPr/>
        </p:nvSpPr>
        <p:spPr>
          <a:xfrm>
            <a:off x="9533395" y="1146312"/>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63500">
            <a:solidFill>
              <a:srgbClr val="005C9B"/>
            </a:solidFill>
            <a:miter lim="400000"/>
          </a:ln>
        </p:spPr>
        <p:txBody>
          <a:bodyPr lIns="25400" tIns="25400" rIns="25400" bIns="25400" anchor="ctr"/>
          <a:lstStyle/>
          <a:p>
            <a:pPr>
              <a:defRPr>
                <a:solidFill>
                  <a:srgbClr val="005C9B"/>
                </a:solidFill>
              </a:defRPr>
            </a:pPr>
            <a:endParaRPr sz="900"/>
          </a:p>
        </p:txBody>
      </p:sp>
      <p:sp>
        <p:nvSpPr>
          <p:cNvPr id="12" name="Titre 1">
            <a:extLst>
              <a:ext uri="{FF2B5EF4-FFF2-40B4-BE49-F238E27FC236}">
                <a16:creationId xmlns:a16="http://schemas.microsoft.com/office/drawing/2014/main" id="{D00C3AFE-F4E7-CE4A-AEA1-5618EB75DD74}"/>
              </a:ext>
            </a:extLst>
          </p:cNvPr>
          <p:cNvSpPr>
            <a:spLocks noGrp="1"/>
          </p:cNvSpPr>
          <p:nvPr>
            <p:ph type="title" hasCustomPrompt="1"/>
          </p:nvPr>
        </p:nvSpPr>
        <p:spPr>
          <a:xfrm>
            <a:off x="2313517" y="16625"/>
            <a:ext cx="6984241" cy="1133342"/>
          </a:xfrm>
        </p:spPr>
        <p:txBody>
          <a:bodyPr anchor="b"/>
          <a:lstStyle/>
          <a:p>
            <a:r>
              <a:rPr lang="fr-FR"/>
              <a:t>MODIFIEZ LE STYLE DU TITRE</a:t>
            </a:r>
          </a:p>
        </p:txBody>
      </p:sp>
      <p:pic>
        <p:nvPicPr>
          <p:cNvPr id="20" name="Image 19">
            <a:extLst>
              <a:ext uri="{FF2B5EF4-FFF2-40B4-BE49-F238E27FC236}">
                <a16:creationId xmlns:a16="http://schemas.microsoft.com/office/drawing/2014/main" id="{9B40E965-C296-F84D-A1C2-88449CB11A87}"/>
              </a:ext>
            </a:extLst>
          </p:cNvPr>
          <p:cNvPicPr>
            <a:picLocks noChangeAspect="1"/>
          </p:cNvPicPr>
          <p:nvPr userDrawn="1"/>
        </p:nvPicPr>
        <p:blipFill>
          <a:blip r:embed="rId4"/>
          <a:stretch>
            <a:fillRect/>
          </a:stretch>
        </p:blipFill>
        <p:spPr>
          <a:xfrm>
            <a:off x="255787" y="6233160"/>
            <a:ext cx="737619" cy="574622"/>
          </a:xfrm>
          <a:prstGeom prst="rect">
            <a:avLst/>
          </a:prstGeom>
        </p:spPr>
      </p:pic>
    </p:spTree>
    <p:extLst>
      <p:ext uri="{BB962C8B-B14F-4D97-AF65-F5344CB8AC3E}">
        <p14:creationId xmlns:p14="http://schemas.microsoft.com/office/powerpoint/2010/main" val="2925125085"/>
      </p:ext>
    </p:extLst>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Vierge">
    <p:spTree>
      <p:nvGrpSpPr>
        <p:cNvPr id="1" name=""/>
        <p:cNvGrpSpPr/>
        <p:nvPr/>
      </p:nvGrpSpPr>
      <p:grpSpPr>
        <a:xfrm>
          <a:off x="0" y="0"/>
          <a:ext cx="0" cy="0"/>
          <a:chOff x="0" y="0"/>
          <a:chExt cx="0" cy="0"/>
        </a:xfrm>
      </p:grpSpPr>
      <p:pic>
        <p:nvPicPr>
          <p:cNvPr id="18" name="MES-masque PPT2.jpg" descr="MES-masque PPT2.jpg">
            <a:extLst>
              <a:ext uri="{FF2B5EF4-FFF2-40B4-BE49-F238E27FC236}">
                <a16:creationId xmlns:a16="http://schemas.microsoft.com/office/drawing/2014/main" id="{9D85E3DD-9BFB-A842-8C58-B6B0A0C699A4}"/>
              </a:ext>
            </a:extLst>
          </p:cNvPr>
          <p:cNvPicPr>
            <a:picLocks noChangeAspect="1"/>
          </p:cNvPicPr>
          <p:nvPr userDrawn="1"/>
        </p:nvPicPr>
        <p:blipFill>
          <a:blip r:embed="rId2"/>
          <a:stretch>
            <a:fillRect/>
          </a:stretch>
        </p:blipFill>
        <p:spPr>
          <a:xfrm>
            <a:off x="-1" y="-1354"/>
            <a:ext cx="12192001" cy="6196413"/>
          </a:xfrm>
          <a:prstGeom prst="rect">
            <a:avLst/>
          </a:prstGeom>
          <a:ln w="12700">
            <a:miter lim="400000"/>
          </a:ln>
        </p:spPr>
      </p:pic>
      <p:sp>
        <p:nvSpPr>
          <p:cNvPr id="4" name="Numéro de diapositive">
            <a:extLst>
              <a:ext uri="{FF2B5EF4-FFF2-40B4-BE49-F238E27FC236}">
                <a16:creationId xmlns:a16="http://schemas.microsoft.com/office/drawing/2014/main" id="{3DD48768-1DAF-9745-9152-FA78A48B27BD}"/>
              </a:ext>
            </a:extLst>
          </p:cNvPr>
          <p:cNvSpPr txBox="1">
            <a:spLocks/>
          </p:cNvSpPr>
          <p:nvPr userDrawn="1"/>
        </p:nvSpPr>
        <p:spPr>
          <a:xfrm>
            <a:off x="11626833" y="6340658"/>
            <a:ext cx="309380" cy="241092"/>
          </a:xfrm>
          <a:prstGeom prst="rect">
            <a:avLst/>
          </a:prstGeom>
          <a:ln w="12700">
            <a:miter lim="400000"/>
          </a:ln>
        </p:spPr>
        <p:txBody>
          <a:bodyPr wrap="none" lIns="50800" tIns="50800" rIns="50800" bIns="50800" anchor="b">
            <a:spAutoFit/>
          </a:bodyPr>
          <a:lstStyle>
            <a:defPPr>
              <a:defRPr lang="fr-FR"/>
            </a:defPPr>
            <a:lvl1pPr marL="0" algn="l" defTabSz="292100" rtl="0" eaLnBrk="1" latinLnBrk="0" hangingPunct="1">
              <a:defRPr sz="900" kern="1200">
                <a:solidFill>
                  <a:srgbClr val="DB3080"/>
                </a:solidFill>
                <a:latin typeface="+mj-lt"/>
                <a:ea typeface="+mj-ea"/>
                <a:cs typeface="+mj-cs"/>
                <a:sym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fr-FR" smtClean="0"/>
              <a:pPr/>
              <a:t>‹N°›</a:t>
            </a:fld>
            <a:endParaRPr lang="fr-FR"/>
          </a:p>
        </p:txBody>
      </p:sp>
      <p:sp>
        <p:nvSpPr>
          <p:cNvPr id="5" name="Ligne">
            <a:extLst>
              <a:ext uri="{FF2B5EF4-FFF2-40B4-BE49-F238E27FC236}">
                <a16:creationId xmlns:a16="http://schemas.microsoft.com/office/drawing/2014/main" id="{B204E05A-E282-2945-B2CF-94B0A7B24C53}"/>
              </a:ext>
            </a:extLst>
          </p:cNvPr>
          <p:cNvSpPr/>
          <p:nvPr userDrawn="1"/>
        </p:nvSpPr>
        <p:spPr>
          <a:xfrm>
            <a:off x="3442403" y="4737753"/>
            <a:ext cx="6106157" cy="1"/>
          </a:xfrm>
          <a:prstGeom prst="line">
            <a:avLst/>
          </a:prstGeom>
          <a:ln w="101600">
            <a:solidFill>
              <a:srgbClr val="005C9B"/>
            </a:solidFill>
            <a:miter lim="400000"/>
          </a:ln>
        </p:spPr>
        <p:txBody>
          <a:bodyPr lIns="25400" tIns="25400" rIns="25400" bIns="25400" anchor="ctr"/>
          <a:lstStyle/>
          <a:p>
            <a:endParaRPr sz="900"/>
          </a:p>
        </p:txBody>
      </p:sp>
      <p:sp>
        <p:nvSpPr>
          <p:cNvPr id="6" name="Ligne">
            <a:extLst>
              <a:ext uri="{FF2B5EF4-FFF2-40B4-BE49-F238E27FC236}">
                <a16:creationId xmlns:a16="http://schemas.microsoft.com/office/drawing/2014/main" id="{AD57DF94-146D-7B42-8BBB-DA85D3E8177E}"/>
              </a:ext>
            </a:extLst>
          </p:cNvPr>
          <p:cNvSpPr/>
          <p:nvPr userDrawn="1"/>
        </p:nvSpPr>
        <p:spPr>
          <a:xfrm>
            <a:off x="9538695" y="4730444"/>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101600">
            <a:solidFill>
              <a:srgbClr val="005C9B"/>
            </a:solidFill>
            <a:miter lim="400000"/>
          </a:ln>
        </p:spPr>
        <p:txBody>
          <a:bodyPr lIns="25400" tIns="25400" rIns="25400" bIns="25400" anchor="ctr"/>
          <a:lstStyle/>
          <a:p>
            <a:pPr>
              <a:defRPr>
                <a:solidFill>
                  <a:srgbClr val="005C9B"/>
                </a:solidFill>
              </a:defRPr>
            </a:pPr>
            <a:endParaRPr sz="900"/>
          </a:p>
        </p:txBody>
      </p:sp>
      <p:pic>
        <p:nvPicPr>
          <p:cNvPr id="7" name="Logo-ReMES.png" descr="Logo-ReMES.png">
            <a:extLst>
              <a:ext uri="{FF2B5EF4-FFF2-40B4-BE49-F238E27FC236}">
                <a16:creationId xmlns:a16="http://schemas.microsoft.com/office/drawing/2014/main" id="{A0710F5B-F91A-F643-B997-C9D2C9477555}"/>
              </a:ext>
            </a:extLst>
          </p:cNvPr>
          <p:cNvPicPr>
            <a:picLocks noChangeAspect="1"/>
          </p:cNvPicPr>
          <p:nvPr userDrawn="1"/>
        </p:nvPicPr>
        <p:blipFill>
          <a:blip r:embed="rId3"/>
          <a:stretch>
            <a:fillRect/>
          </a:stretch>
        </p:blipFill>
        <p:spPr>
          <a:xfrm>
            <a:off x="367659" y="362603"/>
            <a:ext cx="2707085" cy="2928978"/>
          </a:xfrm>
          <a:prstGeom prst="rect">
            <a:avLst/>
          </a:prstGeom>
          <a:ln w="12700">
            <a:miter lim="400000"/>
          </a:ln>
        </p:spPr>
      </p:pic>
      <p:sp>
        <p:nvSpPr>
          <p:cNvPr id="9" name="Titre de la présentation">
            <a:extLst>
              <a:ext uri="{FF2B5EF4-FFF2-40B4-BE49-F238E27FC236}">
                <a16:creationId xmlns:a16="http://schemas.microsoft.com/office/drawing/2014/main" id="{DFFB3011-F3C8-B848-B232-BFB5F7BBA78D}"/>
              </a:ext>
            </a:extLst>
          </p:cNvPr>
          <p:cNvSpPr txBox="1">
            <a:spLocks noGrp="1"/>
          </p:cNvSpPr>
          <p:nvPr>
            <p:ph type="title" hasCustomPrompt="1"/>
          </p:nvPr>
        </p:nvSpPr>
        <p:spPr>
          <a:xfrm>
            <a:off x="3442403" y="1713281"/>
            <a:ext cx="6266062" cy="23241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b">
            <a:normAutofit/>
          </a:bodyPr>
          <a:lstStyle/>
          <a:p>
            <a:r>
              <a:rPr err="1"/>
              <a:t>Titre</a:t>
            </a:r>
            <a:r>
              <a:t> de la </a:t>
            </a:r>
            <a:r>
              <a:rPr err="1"/>
              <a:t>présentation</a:t>
            </a:r>
            <a:endParaRPr/>
          </a:p>
        </p:txBody>
      </p:sp>
      <p:sp>
        <p:nvSpPr>
          <p:cNvPr id="10" name="Texte niveau 1…">
            <a:extLst>
              <a:ext uri="{FF2B5EF4-FFF2-40B4-BE49-F238E27FC236}">
                <a16:creationId xmlns:a16="http://schemas.microsoft.com/office/drawing/2014/main" id="{A0D0F5D2-F873-674C-9AE6-AEB49A6857DA}"/>
              </a:ext>
            </a:extLst>
          </p:cNvPr>
          <p:cNvSpPr txBox="1">
            <a:spLocks noGrp="1"/>
          </p:cNvSpPr>
          <p:nvPr>
            <p:ph idx="1" hasCustomPrompt="1"/>
          </p:nvPr>
        </p:nvSpPr>
        <p:spPr>
          <a:xfrm>
            <a:off x="3442403" y="3955885"/>
            <a:ext cx="6266062" cy="70395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ormAutofit/>
          </a:bodyPr>
          <a:lstStyle/>
          <a:p>
            <a:r>
              <a:t>Sous-</a:t>
            </a:r>
            <a:r>
              <a:rPr err="1"/>
              <a:t>titre</a:t>
            </a:r>
            <a:r>
              <a:t> de la </a:t>
            </a:r>
            <a:r>
              <a:rPr err="1"/>
              <a:t>présentation</a:t>
            </a:r>
            <a:endParaRPr/>
          </a:p>
          <a:p>
            <a:pPr lvl="1"/>
            <a:endParaRPr/>
          </a:p>
          <a:p>
            <a:pPr lvl="2"/>
            <a:endParaRPr/>
          </a:p>
          <a:p>
            <a:pPr lvl="3"/>
            <a:endParaRPr/>
          </a:p>
          <a:p>
            <a:pPr lvl="4"/>
            <a:endParaRPr/>
          </a:p>
        </p:txBody>
      </p:sp>
      <p:pic>
        <p:nvPicPr>
          <p:cNvPr id="17" name="Image 16">
            <a:extLst>
              <a:ext uri="{FF2B5EF4-FFF2-40B4-BE49-F238E27FC236}">
                <a16:creationId xmlns:a16="http://schemas.microsoft.com/office/drawing/2014/main" id="{E6B06AC1-B997-6E41-852D-06E90637F9CA}"/>
              </a:ext>
            </a:extLst>
          </p:cNvPr>
          <p:cNvPicPr>
            <a:picLocks noChangeAspect="1"/>
          </p:cNvPicPr>
          <p:nvPr userDrawn="1"/>
        </p:nvPicPr>
        <p:blipFill>
          <a:blip r:embed="rId4"/>
          <a:stretch>
            <a:fillRect/>
          </a:stretch>
        </p:blipFill>
        <p:spPr>
          <a:xfrm>
            <a:off x="255787" y="6233160"/>
            <a:ext cx="737619" cy="574622"/>
          </a:xfrm>
          <a:prstGeom prst="rect">
            <a:avLst/>
          </a:prstGeom>
        </p:spPr>
      </p:pic>
    </p:spTree>
    <p:extLst>
      <p:ext uri="{BB962C8B-B14F-4D97-AF65-F5344CB8AC3E}">
        <p14:creationId xmlns:p14="http://schemas.microsoft.com/office/powerpoint/2010/main" val="3288426983"/>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333238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3D975-F15A-490C-9C68-52B899A4D7AC}"/>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516380" y="198166"/>
            <a:ext cx="10120883" cy="384721"/>
          </a:xfrm>
        </p:spPr>
        <p:txBody>
          <a:bodyPr vert="horz" wrap="square" lIns="0" tIns="0" rIns="0" bIns="0" rtlCol="0" anchor="t" anchorCtr="0">
            <a:noAutofit/>
          </a:bodyPr>
          <a:lstStyle>
            <a:lvl1pPr>
              <a:defRPr lang="en-US" dirty="0"/>
            </a:lvl1pPr>
          </a:lstStyle>
          <a:p>
            <a:pPr lvl="0"/>
            <a:r>
              <a:rPr lang="fr-FR"/>
              <a:t>Click to </a:t>
            </a:r>
            <a:r>
              <a:rPr lang="fr-FR" err="1"/>
              <a:t>edit</a:t>
            </a:r>
            <a:r>
              <a:rPr lang="fr-FR"/>
              <a:t> Master </a:t>
            </a:r>
            <a:r>
              <a:rPr lang="fr-FR" err="1"/>
              <a:t>title</a:t>
            </a:r>
            <a:r>
              <a:rPr lang="fr-FR"/>
              <a:t>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1516380" y="599001"/>
            <a:ext cx="10120883" cy="276999"/>
          </a:xfrm>
          <a:prstGeom prst="rect">
            <a:avLst/>
          </a:prstGeom>
        </p:spPr>
        <p:txBody>
          <a:bodyPr vert="horz" wrap="square" lIns="0" tIns="0" rIns="0" bIns="0" rtlCol="0">
            <a:noAutofit/>
          </a:bodyPr>
          <a:lstStyle>
            <a:lvl1pPr>
              <a:defRPr lang="en-US" sz="1800" b="0" dirty="0"/>
            </a:lvl1pPr>
          </a:lstStyle>
          <a:p>
            <a:pPr lvl="0">
              <a:buNone/>
            </a:pPr>
            <a:r>
              <a:rPr lang="fr-FR"/>
              <a:t>Click to </a:t>
            </a:r>
            <a:r>
              <a:rPr lang="fr-FR" err="1"/>
              <a:t>edit</a:t>
            </a:r>
            <a:r>
              <a:rPr lang="fr-FR"/>
              <a:t> Master </a:t>
            </a:r>
            <a:r>
              <a:rPr lang="fr-FR" err="1"/>
              <a:t>subtitle</a:t>
            </a:r>
            <a:r>
              <a:rPr lang="fr-FR"/>
              <a:t>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1516380"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err="1"/>
              <a:t>Add</a:t>
            </a:r>
            <a:r>
              <a:rPr lang="fr-FR"/>
              <a:t> tracker</a:t>
            </a:r>
          </a:p>
        </p:txBody>
      </p:sp>
      <p:sp>
        <p:nvSpPr>
          <p:cNvPr id="13" name="Espace réservé de la date 3">
            <a:extLst>
              <a:ext uri="{FF2B5EF4-FFF2-40B4-BE49-F238E27FC236}">
                <a16:creationId xmlns:a16="http://schemas.microsoft.com/office/drawing/2014/main" id="{E717AE98-9C20-485D-AAB2-4384AD4AE609}"/>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00C643F6-0E6A-4F40-BCCD-F79CBF4548CA}" type="datetime1">
              <a:rPr lang="fr-FR" cap="all" smtClean="0"/>
              <a:t>07/08/2024</a:t>
            </a:fld>
            <a:endParaRPr lang="fr-FR" cap="all"/>
          </a:p>
        </p:txBody>
      </p:sp>
    </p:spTree>
    <p:extLst>
      <p:ext uri="{BB962C8B-B14F-4D97-AF65-F5344CB8AC3E}">
        <p14:creationId xmlns:p14="http://schemas.microsoft.com/office/powerpoint/2010/main" val="97313880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995241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exte">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p:txBody>
          <a:bodyPr/>
          <a:lstStyle/>
          <a:p>
            <a:r>
              <a:rPr lang="fr-FR"/>
              <a:t>Cliquez pour ajouter un titre</a:t>
            </a:r>
          </a:p>
        </p:txBody>
      </p:sp>
    </p:spTree>
    <p:extLst>
      <p:ext uri="{BB962C8B-B14F-4D97-AF65-F5344CB8AC3E}">
        <p14:creationId xmlns:p14="http://schemas.microsoft.com/office/powerpoint/2010/main" val="151057144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F60FD6-B3E0-456C-A33A-336D81F2AC3C}"/>
              </a:ext>
            </a:extLst>
          </p:cNvPr>
          <p:cNvSpPr>
            <a:spLocks noGrp="1"/>
          </p:cNvSpPr>
          <p:nvPr>
            <p:ph type="title"/>
          </p:nvPr>
        </p:nvSpPr>
        <p:spPr>
          <a:xfrm>
            <a:off x="1125233" y="-5162"/>
            <a:ext cx="9792000" cy="1202265"/>
          </a:xfrm>
        </p:spPr>
        <p:txBody>
          <a:bodyPr>
            <a:normAutofit/>
          </a:bodyPr>
          <a:lstStyle>
            <a:lvl1pPr>
              <a:defRPr sz="3200">
                <a:solidFill>
                  <a:schemeClr val="tx1"/>
                </a:solidFill>
              </a:defRPr>
            </a:lvl1pPr>
          </a:lstStyle>
          <a:p>
            <a:r>
              <a:rPr lang="en-US"/>
              <a:t>Click to edit Master title style</a:t>
            </a:r>
            <a:endParaRPr lang="fr-FR"/>
          </a:p>
        </p:txBody>
      </p:sp>
      <p:sp>
        <p:nvSpPr>
          <p:cNvPr id="3" name="Content Placeholder 2">
            <a:extLst>
              <a:ext uri="{FF2B5EF4-FFF2-40B4-BE49-F238E27FC236}">
                <a16:creationId xmlns:a16="http://schemas.microsoft.com/office/drawing/2014/main" id="{8AED593F-FF7E-474F-A710-0BD78865740E}"/>
              </a:ext>
            </a:extLst>
          </p:cNvPr>
          <p:cNvSpPr>
            <a:spLocks noGrp="1"/>
          </p:cNvSpPr>
          <p:nvPr>
            <p:ph idx="1"/>
          </p:nvPr>
        </p:nvSpPr>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a:extLst>
              <a:ext uri="{FF2B5EF4-FFF2-40B4-BE49-F238E27FC236}">
                <a16:creationId xmlns:a16="http://schemas.microsoft.com/office/drawing/2014/main" id="{C75B8733-0FF9-4636-9CD9-E30CC338E91D}"/>
              </a:ext>
            </a:extLst>
          </p:cNvPr>
          <p:cNvSpPr>
            <a:spLocks noGrp="1"/>
          </p:cNvSpPr>
          <p:nvPr>
            <p:ph type="dt" sz="half" idx="10"/>
          </p:nvPr>
        </p:nvSpPr>
        <p:spPr/>
        <p:txBody>
          <a:bodyPr/>
          <a:lstStyle/>
          <a:p>
            <a:endParaRPr lang="fr-FR"/>
          </a:p>
        </p:txBody>
      </p:sp>
      <p:sp>
        <p:nvSpPr>
          <p:cNvPr id="5" name="Footer Placeholder 4">
            <a:extLst>
              <a:ext uri="{FF2B5EF4-FFF2-40B4-BE49-F238E27FC236}">
                <a16:creationId xmlns:a16="http://schemas.microsoft.com/office/drawing/2014/main" id="{6826F6CE-F4DF-4F0C-B644-B94261FBC958}"/>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1CB01409-D997-4ADD-9EE9-130F14A3B495}"/>
              </a:ext>
            </a:extLst>
          </p:cNvPr>
          <p:cNvSpPr>
            <a:spLocks noGrp="1"/>
          </p:cNvSpPr>
          <p:nvPr>
            <p:ph type="sldNum" sz="quarter" idx="12"/>
          </p:nvPr>
        </p:nvSpPr>
        <p:spPr>
          <a:xfrm>
            <a:off x="11526249" y="6340658"/>
            <a:ext cx="243656" cy="241092"/>
          </a:xfrm>
        </p:spPr>
        <p:txBody>
          <a:bodyPr/>
          <a:lstStyle/>
          <a:p>
            <a:fld id="{71980B9D-A5C5-4BCD-9E1B-9F9D6979ADA9}" type="slidenum">
              <a:rPr lang="fr-FR" smtClean="0"/>
              <a:t>‹N°›</a:t>
            </a:fld>
            <a:endParaRPr lang="fr-FR"/>
          </a:p>
        </p:txBody>
      </p:sp>
    </p:spTree>
    <p:extLst>
      <p:ext uri="{BB962C8B-B14F-4D97-AF65-F5344CB8AC3E}">
        <p14:creationId xmlns:p14="http://schemas.microsoft.com/office/powerpoint/2010/main" val="338989511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BCF3B943-80A1-4E09-AFBA-4C7EDC0AD2BD}"/>
              </a:ext>
            </a:extLst>
          </p:cNvPr>
          <p:cNvSpPr>
            <a:spLocks noGrp="1"/>
          </p:cNvSpPr>
          <p:nvPr>
            <p:ph type="body" sz="quarter" idx="16"/>
          </p:nvPr>
        </p:nvSpPr>
        <p:spPr>
          <a:xfrm>
            <a:off x="1273095" y="2087565"/>
            <a:ext cx="10422019" cy="3767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p:txBody>
          <a:bodyPr/>
          <a:lstStyle/>
          <a:p>
            <a:r>
              <a:rPr lang="fr-FR"/>
              <a:t>Cliquez pour ajouter un titre</a:t>
            </a:r>
          </a:p>
        </p:txBody>
      </p:sp>
    </p:spTree>
    <p:extLst>
      <p:ext uri="{BB962C8B-B14F-4D97-AF65-F5344CB8AC3E}">
        <p14:creationId xmlns:p14="http://schemas.microsoft.com/office/powerpoint/2010/main" val="366563671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8_Titre et puces">
    <p:spTree>
      <p:nvGrpSpPr>
        <p:cNvPr id="1" name=""/>
        <p:cNvGrpSpPr/>
        <p:nvPr/>
      </p:nvGrpSpPr>
      <p:grpSpPr>
        <a:xfrm>
          <a:off x="0" y="0"/>
          <a:ext cx="0" cy="0"/>
          <a:chOff x="0" y="0"/>
          <a:chExt cx="0" cy="0"/>
        </a:xfrm>
      </p:grpSpPr>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N°›</a:t>
            </a:fld>
            <a:endParaRPr/>
          </a:p>
        </p:txBody>
      </p:sp>
      <p:pic>
        <p:nvPicPr>
          <p:cNvPr id="18" name="Image 17">
            <a:extLst>
              <a:ext uri="{FF2B5EF4-FFF2-40B4-BE49-F238E27FC236}">
                <a16:creationId xmlns:a16="http://schemas.microsoft.com/office/drawing/2014/main" id="{E4A1E0FE-0AB3-1E4A-A0C8-7DF02EA6B5CC}"/>
              </a:ext>
            </a:extLst>
          </p:cNvPr>
          <p:cNvPicPr>
            <a:picLocks noChangeAspect="1"/>
          </p:cNvPicPr>
          <p:nvPr userDrawn="1"/>
        </p:nvPicPr>
        <p:blipFill>
          <a:blip r:embed="rId2"/>
          <a:stretch>
            <a:fillRect/>
          </a:stretch>
        </p:blipFill>
        <p:spPr>
          <a:xfrm>
            <a:off x="255787" y="6233160"/>
            <a:ext cx="737619" cy="574622"/>
          </a:xfrm>
          <a:prstGeom prst="rect">
            <a:avLst/>
          </a:prstGeom>
        </p:spPr>
      </p:pic>
      <p:sp>
        <p:nvSpPr>
          <p:cNvPr id="8" name="Auteur et date">
            <a:extLst>
              <a:ext uri="{FF2B5EF4-FFF2-40B4-BE49-F238E27FC236}">
                <a16:creationId xmlns:a16="http://schemas.microsoft.com/office/drawing/2014/main" id="{E9814A38-F43C-6641-9359-555D391D98F8}"/>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Formation coordinateur régional MES</a:t>
            </a:r>
          </a:p>
        </p:txBody>
      </p:sp>
      <p:sp>
        <p:nvSpPr>
          <p:cNvPr id="4" name="Title 3">
            <a:extLst>
              <a:ext uri="{FF2B5EF4-FFF2-40B4-BE49-F238E27FC236}">
                <a16:creationId xmlns:a16="http://schemas.microsoft.com/office/drawing/2014/main" id="{7B008386-3309-413E-88CE-C2AD9AB236FA}"/>
              </a:ext>
            </a:extLst>
          </p:cNvPr>
          <p:cNvSpPr>
            <a:spLocks noGrp="1"/>
          </p:cNvSpPr>
          <p:nvPr>
            <p:ph type="title"/>
          </p:nvPr>
        </p:nvSpPr>
        <p:spPr>
          <a:xfrm>
            <a:off x="255599" y="255600"/>
            <a:ext cx="11242266" cy="644908"/>
          </a:xfrm>
        </p:spPr>
        <p:txBody>
          <a:bodyPr anchor="ctr">
            <a:normAutofit/>
          </a:bodyPr>
          <a:lstStyle>
            <a:lvl1pPr>
              <a:defRPr sz="2800"/>
            </a:lvl1pPr>
          </a:lstStyle>
          <a:p>
            <a:r>
              <a:rPr lang="en-US"/>
              <a:t>Click to edit Master title style</a:t>
            </a:r>
            <a:endParaRPr lang="fr-FR"/>
          </a:p>
        </p:txBody>
      </p:sp>
    </p:spTree>
    <p:extLst>
      <p:ext uri="{BB962C8B-B14F-4D97-AF65-F5344CB8AC3E}">
        <p14:creationId xmlns:p14="http://schemas.microsoft.com/office/powerpoint/2010/main" val="3533820167"/>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matchingName="7_Titre et puces">
  <p:cSld name="7_Titre et puces">
    <p:spTree>
      <p:nvGrpSpPr>
        <p:cNvPr id="1" name="Shape 24"/>
        <p:cNvGrpSpPr/>
        <p:nvPr/>
      </p:nvGrpSpPr>
      <p:grpSpPr>
        <a:xfrm>
          <a:off x="0" y="0"/>
          <a:ext cx="0" cy="0"/>
          <a:chOff x="0" y="0"/>
          <a:chExt cx="0" cy="0"/>
        </a:xfrm>
      </p:grpSpPr>
      <p:sp>
        <p:nvSpPr>
          <p:cNvPr id="25" name="Google Shape;25;p3"/>
          <p:cNvSpPr txBox="1">
            <a:spLocks noGrp="1"/>
          </p:cNvSpPr>
          <p:nvPr>
            <p:ph type="sldNum" idx="12"/>
          </p:nvPr>
        </p:nvSpPr>
        <p:spPr>
          <a:xfrm>
            <a:off x="11620482" y="6344103"/>
            <a:ext cx="309380" cy="241092"/>
          </a:xfrm>
          <a:prstGeom prst="rect">
            <a:avLst/>
          </a:prstGeom>
          <a:noFill/>
          <a:ln>
            <a:noFill/>
          </a:ln>
        </p:spPr>
        <p:txBody>
          <a:bodyPr spcFirstLastPara="1" wrap="square" lIns="50800" tIns="50800" rIns="50800" bIns="50800" anchor="b" anchorCtr="0">
            <a:spAutoFit/>
          </a:bodyPr>
          <a:lstStyle>
            <a:lvl1pPr marL="0" lvl="0" indent="0" algn="l">
              <a:spcBef>
                <a:spcPts val="0"/>
              </a:spcBef>
              <a:buNone/>
              <a:defRPr sz="900">
                <a:solidFill>
                  <a:srgbClr val="DB3080"/>
                </a:solidFill>
                <a:latin typeface="Arial"/>
                <a:ea typeface="Arial"/>
                <a:cs typeface="Arial"/>
                <a:sym typeface="Arial"/>
              </a:defRPr>
            </a:lvl1pPr>
            <a:lvl2pPr marL="0" lvl="1" indent="0" algn="l">
              <a:spcBef>
                <a:spcPts val="0"/>
              </a:spcBef>
              <a:buNone/>
              <a:defRPr sz="900">
                <a:solidFill>
                  <a:srgbClr val="DB3080"/>
                </a:solidFill>
                <a:latin typeface="Arial"/>
                <a:ea typeface="Arial"/>
                <a:cs typeface="Arial"/>
                <a:sym typeface="Arial"/>
              </a:defRPr>
            </a:lvl2pPr>
            <a:lvl3pPr marL="0" lvl="2" indent="0" algn="l">
              <a:spcBef>
                <a:spcPts val="0"/>
              </a:spcBef>
              <a:buNone/>
              <a:defRPr sz="900">
                <a:solidFill>
                  <a:srgbClr val="DB3080"/>
                </a:solidFill>
                <a:latin typeface="Arial"/>
                <a:ea typeface="Arial"/>
                <a:cs typeface="Arial"/>
                <a:sym typeface="Arial"/>
              </a:defRPr>
            </a:lvl3pPr>
            <a:lvl4pPr marL="0" lvl="3" indent="0" algn="l">
              <a:spcBef>
                <a:spcPts val="0"/>
              </a:spcBef>
              <a:buNone/>
              <a:defRPr sz="900">
                <a:solidFill>
                  <a:srgbClr val="DB3080"/>
                </a:solidFill>
                <a:latin typeface="Arial"/>
                <a:ea typeface="Arial"/>
                <a:cs typeface="Arial"/>
                <a:sym typeface="Arial"/>
              </a:defRPr>
            </a:lvl4pPr>
            <a:lvl5pPr marL="0" lvl="4" indent="0" algn="l">
              <a:spcBef>
                <a:spcPts val="0"/>
              </a:spcBef>
              <a:buNone/>
              <a:defRPr sz="900">
                <a:solidFill>
                  <a:srgbClr val="DB3080"/>
                </a:solidFill>
                <a:latin typeface="Arial"/>
                <a:ea typeface="Arial"/>
                <a:cs typeface="Arial"/>
                <a:sym typeface="Arial"/>
              </a:defRPr>
            </a:lvl5pPr>
            <a:lvl6pPr marL="0" lvl="5" indent="0" algn="l">
              <a:spcBef>
                <a:spcPts val="0"/>
              </a:spcBef>
              <a:buNone/>
              <a:defRPr sz="900">
                <a:solidFill>
                  <a:srgbClr val="DB3080"/>
                </a:solidFill>
                <a:latin typeface="Arial"/>
                <a:ea typeface="Arial"/>
                <a:cs typeface="Arial"/>
                <a:sym typeface="Arial"/>
              </a:defRPr>
            </a:lvl6pPr>
            <a:lvl7pPr marL="0" lvl="6" indent="0" algn="l">
              <a:spcBef>
                <a:spcPts val="0"/>
              </a:spcBef>
              <a:buNone/>
              <a:defRPr sz="900">
                <a:solidFill>
                  <a:srgbClr val="DB3080"/>
                </a:solidFill>
                <a:latin typeface="Arial"/>
                <a:ea typeface="Arial"/>
                <a:cs typeface="Arial"/>
                <a:sym typeface="Arial"/>
              </a:defRPr>
            </a:lvl7pPr>
            <a:lvl8pPr marL="0" lvl="7" indent="0" algn="l">
              <a:spcBef>
                <a:spcPts val="0"/>
              </a:spcBef>
              <a:buNone/>
              <a:defRPr sz="900">
                <a:solidFill>
                  <a:srgbClr val="DB3080"/>
                </a:solidFill>
                <a:latin typeface="Arial"/>
                <a:ea typeface="Arial"/>
                <a:cs typeface="Arial"/>
                <a:sym typeface="Arial"/>
              </a:defRPr>
            </a:lvl8pPr>
            <a:lvl9pPr marL="0" lvl="8" indent="0" algn="l">
              <a:spcBef>
                <a:spcPts val="0"/>
              </a:spcBef>
              <a:buNone/>
              <a:defRPr sz="900">
                <a:solidFill>
                  <a:srgbClr val="DB308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fr-FR"/>
              <a:t>‹N°›</a:t>
            </a:fld>
            <a:endParaRPr/>
          </a:p>
        </p:txBody>
      </p:sp>
      <p:pic>
        <p:nvPicPr>
          <p:cNvPr id="26" name="Google Shape;26;p3"/>
          <p:cNvPicPr preferRelativeResize="0"/>
          <p:nvPr/>
        </p:nvPicPr>
        <p:blipFill rotWithShape="1">
          <a:blip r:embed="rId2">
            <a:alphaModFix/>
          </a:blip>
          <a:srcRect/>
          <a:stretch/>
        </p:blipFill>
        <p:spPr>
          <a:xfrm>
            <a:off x="255787" y="6233160"/>
            <a:ext cx="737619" cy="574622"/>
          </a:xfrm>
          <a:prstGeom prst="rect">
            <a:avLst/>
          </a:prstGeom>
          <a:noFill/>
          <a:ln>
            <a:noFill/>
          </a:ln>
        </p:spPr>
      </p:pic>
      <p:sp>
        <p:nvSpPr>
          <p:cNvPr id="27" name="Google Shape;27;p3"/>
          <p:cNvSpPr txBox="1">
            <a:spLocks noGrp="1"/>
          </p:cNvSpPr>
          <p:nvPr>
            <p:ph type="body" idx="1"/>
          </p:nvPr>
        </p:nvSpPr>
        <p:spPr>
          <a:xfrm>
            <a:off x="7755010" y="6344103"/>
            <a:ext cx="3742855" cy="318490"/>
          </a:xfrm>
          <a:prstGeom prst="rect">
            <a:avLst/>
          </a:prstGeom>
          <a:noFill/>
          <a:ln>
            <a:noFill/>
          </a:ln>
        </p:spPr>
        <p:txBody>
          <a:bodyPr spcFirstLastPara="1" wrap="square" lIns="45700" tIns="45700" rIns="45700" bIns="45700" anchor="t" anchorCtr="0">
            <a:normAutofit/>
          </a:bodyPr>
          <a:lstStyle>
            <a:lvl1pPr marL="457200" marR="0" lvl="0" indent="-228600" algn="r">
              <a:lnSpc>
                <a:spcPct val="100000"/>
              </a:lnSpc>
              <a:spcBef>
                <a:spcPts val="0"/>
              </a:spcBef>
              <a:spcAft>
                <a:spcPts val="0"/>
              </a:spcAft>
              <a:buClr>
                <a:srgbClr val="005C9B"/>
              </a:buClr>
              <a:buSzPts val="1000"/>
              <a:buFont typeface="Arial"/>
              <a:buNone/>
              <a:defRPr sz="1000">
                <a:solidFill>
                  <a:srgbClr val="005C9B"/>
                </a:solidFill>
              </a:defRPr>
            </a:lvl1pPr>
            <a:lvl2pPr marL="914400" lvl="1" indent="-228600" algn="l">
              <a:lnSpc>
                <a:spcPct val="100000"/>
              </a:lnSpc>
              <a:spcBef>
                <a:spcPts val="0"/>
              </a:spcBef>
              <a:spcAft>
                <a:spcPts val="0"/>
              </a:spcAft>
              <a:buClr>
                <a:srgbClr val="DB3080"/>
              </a:buClr>
              <a:buSzPts val="1800"/>
              <a:buNone/>
              <a:defRPr/>
            </a:lvl2pPr>
            <a:lvl3pPr marL="1371600" lvl="2" indent="-228600" algn="l">
              <a:lnSpc>
                <a:spcPct val="100000"/>
              </a:lnSpc>
              <a:spcBef>
                <a:spcPts val="0"/>
              </a:spcBef>
              <a:spcAft>
                <a:spcPts val="0"/>
              </a:spcAft>
              <a:buClr>
                <a:srgbClr val="DB3080"/>
              </a:buClr>
              <a:buSzPts val="1800"/>
              <a:buNone/>
              <a:defRPr/>
            </a:lvl3pPr>
            <a:lvl4pPr marL="1828800" lvl="3" indent="-228600" algn="l">
              <a:lnSpc>
                <a:spcPct val="100000"/>
              </a:lnSpc>
              <a:spcBef>
                <a:spcPts val="0"/>
              </a:spcBef>
              <a:spcAft>
                <a:spcPts val="0"/>
              </a:spcAft>
              <a:buClr>
                <a:srgbClr val="DB3080"/>
              </a:buClr>
              <a:buSzPts val="1800"/>
              <a:buNone/>
              <a:defRPr/>
            </a:lvl4pPr>
            <a:lvl5pPr marL="2286000" lvl="4" indent="-228600" algn="l">
              <a:lnSpc>
                <a:spcPct val="100000"/>
              </a:lnSpc>
              <a:spcBef>
                <a:spcPts val="0"/>
              </a:spcBef>
              <a:spcAft>
                <a:spcPts val="0"/>
              </a:spcAft>
              <a:buClr>
                <a:srgbClr val="DB3080"/>
              </a:buClr>
              <a:buSzPts val="1800"/>
              <a:buNone/>
              <a:defRPr/>
            </a:lvl5pPr>
            <a:lvl6pPr marL="2743200" lvl="5" indent="-228600" algn="l">
              <a:lnSpc>
                <a:spcPct val="100000"/>
              </a:lnSpc>
              <a:spcBef>
                <a:spcPts val="0"/>
              </a:spcBef>
              <a:spcAft>
                <a:spcPts val="0"/>
              </a:spcAft>
              <a:buClr>
                <a:srgbClr val="DB3080"/>
              </a:buClr>
              <a:buSzPts val="1800"/>
              <a:buNone/>
              <a:defRPr/>
            </a:lvl6pPr>
            <a:lvl7pPr marL="3200400" lvl="6" indent="-228600" algn="l">
              <a:lnSpc>
                <a:spcPct val="100000"/>
              </a:lnSpc>
              <a:spcBef>
                <a:spcPts val="0"/>
              </a:spcBef>
              <a:spcAft>
                <a:spcPts val="0"/>
              </a:spcAft>
              <a:buClr>
                <a:srgbClr val="DB3080"/>
              </a:buClr>
              <a:buSzPts val="1800"/>
              <a:buNone/>
              <a:defRPr/>
            </a:lvl7pPr>
            <a:lvl8pPr marL="3657600" lvl="7" indent="-228600" algn="l">
              <a:lnSpc>
                <a:spcPct val="100000"/>
              </a:lnSpc>
              <a:spcBef>
                <a:spcPts val="0"/>
              </a:spcBef>
              <a:spcAft>
                <a:spcPts val="0"/>
              </a:spcAft>
              <a:buClr>
                <a:srgbClr val="DB3080"/>
              </a:buClr>
              <a:buSzPts val="1800"/>
              <a:buNone/>
              <a:defRPr/>
            </a:lvl8pPr>
            <a:lvl9pPr marL="4114800" lvl="8" indent="-228600" algn="l">
              <a:lnSpc>
                <a:spcPct val="100000"/>
              </a:lnSpc>
              <a:spcBef>
                <a:spcPts val="0"/>
              </a:spcBef>
              <a:spcAft>
                <a:spcPts val="0"/>
              </a:spcAft>
              <a:buClr>
                <a:srgbClr val="DB3080"/>
              </a:buClr>
              <a:buSzPts val="1800"/>
              <a:buNone/>
              <a:defRPr/>
            </a:lvl9pPr>
          </a:lstStyle>
          <a:p>
            <a:endParaRPr/>
          </a:p>
        </p:txBody>
      </p:sp>
      <p:sp>
        <p:nvSpPr>
          <p:cNvPr id="28" name="Google Shape;28;p3"/>
          <p:cNvSpPr txBox="1">
            <a:spLocks noGrp="1"/>
          </p:cNvSpPr>
          <p:nvPr>
            <p:ph type="title"/>
          </p:nvPr>
        </p:nvSpPr>
        <p:spPr>
          <a:xfrm>
            <a:off x="255599" y="255600"/>
            <a:ext cx="11242266" cy="644908"/>
          </a:xfrm>
          <a:prstGeom prst="rect">
            <a:avLst/>
          </a:prstGeom>
          <a:noFill/>
          <a:ln>
            <a:noFill/>
          </a:ln>
        </p:spPr>
        <p:txBody>
          <a:bodyPr spcFirstLastPara="1" wrap="square" lIns="50800" tIns="50800" rIns="50800" bIns="50800" anchor="ctr" anchorCtr="0">
            <a:normAutofit/>
          </a:bodyPr>
          <a:lstStyle>
            <a:lvl1pPr lvl="0" algn="l">
              <a:lnSpc>
                <a:spcPct val="80000"/>
              </a:lnSpc>
              <a:spcBef>
                <a:spcPts val="0"/>
              </a:spcBef>
              <a:spcAft>
                <a:spcPts val="0"/>
              </a:spcAft>
              <a:buClr>
                <a:srgbClr val="005C9B"/>
              </a:buClr>
              <a:buSzPts val="2800"/>
              <a:buFont typeface="Arial"/>
              <a:buNone/>
              <a:defRPr sz="2800"/>
            </a:lvl1pPr>
            <a:lvl2pPr lvl="1" algn="l">
              <a:lnSpc>
                <a:spcPct val="80000"/>
              </a:lnSpc>
              <a:spcBef>
                <a:spcPts val="0"/>
              </a:spcBef>
              <a:spcAft>
                <a:spcPts val="0"/>
              </a:spcAft>
              <a:buClr>
                <a:srgbClr val="005C9B"/>
              </a:buClr>
              <a:buSzPts val="1800"/>
              <a:buNone/>
              <a:defRPr/>
            </a:lvl2pPr>
            <a:lvl3pPr lvl="2" algn="l">
              <a:lnSpc>
                <a:spcPct val="80000"/>
              </a:lnSpc>
              <a:spcBef>
                <a:spcPts val="0"/>
              </a:spcBef>
              <a:spcAft>
                <a:spcPts val="0"/>
              </a:spcAft>
              <a:buClr>
                <a:srgbClr val="005C9B"/>
              </a:buClr>
              <a:buSzPts val="1800"/>
              <a:buNone/>
              <a:defRPr/>
            </a:lvl3pPr>
            <a:lvl4pPr lvl="3" algn="l">
              <a:lnSpc>
                <a:spcPct val="80000"/>
              </a:lnSpc>
              <a:spcBef>
                <a:spcPts val="0"/>
              </a:spcBef>
              <a:spcAft>
                <a:spcPts val="0"/>
              </a:spcAft>
              <a:buClr>
                <a:srgbClr val="005C9B"/>
              </a:buClr>
              <a:buSzPts val="1800"/>
              <a:buNone/>
              <a:defRPr/>
            </a:lvl4pPr>
            <a:lvl5pPr lvl="4" algn="l">
              <a:lnSpc>
                <a:spcPct val="80000"/>
              </a:lnSpc>
              <a:spcBef>
                <a:spcPts val="0"/>
              </a:spcBef>
              <a:spcAft>
                <a:spcPts val="0"/>
              </a:spcAft>
              <a:buClr>
                <a:srgbClr val="005C9B"/>
              </a:buClr>
              <a:buSzPts val="1800"/>
              <a:buNone/>
              <a:defRPr/>
            </a:lvl5pPr>
            <a:lvl6pPr lvl="5" algn="l">
              <a:lnSpc>
                <a:spcPct val="80000"/>
              </a:lnSpc>
              <a:spcBef>
                <a:spcPts val="0"/>
              </a:spcBef>
              <a:spcAft>
                <a:spcPts val="0"/>
              </a:spcAft>
              <a:buClr>
                <a:srgbClr val="005C9B"/>
              </a:buClr>
              <a:buSzPts val="1800"/>
              <a:buNone/>
              <a:defRPr/>
            </a:lvl6pPr>
            <a:lvl7pPr lvl="6" algn="l">
              <a:lnSpc>
                <a:spcPct val="80000"/>
              </a:lnSpc>
              <a:spcBef>
                <a:spcPts val="0"/>
              </a:spcBef>
              <a:spcAft>
                <a:spcPts val="0"/>
              </a:spcAft>
              <a:buClr>
                <a:srgbClr val="005C9B"/>
              </a:buClr>
              <a:buSzPts val="1800"/>
              <a:buNone/>
              <a:defRPr/>
            </a:lvl7pPr>
            <a:lvl8pPr lvl="7" algn="l">
              <a:lnSpc>
                <a:spcPct val="80000"/>
              </a:lnSpc>
              <a:spcBef>
                <a:spcPts val="0"/>
              </a:spcBef>
              <a:spcAft>
                <a:spcPts val="0"/>
              </a:spcAft>
              <a:buClr>
                <a:srgbClr val="005C9B"/>
              </a:buClr>
              <a:buSzPts val="1800"/>
              <a:buNone/>
              <a:defRPr/>
            </a:lvl8pPr>
            <a:lvl9pPr lvl="8" algn="l">
              <a:lnSpc>
                <a:spcPct val="80000"/>
              </a:lnSpc>
              <a:spcBef>
                <a:spcPts val="0"/>
              </a:spcBef>
              <a:spcAft>
                <a:spcPts val="0"/>
              </a:spcAft>
              <a:buClr>
                <a:srgbClr val="005C9B"/>
              </a:buClr>
              <a:buSzPts val="1800"/>
              <a:buNone/>
              <a:defRPr/>
            </a:lvl9pPr>
          </a:lstStyle>
          <a:p>
            <a:endParaRPr/>
          </a:p>
        </p:txBody>
      </p:sp>
    </p:spTree>
    <p:extLst>
      <p:ext uri="{BB962C8B-B14F-4D97-AF65-F5344CB8AC3E}">
        <p14:creationId xmlns:p14="http://schemas.microsoft.com/office/powerpoint/2010/main" val="6697123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3819353-A69C-4A02-84FC-C2B3E4EA9BCF}"/>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2C72AF53-8C34-4924-B533-40C8EC5A558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7742883C-0FF1-491E-A406-0D5BD2337CF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92267935-BA3A-4FC2-939F-BB90620CF31A}"/>
              </a:ext>
            </a:extLst>
          </p:cNvPr>
          <p:cNvSpPr>
            <a:spLocks noGrp="1"/>
          </p:cNvSpPr>
          <p:nvPr>
            <p:ph type="dt" sz="half" idx="10"/>
          </p:nvPr>
        </p:nvSpPr>
        <p:spPr/>
        <p:txBody>
          <a:bodyPr/>
          <a:lstStyle/>
          <a:p>
            <a:fld id="{A2413034-B103-41D2-977A-32CF76459AF0}" type="datetimeFigureOut">
              <a:rPr lang="fr-FR" smtClean="0"/>
              <a:t>07/08/2024</a:t>
            </a:fld>
            <a:endParaRPr lang="fr-FR"/>
          </a:p>
        </p:txBody>
      </p:sp>
      <p:sp>
        <p:nvSpPr>
          <p:cNvPr id="6" name="Espace réservé du pied de page 5">
            <a:extLst>
              <a:ext uri="{FF2B5EF4-FFF2-40B4-BE49-F238E27FC236}">
                <a16:creationId xmlns:a16="http://schemas.microsoft.com/office/drawing/2014/main" id="{F9A0F015-79D2-4982-8BC1-8FD77CB5C159}"/>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1CD69970-D24B-40FA-A5D9-8EE581F88201}"/>
              </a:ext>
            </a:extLst>
          </p:cNvPr>
          <p:cNvSpPr>
            <a:spLocks noGrp="1"/>
          </p:cNvSpPr>
          <p:nvPr>
            <p:ph type="sldNum" sz="quarter" idx="12"/>
          </p:nvPr>
        </p:nvSpPr>
        <p:spPr/>
        <p:txBody>
          <a:bodyPr/>
          <a:lstStyle/>
          <a:p>
            <a:fld id="{1853D752-F3DA-47A2-A775-910B824E1582}" type="slidenum">
              <a:rPr lang="fr-FR" smtClean="0"/>
              <a:t>‹N°›</a:t>
            </a:fld>
            <a:endParaRPr lang="fr-FR"/>
          </a:p>
        </p:txBody>
      </p:sp>
    </p:spTree>
    <p:extLst>
      <p:ext uri="{BB962C8B-B14F-4D97-AF65-F5344CB8AC3E}">
        <p14:creationId xmlns:p14="http://schemas.microsoft.com/office/powerpoint/2010/main" val="195444043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4_Titre">
    <p:spTree>
      <p:nvGrpSpPr>
        <p:cNvPr id="1" name=""/>
        <p:cNvGrpSpPr/>
        <p:nvPr/>
      </p:nvGrpSpPr>
      <p:grpSpPr>
        <a:xfrm>
          <a:off x="0" y="0"/>
          <a:ext cx="0" cy="0"/>
          <a:chOff x="0" y="0"/>
          <a:chExt cx="0" cy="0"/>
        </a:xfrm>
      </p:grpSpPr>
      <p:pic>
        <p:nvPicPr>
          <p:cNvPr id="18" name="Image 8">
            <a:extLst>
              <a:ext uri="{FF2B5EF4-FFF2-40B4-BE49-F238E27FC236}">
                <a16:creationId xmlns:a16="http://schemas.microsoft.com/office/drawing/2014/main" id="{D883BAC3-9426-4CF8-B383-BAE8B0FA63B8}"/>
              </a:ext>
            </a:extLst>
          </p:cNvPr>
          <p:cNvPicPr>
            <a:picLocks noChangeAspect="1"/>
          </p:cNvPicPr>
          <p:nvPr userDrawn="1"/>
        </p:nvPicPr>
        <p:blipFill rotWithShape="1">
          <a:blip r:embed="rId2"/>
          <a:srcRect b="26788"/>
          <a:stretch/>
        </p:blipFill>
        <p:spPr>
          <a:xfrm>
            <a:off x="-1" y="-1"/>
            <a:ext cx="12192001" cy="6195060"/>
          </a:xfrm>
          <a:prstGeom prst="rect">
            <a:avLst/>
          </a:prstGeom>
        </p:spPr>
      </p:pic>
      <p:sp>
        <p:nvSpPr>
          <p:cNvPr id="19" name="Titre de la présentation"/>
          <p:cNvSpPr txBox="1">
            <a:spLocks noGrp="1"/>
          </p:cNvSpPr>
          <p:nvPr>
            <p:ph type="title" hasCustomPrompt="1"/>
          </p:nvPr>
        </p:nvSpPr>
        <p:spPr>
          <a:xfrm>
            <a:off x="850898" y="3640036"/>
            <a:ext cx="9024622" cy="831762"/>
          </a:xfrm>
          <a:prstGeom prst="rect">
            <a:avLst/>
          </a:prstGeom>
        </p:spPr>
        <p:txBody>
          <a:bodyPr anchor="ctr">
            <a:noAutofit/>
          </a:bodyPr>
          <a:lstStyle>
            <a:lvl1pPr>
              <a:defRPr sz="4400" cap="all" spc="-60"/>
            </a:lvl1pPr>
          </a:lstStyle>
          <a:p>
            <a:r>
              <a:t>Titre de la présentation</a:t>
            </a:r>
          </a:p>
        </p:txBody>
      </p:sp>
      <p:sp>
        <p:nvSpPr>
          <p:cNvPr id="21" name="Ligne"/>
          <p:cNvSpPr/>
          <p:nvPr/>
        </p:nvSpPr>
        <p:spPr>
          <a:xfrm>
            <a:off x="843137" y="4449887"/>
            <a:ext cx="6106157" cy="1"/>
          </a:xfrm>
          <a:prstGeom prst="line">
            <a:avLst/>
          </a:prstGeom>
          <a:ln w="114300">
            <a:solidFill>
              <a:srgbClr val="005C9B"/>
            </a:solidFill>
            <a:miter lim="400000"/>
          </a:ln>
        </p:spPr>
        <p:txBody>
          <a:bodyPr lIns="25400" tIns="25400" rIns="25400" bIns="25400" anchor="ctr"/>
          <a:lstStyle/>
          <a:p>
            <a:endParaRPr sz="900"/>
          </a:p>
        </p:txBody>
      </p:sp>
      <p:sp>
        <p:nvSpPr>
          <p:cNvPr id="22" name="Ligne"/>
          <p:cNvSpPr/>
          <p:nvPr/>
        </p:nvSpPr>
        <p:spPr>
          <a:xfrm>
            <a:off x="6939428" y="4449887"/>
            <a:ext cx="1785299" cy="22339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604" y="0"/>
                </a:lnTo>
                <a:lnTo>
                  <a:pt x="21600" y="505"/>
                </a:lnTo>
              </a:path>
            </a:pathLst>
          </a:custGeom>
          <a:ln w="114300">
            <a:solidFill>
              <a:srgbClr val="005C9B"/>
            </a:solidFill>
            <a:miter lim="400000"/>
          </a:ln>
        </p:spPr>
        <p:txBody>
          <a:bodyPr lIns="25400" tIns="25400" rIns="25400" bIns="25400" anchor="ctr"/>
          <a:lstStyle/>
          <a:p>
            <a:pPr>
              <a:defRPr>
                <a:solidFill>
                  <a:srgbClr val="005C9B"/>
                </a:solidFill>
              </a:defRPr>
            </a:pPr>
            <a:endParaRPr sz="900"/>
          </a:p>
        </p:txBody>
      </p:sp>
      <p:sp>
        <p:nvSpPr>
          <p:cNvPr id="23" name="Sur titre de la présentation"/>
          <p:cNvSpPr txBox="1">
            <a:spLocks noGrp="1"/>
          </p:cNvSpPr>
          <p:nvPr>
            <p:ph type="body" sz="quarter" idx="22"/>
          </p:nvPr>
        </p:nvSpPr>
        <p:spPr>
          <a:xfrm>
            <a:off x="846102" y="4525276"/>
            <a:ext cx="2880597" cy="302647"/>
          </a:xfrm>
          <a:prstGeom prst="rect">
            <a:avLst/>
          </a:prstGeom>
        </p:spPr>
        <p:txBody>
          <a:bodyPr wrap="none" anchor="ctr">
            <a:spAutoFit/>
          </a:bodyPr>
          <a:lstStyle>
            <a:lvl1pPr algn="ctr" defTabSz="1219169">
              <a:defRPr sz="1300" cap="all"/>
            </a:lvl1pPr>
          </a:lstStyle>
          <a:p>
            <a:r>
              <a:t>Sur </a:t>
            </a:r>
            <a:r>
              <a:rPr err="1"/>
              <a:t>titre</a:t>
            </a:r>
            <a:r>
              <a:t> de la </a:t>
            </a:r>
            <a:r>
              <a:rPr err="1"/>
              <a:t>présentation</a:t>
            </a:r>
            <a:endParaRPr/>
          </a:p>
        </p:txBody>
      </p:sp>
      <p:sp>
        <p:nvSpPr>
          <p:cNvPr id="24" name="Numéro de diapositive"/>
          <p:cNvSpPr txBox="1">
            <a:spLocks noGrp="1"/>
          </p:cNvSpPr>
          <p:nvPr>
            <p:ph type="sldNum" sz="quarter" idx="2"/>
          </p:nvPr>
        </p:nvSpPr>
        <p:spPr>
          <a:xfrm>
            <a:off x="11626850" y="6344103"/>
            <a:ext cx="293350" cy="241092"/>
          </a:xfrm>
          <a:prstGeom prst="rect">
            <a:avLst/>
          </a:prstGeom>
        </p:spPr>
        <p:txBody>
          <a:bodyPr/>
          <a:lstStyle>
            <a:lvl1pPr>
              <a:defRPr>
                <a:latin typeface="+mn-lt"/>
                <a:ea typeface="+mn-ea"/>
                <a:cs typeface="+mn-cs"/>
                <a:sym typeface="Helvetica Neue"/>
              </a:defRPr>
            </a:lvl1pPr>
          </a:lstStyle>
          <a:p>
            <a:fld id="{86CB4B4D-7CA3-9044-876B-883B54F8677D}" type="slidenum">
              <a:t>‹N°›</a:t>
            </a:fld>
            <a:endParaRPr/>
          </a:p>
        </p:txBody>
      </p:sp>
      <p:sp>
        <p:nvSpPr>
          <p:cNvPr id="13" name="Auteur et date">
            <a:extLst>
              <a:ext uri="{FF2B5EF4-FFF2-40B4-BE49-F238E27FC236}">
                <a16:creationId xmlns:a16="http://schemas.microsoft.com/office/drawing/2014/main" id="{C0145E43-6943-BC44-8613-59CBD5A58BCA}"/>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Formation coordinateur régional MES</a:t>
            </a:r>
          </a:p>
        </p:txBody>
      </p:sp>
      <p:pic>
        <p:nvPicPr>
          <p:cNvPr id="11" name="Image 7">
            <a:extLst>
              <a:ext uri="{FF2B5EF4-FFF2-40B4-BE49-F238E27FC236}">
                <a16:creationId xmlns:a16="http://schemas.microsoft.com/office/drawing/2014/main" id="{BAFF95BA-B5DF-43B8-A6FD-90F9432D9747}"/>
              </a:ext>
            </a:extLst>
          </p:cNvPr>
          <p:cNvPicPr/>
          <p:nvPr userDrawn="1"/>
        </p:nvPicPr>
        <p:blipFill>
          <a:blip r:embed="rId3">
            <a:extLst>
              <a:ext uri="{28A0092B-C50C-407E-A947-70E740481C1C}">
                <a14:useLocalDpi xmlns:a14="http://schemas.microsoft.com/office/drawing/2010/main" val="0"/>
              </a:ext>
            </a:extLst>
          </a:blip>
          <a:stretch>
            <a:fillRect/>
          </a:stretch>
        </p:blipFill>
        <p:spPr>
          <a:xfrm>
            <a:off x="591102" y="180000"/>
            <a:ext cx="3153127" cy="2659450"/>
          </a:xfrm>
          <a:prstGeom prst="rect">
            <a:avLst/>
          </a:prstGeom>
        </p:spPr>
      </p:pic>
    </p:spTree>
    <p:extLst>
      <p:ext uri="{BB962C8B-B14F-4D97-AF65-F5344CB8AC3E}">
        <p14:creationId xmlns:p14="http://schemas.microsoft.com/office/powerpoint/2010/main" val="1232991422"/>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12_Titre et puces">
    <p:spTree>
      <p:nvGrpSpPr>
        <p:cNvPr id="1" name=""/>
        <p:cNvGrpSpPr/>
        <p:nvPr/>
      </p:nvGrpSpPr>
      <p:grpSpPr>
        <a:xfrm>
          <a:off x="0" y="0"/>
          <a:ext cx="0" cy="0"/>
          <a:chOff x="0" y="0"/>
          <a:chExt cx="0" cy="0"/>
        </a:xfrm>
      </p:grpSpPr>
      <p:pic>
        <p:nvPicPr>
          <p:cNvPr id="12" name="Image 8">
            <a:extLst>
              <a:ext uri="{FF2B5EF4-FFF2-40B4-BE49-F238E27FC236}">
                <a16:creationId xmlns:a16="http://schemas.microsoft.com/office/drawing/2014/main" id="{1BF34AE7-AC77-41F0-A5FC-C838F14AA243}"/>
              </a:ext>
            </a:extLst>
          </p:cNvPr>
          <p:cNvPicPr>
            <a:picLocks noChangeAspect="1"/>
          </p:cNvPicPr>
          <p:nvPr userDrawn="1"/>
        </p:nvPicPr>
        <p:blipFill rotWithShape="1">
          <a:blip r:embed="rId2"/>
          <a:srcRect b="26788"/>
          <a:stretch/>
        </p:blipFill>
        <p:spPr>
          <a:xfrm>
            <a:off x="-1" y="-1"/>
            <a:ext cx="12192001" cy="6195060"/>
          </a:xfrm>
          <a:prstGeom prst="rect">
            <a:avLst/>
          </a:prstGeom>
        </p:spPr>
      </p:pic>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N°›</a:t>
            </a:fld>
            <a:endParaRPr/>
          </a:p>
        </p:txBody>
      </p:sp>
      <p:pic>
        <p:nvPicPr>
          <p:cNvPr id="18" name="Image 17">
            <a:extLst>
              <a:ext uri="{FF2B5EF4-FFF2-40B4-BE49-F238E27FC236}">
                <a16:creationId xmlns:a16="http://schemas.microsoft.com/office/drawing/2014/main" id="{E4A1E0FE-0AB3-1E4A-A0C8-7DF02EA6B5CC}"/>
              </a:ext>
            </a:extLst>
          </p:cNvPr>
          <p:cNvPicPr>
            <a:picLocks noChangeAspect="1"/>
          </p:cNvPicPr>
          <p:nvPr userDrawn="1"/>
        </p:nvPicPr>
        <p:blipFill>
          <a:blip r:embed="rId3"/>
          <a:stretch>
            <a:fillRect/>
          </a:stretch>
        </p:blipFill>
        <p:spPr>
          <a:xfrm>
            <a:off x="255787" y="6233160"/>
            <a:ext cx="737619" cy="574622"/>
          </a:xfrm>
          <a:prstGeom prst="rect">
            <a:avLst/>
          </a:prstGeom>
        </p:spPr>
      </p:pic>
      <p:sp>
        <p:nvSpPr>
          <p:cNvPr id="8" name="Auteur et date">
            <a:extLst>
              <a:ext uri="{FF2B5EF4-FFF2-40B4-BE49-F238E27FC236}">
                <a16:creationId xmlns:a16="http://schemas.microsoft.com/office/drawing/2014/main" id="{E9814A38-F43C-6641-9359-555D391D98F8}"/>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Formation coordinateur régional MES</a:t>
            </a:r>
          </a:p>
        </p:txBody>
      </p:sp>
      <p:sp>
        <p:nvSpPr>
          <p:cNvPr id="6" name="Title 3">
            <a:extLst>
              <a:ext uri="{FF2B5EF4-FFF2-40B4-BE49-F238E27FC236}">
                <a16:creationId xmlns:a16="http://schemas.microsoft.com/office/drawing/2014/main" id="{D88CC1CD-7566-406D-BE7D-B3D0BEDEAD11}"/>
              </a:ext>
            </a:extLst>
          </p:cNvPr>
          <p:cNvSpPr>
            <a:spLocks noGrp="1"/>
          </p:cNvSpPr>
          <p:nvPr>
            <p:ph type="title" idx="4294967295"/>
          </p:nvPr>
        </p:nvSpPr>
        <p:spPr>
          <a:xfrm>
            <a:off x="255787" y="2966538"/>
            <a:ext cx="6985000" cy="682625"/>
          </a:xfrm>
        </p:spPr>
        <p:txBody>
          <a:bodyPr anchor="ctr"/>
          <a:lstStyle>
            <a:lvl1pPr>
              <a:defRPr>
                <a:solidFill>
                  <a:srgbClr val="005CA9"/>
                </a:solidFill>
              </a:defRPr>
            </a:lvl1pPr>
          </a:lstStyle>
          <a:p>
            <a:endParaRPr lang="fr-FR"/>
          </a:p>
        </p:txBody>
      </p:sp>
      <p:pic>
        <p:nvPicPr>
          <p:cNvPr id="7" name="Logo-ReMES.png" descr="Logo-ReMES.png">
            <a:extLst>
              <a:ext uri="{FF2B5EF4-FFF2-40B4-BE49-F238E27FC236}">
                <a16:creationId xmlns:a16="http://schemas.microsoft.com/office/drawing/2014/main" id="{E178851E-C63F-45F7-A5D8-3657E9E612B0}"/>
              </a:ext>
            </a:extLst>
          </p:cNvPr>
          <p:cNvPicPr>
            <a:picLocks noChangeAspect="1"/>
          </p:cNvPicPr>
          <p:nvPr userDrawn="1"/>
        </p:nvPicPr>
        <p:blipFill>
          <a:blip r:embed="rId4"/>
          <a:stretch>
            <a:fillRect/>
          </a:stretch>
        </p:blipFill>
        <p:spPr>
          <a:xfrm>
            <a:off x="1051177" y="6233160"/>
            <a:ext cx="531090" cy="574622"/>
          </a:xfrm>
          <a:prstGeom prst="rect">
            <a:avLst/>
          </a:prstGeom>
          <a:ln w="12700">
            <a:miter lim="400000"/>
          </a:ln>
        </p:spPr>
      </p:pic>
      <p:sp>
        <p:nvSpPr>
          <p:cNvPr id="10" name="Ligne">
            <a:extLst>
              <a:ext uri="{FF2B5EF4-FFF2-40B4-BE49-F238E27FC236}">
                <a16:creationId xmlns:a16="http://schemas.microsoft.com/office/drawing/2014/main" id="{14711DEF-5831-41CC-AB49-599942FBCBEA}"/>
              </a:ext>
            </a:extLst>
          </p:cNvPr>
          <p:cNvSpPr/>
          <p:nvPr userDrawn="1"/>
        </p:nvSpPr>
        <p:spPr>
          <a:xfrm>
            <a:off x="255787" y="3739064"/>
            <a:ext cx="7623618" cy="0"/>
          </a:xfrm>
          <a:prstGeom prst="line">
            <a:avLst/>
          </a:prstGeom>
          <a:ln w="63500">
            <a:solidFill>
              <a:srgbClr val="005CA9"/>
            </a:solidFill>
            <a:miter lim="400000"/>
          </a:ln>
        </p:spPr>
        <p:txBody>
          <a:bodyPr lIns="25400" tIns="25400" rIns="25400" bIns="25400" anchor="ctr"/>
          <a:lstStyle/>
          <a:p>
            <a:endParaRPr sz="900"/>
          </a:p>
        </p:txBody>
      </p:sp>
      <p:sp>
        <p:nvSpPr>
          <p:cNvPr id="11" name="Ligne">
            <a:extLst>
              <a:ext uri="{FF2B5EF4-FFF2-40B4-BE49-F238E27FC236}">
                <a16:creationId xmlns:a16="http://schemas.microsoft.com/office/drawing/2014/main" id="{126035E3-63CB-4EA7-BEEF-13C4E5999C48}"/>
              </a:ext>
            </a:extLst>
          </p:cNvPr>
          <p:cNvSpPr/>
          <p:nvPr userDrawn="1"/>
        </p:nvSpPr>
        <p:spPr>
          <a:xfrm>
            <a:off x="7899736" y="3731753"/>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63500">
            <a:solidFill>
              <a:srgbClr val="005CA9"/>
            </a:solidFill>
            <a:miter lim="400000"/>
          </a:ln>
        </p:spPr>
        <p:txBody>
          <a:bodyPr lIns="25400" tIns="25400" rIns="25400" bIns="25400" anchor="ctr"/>
          <a:lstStyle/>
          <a:p>
            <a:pPr>
              <a:defRPr>
                <a:solidFill>
                  <a:srgbClr val="005C9B"/>
                </a:solidFill>
              </a:defRPr>
            </a:pPr>
            <a:endParaRPr sz="900"/>
          </a:p>
        </p:txBody>
      </p:sp>
    </p:spTree>
    <p:extLst>
      <p:ext uri="{BB962C8B-B14F-4D97-AF65-F5344CB8AC3E}">
        <p14:creationId xmlns:p14="http://schemas.microsoft.com/office/powerpoint/2010/main" val="957664489"/>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re">
    <p:spTree>
      <p:nvGrpSpPr>
        <p:cNvPr id="1" name=""/>
        <p:cNvGrpSpPr/>
        <p:nvPr/>
      </p:nvGrpSpPr>
      <p:grpSpPr>
        <a:xfrm>
          <a:off x="0" y="0"/>
          <a:ext cx="0" cy="0"/>
          <a:chOff x="0" y="0"/>
          <a:chExt cx="0" cy="0"/>
        </a:xfrm>
      </p:grpSpPr>
      <p:pic>
        <p:nvPicPr>
          <p:cNvPr id="17" name="MES-masque PPT.jpg" descr="MES-masque PPT.jpg"/>
          <p:cNvPicPr>
            <a:picLocks noChangeAspect="1"/>
          </p:cNvPicPr>
          <p:nvPr userDrawn="1"/>
        </p:nvPicPr>
        <p:blipFill rotWithShape="1">
          <a:blip r:embed="rId2"/>
          <a:srcRect b="18253"/>
          <a:stretch/>
        </p:blipFill>
        <p:spPr>
          <a:xfrm>
            <a:off x="0" y="3748"/>
            <a:ext cx="12192001" cy="5603145"/>
          </a:xfrm>
          <a:prstGeom prst="rect">
            <a:avLst/>
          </a:prstGeom>
          <a:ln w="12700">
            <a:miter lim="400000"/>
          </a:ln>
        </p:spPr>
      </p:pic>
      <p:sp>
        <p:nvSpPr>
          <p:cNvPr id="19" name="Titre de la présentation"/>
          <p:cNvSpPr txBox="1">
            <a:spLocks noGrp="1"/>
          </p:cNvSpPr>
          <p:nvPr>
            <p:ph type="title" hasCustomPrompt="1"/>
          </p:nvPr>
        </p:nvSpPr>
        <p:spPr>
          <a:xfrm>
            <a:off x="850898" y="4535186"/>
            <a:ext cx="6761760" cy="831762"/>
          </a:xfrm>
          <a:prstGeom prst="rect">
            <a:avLst/>
          </a:prstGeom>
        </p:spPr>
        <p:txBody>
          <a:bodyPr anchor="t"/>
          <a:lstStyle>
            <a:lvl1pPr>
              <a:defRPr sz="3000" cap="all" spc="-60"/>
            </a:lvl1pPr>
          </a:lstStyle>
          <a:p>
            <a:r>
              <a:t>Titre de la présentation</a:t>
            </a:r>
          </a:p>
        </p:txBody>
      </p:sp>
      <p:pic>
        <p:nvPicPr>
          <p:cNvPr id="20" name="Logo-ReMES.png" descr="Logo-ReMES.png"/>
          <p:cNvPicPr>
            <a:picLocks noChangeAspect="1"/>
          </p:cNvPicPr>
          <p:nvPr/>
        </p:nvPicPr>
        <p:blipFill>
          <a:blip r:embed="rId3"/>
          <a:stretch>
            <a:fillRect/>
          </a:stretch>
        </p:blipFill>
        <p:spPr>
          <a:xfrm>
            <a:off x="4528272" y="363758"/>
            <a:ext cx="3135456" cy="3392461"/>
          </a:xfrm>
          <a:prstGeom prst="rect">
            <a:avLst/>
          </a:prstGeom>
          <a:ln w="12700">
            <a:miter lim="400000"/>
          </a:ln>
        </p:spPr>
      </p:pic>
      <p:sp>
        <p:nvSpPr>
          <p:cNvPr id="21" name="Ligne"/>
          <p:cNvSpPr/>
          <p:nvPr/>
        </p:nvSpPr>
        <p:spPr>
          <a:xfrm>
            <a:off x="843137" y="4449887"/>
            <a:ext cx="6106157" cy="1"/>
          </a:xfrm>
          <a:prstGeom prst="line">
            <a:avLst/>
          </a:prstGeom>
          <a:ln w="114300">
            <a:solidFill>
              <a:srgbClr val="005C9B"/>
            </a:solidFill>
            <a:miter lim="400000"/>
          </a:ln>
        </p:spPr>
        <p:txBody>
          <a:bodyPr lIns="25400" tIns="25400" rIns="25400" bIns="25400" anchor="ctr"/>
          <a:lstStyle/>
          <a:p>
            <a:endParaRPr sz="900"/>
          </a:p>
        </p:txBody>
      </p:sp>
      <p:sp>
        <p:nvSpPr>
          <p:cNvPr id="22" name="Ligne"/>
          <p:cNvSpPr/>
          <p:nvPr/>
        </p:nvSpPr>
        <p:spPr>
          <a:xfrm>
            <a:off x="6939428" y="4449887"/>
            <a:ext cx="1785299" cy="22339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604" y="0"/>
                </a:lnTo>
                <a:lnTo>
                  <a:pt x="21600" y="505"/>
                </a:lnTo>
              </a:path>
            </a:pathLst>
          </a:custGeom>
          <a:ln w="114300">
            <a:solidFill>
              <a:srgbClr val="005C9B"/>
            </a:solidFill>
            <a:miter lim="400000"/>
          </a:ln>
        </p:spPr>
        <p:txBody>
          <a:bodyPr lIns="25400" tIns="25400" rIns="25400" bIns="25400" anchor="ctr"/>
          <a:lstStyle/>
          <a:p>
            <a:pPr>
              <a:defRPr>
                <a:solidFill>
                  <a:srgbClr val="005C9B"/>
                </a:solidFill>
              </a:defRPr>
            </a:pPr>
            <a:endParaRPr sz="900"/>
          </a:p>
        </p:txBody>
      </p:sp>
      <p:sp>
        <p:nvSpPr>
          <p:cNvPr id="23" name="Sur titre de la présentation"/>
          <p:cNvSpPr txBox="1">
            <a:spLocks noGrp="1"/>
          </p:cNvSpPr>
          <p:nvPr>
            <p:ph type="body" sz="quarter" idx="22"/>
          </p:nvPr>
        </p:nvSpPr>
        <p:spPr>
          <a:xfrm>
            <a:off x="807602" y="4092141"/>
            <a:ext cx="2880597" cy="302647"/>
          </a:xfrm>
          <a:prstGeom prst="rect">
            <a:avLst/>
          </a:prstGeom>
        </p:spPr>
        <p:txBody>
          <a:bodyPr wrap="none" anchor="ctr">
            <a:spAutoFit/>
          </a:bodyPr>
          <a:lstStyle>
            <a:lvl1pPr algn="ctr" defTabSz="1219169">
              <a:defRPr sz="1300" cap="all"/>
            </a:lvl1pPr>
          </a:lstStyle>
          <a:p>
            <a:r>
              <a:t>Sur titre de la présentation</a:t>
            </a:r>
          </a:p>
        </p:txBody>
      </p:sp>
      <p:sp>
        <p:nvSpPr>
          <p:cNvPr id="24" name="Numéro de diapositive"/>
          <p:cNvSpPr txBox="1">
            <a:spLocks noGrp="1"/>
          </p:cNvSpPr>
          <p:nvPr>
            <p:ph type="sldNum" sz="quarter" idx="2"/>
          </p:nvPr>
        </p:nvSpPr>
        <p:spPr>
          <a:xfrm>
            <a:off x="11626850" y="6344103"/>
            <a:ext cx="293350" cy="241092"/>
          </a:xfrm>
          <a:prstGeom prst="rect">
            <a:avLst/>
          </a:prstGeom>
        </p:spPr>
        <p:txBody>
          <a:bodyPr/>
          <a:lstStyle>
            <a:lvl1pPr>
              <a:defRPr>
                <a:latin typeface="+mn-lt"/>
                <a:ea typeface="+mn-ea"/>
                <a:cs typeface="+mn-cs"/>
                <a:sym typeface="Helvetica Neue"/>
              </a:defRPr>
            </a:lvl1pPr>
          </a:lstStyle>
          <a:p>
            <a:fld id="{86CB4B4D-7CA3-9044-876B-883B54F8677D}" type="slidenum">
              <a:t>‹N°›</a:t>
            </a:fld>
            <a:endParaRPr/>
          </a:p>
        </p:txBody>
      </p:sp>
      <p:pic>
        <p:nvPicPr>
          <p:cNvPr id="10" name="Graphique 9">
            <a:extLst>
              <a:ext uri="{FF2B5EF4-FFF2-40B4-BE49-F238E27FC236}">
                <a16:creationId xmlns:a16="http://schemas.microsoft.com/office/drawing/2014/main" id="{86EE7A08-4D0C-144E-BFEF-526ECAC29B5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737049" y="5908798"/>
            <a:ext cx="1387608" cy="407915"/>
          </a:xfrm>
          <a:prstGeom prst="rect">
            <a:avLst/>
          </a:prstGeom>
        </p:spPr>
      </p:pic>
      <p:pic>
        <p:nvPicPr>
          <p:cNvPr id="12" name="Image 11">
            <a:extLst>
              <a:ext uri="{FF2B5EF4-FFF2-40B4-BE49-F238E27FC236}">
                <a16:creationId xmlns:a16="http://schemas.microsoft.com/office/drawing/2014/main" id="{5E7F21C3-C973-D74D-B54D-44DF4AC21C10}"/>
              </a:ext>
            </a:extLst>
          </p:cNvPr>
          <p:cNvPicPr>
            <a:picLocks noChangeAspect="1"/>
          </p:cNvPicPr>
          <p:nvPr userDrawn="1"/>
        </p:nvPicPr>
        <p:blipFill>
          <a:blip r:embed="rId6">
            <a:alphaModFix/>
          </a:blip>
          <a:stretch>
            <a:fillRect/>
          </a:stretch>
        </p:blipFill>
        <p:spPr>
          <a:xfrm>
            <a:off x="713813" y="5606893"/>
            <a:ext cx="1507710" cy="1174540"/>
          </a:xfrm>
          <a:prstGeom prst="rect">
            <a:avLst/>
          </a:prstGeom>
        </p:spPr>
      </p:pic>
      <p:sp>
        <p:nvSpPr>
          <p:cNvPr id="13" name="Auteur et date">
            <a:extLst>
              <a:ext uri="{FF2B5EF4-FFF2-40B4-BE49-F238E27FC236}">
                <a16:creationId xmlns:a16="http://schemas.microsoft.com/office/drawing/2014/main" id="{C0145E43-6943-BC44-8613-59CBD5A58BCA}"/>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Session de sensibilisation à Mon espace santé</a:t>
            </a:r>
          </a:p>
        </p:txBody>
      </p:sp>
    </p:spTree>
    <p:extLst>
      <p:ext uri="{BB962C8B-B14F-4D97-AF65-F5344CB8AC3E}">
        <p14:creationId xmlns:p14="http://schemas.microsoft.com/office/powerpoint/2010/main" val="1834555961"/>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Titre">
    <p:spTree>
      <p:nvGrpSpPr>
        <p:cNvPr id="1" name=""/>
        <p:cNvGrpSpPr/>
        <p:nvPr/>
      </p:nvGrpSpPr>
      <p:grpSpPr>
        <a:xfrm>
          <a:off x="0" y="0"/>
          <a:ext cx="0" cy="0"/>
          <a:chOff x="0" y="0"/>
          <a:chExt cx="0" cy="0"/>
        </a:xfrm>
      </p:grpSpPr>
      <p:pic>
        <p:nvPicPr>
          <p:cNvPr id="17" name="MES-masque PPT.jpg" descr="MES-masque PPT.jpg"/>
          <p:cNvPicPr>
            <a:picLocks noChangeAspect="1"/>
          </p:cNvPicPr>
          <p:nvPr userDrawn="1"/>
        </p:nvPicPr>
        <p:blipFill rotWithShape="1">
          <a:blip r:embed="rId2"/>
          <a:srcRect b="18743"/>
          <a:stretch/>
        </p:blipFill>
        <p:spPr>
          <a:xfrm>
            <a:off x="-1" y="1874"/>
            <a:ext cx="12192001" cy="5569586"/>
          </a:xfrm>
          <a:prstGeom prst="rect">
            <a:avLst/>
          </a:prstGeom>
          <a:ln w="12700">
            <a:miter lim="400000"/>
          </a:ln>
        </p:spPr>
      </p:pic>
      <p:sp>
        <p:nvSpPr>
          <p:cNvPr id="19" name="Titre de la présentation"/>
          <p:cNvSpPr txBox="1">
            <a:spLocks noGrp="1"/>
          </p:cNvSpPr>
          <p:nvPr>
            <p:ph type="title" hasCustomPrompt="1"/>
          </p:nvPr>
        </p:nvSpPr>
        <p:spPr>
          <a:xfrm>
            <a:off x="794902" y="2025265"/>
            <a:ext cx="6761760" cy="1263055"/>
          </a:xfrm>
          <a:prstGeom prst="rect">
            <a:avLst/>
          </a:prstGeom>
        </p:spPr>
        <p:txBody>
          <a:bodyPr anchor="b"/>
          <a:lstStyle>
            <a:lvl1pPr>
              <a:defRPr sz="3000" cap="all" spc="-60"/>
            </a:lvl1pPr>
          </a:lstStyle>
          <a:p>
            <a:r>
              <a:rPr err="1"/>
              <a:t>Titre</a:t>
            </a:r>
            <a:r>
              <a:t> de la </a:t>
            </a:r>
            <a:r>
              <a:rPr err="1"/>
              <a:t>présentation</a:t>
            </a:r>
            <a:endParaRPr/>
          </a:p>
        </p:txBody>
      </p:sp>
      <p:sp>
        <p:nvSpPr>
          <p:cNvPr id="21" name="Ligne"/>
          <p:cNvSpPr/>
          <p:nvPr/>
        </p:nvSpPr>
        <p:spPr>
          <a:xfrm>
            <a:off x="830437" y="3429000"/>
            <a:ext cx="6106157" cy="1"/>
          </a:xfrm>
          <a:prstGeom prst="line">
            <a:avLst/>
          </a:prstGeom>
          <a:ln w="114300">
            <a:solidFill>
              <a:srgbClr val="005C9B"/>
            </a:solidFill>
            <a:miter lim="400000"/>
          </a:ln>
        </p:spPr>
        <p:txBody>
          <a:bodyPr lIns="25400" tIns="25400" rIns="25400" bIns="25400" anchor="ctr"/>
          <a:lstStyle/>
          <a:p>
            <a:endParaRPr sz="900"/>
          </a:p>
        </p:txBody>
      </p:sp>
      <p:sp>
        <p:nvSpPr>
          <p:cNvPr id="22" name="Ligne"/>
          <p:cNvSpPr/>
          <p:nvPr/>
        </p:nvSpPr>
        <p:spPr>
          <a:xfrm>
            <a:off x="6926728" y="3429000"/>
            <a:ext cx="1785299" cy="22339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604" y="0"/>
                </a:lnTo>
                <a:lnTo>
                  <a:pt x="21600" y="505"/>
                </a:lnTo>
              </a:path>
            </a:pathLst>
          </a:custGeom>
          <a:ln w="114300">
            <a:solidFill>
              <a:srgbClr val="005C9B"/>
            </a:solidFill>
            <a:miter lim="400000"/>
          </a:ln>
        </p:spPr>
        <p:txBody>
          <a:bodyPr lIns="25400" tIns="25400" rIns="25400" bIns="25400" anchor="ctr"/>
          <a:lstStyle/>
          <a:p>
            <a:pPr>
              <a:defRPr>
                <a:solidFill>
                  <a:srgbClr val="005C9B"/>
                </a:solidFill>
              </a:defRPr>
            </a:pPr>
            <a:endParaRPr sz="900"/>
          </a:p>
        </p:txBody>
      </p:sp>
      <p:sp>
        <p:nvSpPr>
          <p:cNvPr id="23" name="Sur titre de la présentation"/>
          <p:cNvSpPr txBox="1">
            <a:spLocks noGrp="1"/>
          </p:cNvSpPr>
          <p:nvPr>
            <p:ph type="body" sz="quarter" idx="22"/>
          </p:nvPr>
        </p:nvSpPr>
        <p:spPr>
          <a:xfrm>
            <a:off x="794902" y="3537024"/>
            <a:ext cx="2880597" cy="302647"/>
          </a:xfrm>
          <a:prstGeom prst="rect">
            <a:avLst/>
          </a:prstGeom>
        </p:spPr>
        <p:txBody>
          <a:bodyPr wrap="none" anchor="ctr">
            <a:spAutoFit/>
          </a:bodyPr>
          <a:lstStyle>
            <a:lvl1pPr algn="ctr" defTabSz="1219169">
              <a:defRPr sz="1300" cap="all"/>
            </a:lvl1pPr>
          </a:lstStyle>
          <a:p>
            <a:r>
              <a:t>Sur </a:t>
            </a:r>
            <a:r>
              <a:rPr err="1"/>
              <a:t>titre</a:t>
            </a:r>
            <a:r>
              <a:t> de la </a:t>
            </a:r>
            <a:r>
              <a:rPr err="1"/>
              <a:t>présentation</a:t>
            </a:r>
            <a:endParaRPr/>
          </a:p>
        </p:txBody>
      </p:sp>
      <p:sp>
        <p:nvSpPr>
          <p:cNvPr id="24" name="Numéro de diapositive"/>
          <p:cNvSpPr txBox="1">
            <a:spLocks noGrp="1"/>
          </p:cNvSpPr>
          <p:nvPr>
            <p:ph type="sldNum" sz="quarter" idx="2"/>
          </p:nvPr>
        </p:nvSpPr>
        <p:spPr>
          <a:xfrm>
            <a:off x="11626850" y="6344103"/>
            <a:ext cx="293350" cy="241092"/>
          </a:xfrm>
          <a:prstGeom prst="rect">
            <a:avLst/>
          </a:prstGeom>
        </p:spPr>
        <p:txBody>
          <a:bodyPr/>
          <a:lstStyle>
            <a:lvl1pPr>
              <a:defRPr>
                <a:latin typeface="+mn-lt"/>
                <a:ea typeface="+mn-ea"/>
                <a:cs typeface="+mn-cs"/>
                <a:sym typeface="Helvetica Neue"/>
              </a:defRPr>
            </a:lvl1pPr>
          </a:lstStyle>
          <a:p>
            <a:fld id="{86CB4B4D-7CA3-9044-876B-883B54F8677D}" type="slidenum">
              <a:t>‹N°›</a:t>
            </a:fld>
            <a:endParaRPr/>
          </a:p>
        </p:txBody>
      </p:sp>
      <p:pic>
        <p:nvPicPr>
          <p:cNvPr id="10" name="Logo-ReMES.png" descr="Logo-ReMES.png">
            <a:extLst>
              <a:ext uri="{FF2B5EF4-FFF2-40B4-BE49-F238E27FC236}">
                <a16:creationId xmlns:a16="http://schemas.microsoft.com/office/drawing/2014/main" id="{25275FFF-632A-6B46-96DE-FFAF89E4BDF9}"/>
              </a:ext>
            </a:extLst>
          </p:cNvPr>
          <p:cNvPicPr>
            <a:picLocks noChangeAspect="1"/>
          </p:cNvPicPr>
          <p:nvPr userDrawn="1"/>
        </p:nvPicPr>
        <p:blipFill>
          <a:blip r:embed="rId3"/>
          <a:stretch>
            <a:fillRect/>
          </a:stretch>
        </p:blipFill>
        <p:spPr>
          <a:xfrm>
            <a:off x="616672" y="373987"/>
            <a:ext cx="1999528" cy="2163424"/>
          </a:xfrm>
          <a:prstGeom prst="rect">
            <a:avLst/>
          </a:prstGeom>
          <a:ln w="12700">
            <a:miter lim="400000"/>
          </a:ln>
        </p:spPr>
      </p:pic>
      <p:pic>
        <p:nvPicPr>
          <p:cNvPr id="9" name="Graphique 8">
            <a:extLst>
              <a:ext uri="{FF2B5EF4-FFF2-40B4-BE49-F238E27FC236}">
                <a16:creationId xmlns:a16="http://schemas.microsoft.com/office/drawing/2014/main" id="{BA6711FC-B5BC-D940-821A-E4CB71FE228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737049" y="5908798"/>
            <a:ext cx="1387608" cy="407915"/>
          </a:xfrm>
          <a:prstGeom prst="rect">
            <a:avLst/>
          </a:prstGeom>
        </p:spPr>
      </p:pic>
      <p:pic>
        <p:nvPicPr>
          <p:cNvPr id="11" name="Image 10">
            <a:extLst>
              <a:ext uri="{FF2B5EF4-FFF2-40B4-BE49-F238E27FC236}">
                <a16:creationId xmlns:a16="http://schemas.microsoft.com/office/drawing/2014/main" id="{C87D54A3-EE03-1B43-BF95-133AE8DDE44D}"/>
              </a:ext>
            </a:extLst>
          </p:cNvPr>
          <p:cNvPicPr>
            <a:picLocks noChangeAspect="1"/>
          </p:cNvPicPr>
          <p:nvPr userDrawn="1"/>
        </p:nvPicPr>
        <p:blipFill>
          <a:blip r:embed="rId6">
            <a:alphaModFix/>
          </a:blip>
          <a:stretch>
            <a:fillRect/>
          </a:stretch>
        </p:blipFill>
        <p:spPr>
          <a:xfrm>
            <a:off x="713813" y="5606893"/>
            <a:ext cx="1507710" cy="1174540"/>
          </a:xfrm>
          <a:prstGeom prst="rect">
            <a:avLst/>
          </a:prstGeom>
        </p:spPr>
      </p:pic>
      <p:sp>
        <p:nvSpPr>
          <p:cNvPr id="12" name="Auteur et date">
            <a:extLst>
              <a:ext uri="{FF2B5EF4-FFF2-40B4-BE49-F238E27FC236}">
                <a16:creationId xmlns:a16="http://schemas.microsoft.com/office/drawing/2014/main" id="{2B859A87-B1E0-4044-8157-E71691372C06}"/>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Session de sensibilisation à Mon espace santé</a:t>
            </a:r>
          </a:p>
        </p:txBody>
      </p:sp>
      <p:pic>
        <p:nvPicPr>
          <p:cNvPr id="2" name="Image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68021" y="5546328"/>
            <a:ext cx="2040043" cy="1295669"/>
          </a:xfrm>
          <a:prstGeom prst="rect">
            <a:avLst/>
          </a:prstGeom>
        </p:spPr>
      </p:pic>
    </p:spTree>
    <p:extLst>
      <p:ext uri="{BB962C8B-B14F-4D97-AF65-F5344CB8AC3E}">
        <p14:creationId xmlns:p14="http://schemas.microsoft.com/office/powerpoint/2010/main" val="3491152221"/>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hapitre">
    <p:spTree>
      <p:nvGrpSpPr>
        <p:cNvPr id="1" name=""/>
        <p:cNvGrpSpPr/>
        <p:nvPr/>
      </p:nvGrpSpPr>
      <p:grpSpPr>
        <a:xfrm>
          <a:off x="0" y="0"/>
          <a:ext cx="0" cy="0"/>
          <a:chOff x="0" y="0"/>
          <a:chExt cx="0" cy="0"/>
        </a:xfrm>
      </p:grpSpPr>
      <p:pic>
        <p:nvPicPr>
          <p:cNvPr id="7" name="Graphique 6">
            <a:extLst>
              <a:ext uri="{FF2B5EF4-FFF2-40B4-BE49-F238E27FC236}">
                <a16:creationId xmlns:a16="http://schemas.microsoft.com/office/drawing/2014/main" id="{B220D2EE-C8F8-5242-AC0E-C44EB0E22A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12819" y="6390559"/>
            <a:ext cx="819724" cy="240974"/>
          </a:xfrm>
          <a:prstGeom prst="rect">
            <a:avLst/>
          </a:prstGeom>
        </p:spPr>
      </p:pic>
      <p:sp>
        <p:nvSpPr>
          <p:cNvPr id="32" name="Numéro de diapositive"/>
          <p:cNvSpPr txBox="1">
            <a:spLocks noGrp="1"/>
          </p:cNvSpPr>
          <p:nvPr>
            <p:ph type="sldNum" sz="quarter" idx="2"/>
          </p:nvPr>
        </p:nvSpPr>
        <p:spPr>
          <a:prstGeom prst="rect">
            <a:avLst/>
          </a:prstGeom>
        </p:spPr>
        <p:txBody>
          <a:bodyPr/>
          <a:lstStyle/>
          <a:p>
            <a:fld id="{86CB4B4D-7CA3-9044-876B-883B54F8677D}" type="slidenum">
              <a:t>‹N°›</a:t>
            </a:fld>
            <a:endParaRPr/>
          </a:p>
        </p:txBody>
      </p:sp>
      <p:sp>
        <p:nvSpPr>
          <p:cNvPr id="33" name="Titre du chapitre"/>
          <p:cNvSpPr txBox="1">
            <a:spLocks noGrp="1"/>
          </p:cNvSpPr>
          <p:nvPr>
            <p:ph type="body" sz="quarter" idx="22" hasCustomPrompt="1"/>
          </p:nvPr>
        </p:nvSpPr>
        <p:spPr>
          <a:xfrm>
            <a:off x="3450165" y="3390139"/>
            <a:ext cx="6761760" cy="1263055"/>
          </a:xfrm>
          <a:prstGeom prst="rect">
            <a:avLst/>
          </a:prstGeom>
        </p:spPr>
        <p:txBody>
          <a:bodyPr anchor="b"/>
          <a:lstStyle>
            <a:lvl1pPr defTabSz="1219169">
              <a:lnSpc>
                <a:spcPct val="80000"/>
              </a:lnSpc>
              <a:defRPr sz="3000" cap="all" spc="-60">
                <a:solidFill>
                  <a:srgbClr val="005C9B"/>
                </a:solidFill>
              </a:defRPr>
            </a:lvl1pPr>
          </a:lstStyle>
          <a:p>
            <a:r>
              <a:t>TITRE CHAPITRE</a:t>
            </a:r>
          </a:p>
        </p:txBody>
      </p:sp>
      <p:pic>
        <p:nvPicPr>
          <p:cNvPr id="9" name="Imag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11536" y="6234793"/>
            <a:ext cx="839961" cy="533475"/>
          </a:xfrm>
          <a:prstGeom prst="rect">
            <a:avLst/>
          </a:prstGeom>
        </p:spPr>
      </p:pic>
    </p:spTree>
    <p:extLst>
      <p:ext uri="{BB962C8B-B14F-4D97-AF65-F5344CB8AC3E}">
        <p14:creationId xmlns:p14="http://schemas.microsoft.com/office/powerpoint/2010/main" val="320092425"/>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chapitre">
    <p:spTree>
      <p:nvGrpSpPr>
        <p:cNvPr id="1" name=""/>
        <p:cNvGrpSpPr/>
        <p:nvPr/>
      </p:nvGrpSpPr>
      <p:grpSpPr>
        <a:xfrm>
          <a:off x="0" y="0"/>
          <a:ext cx="0" cy="0"/>
          <a:chOff x="0" y="0"/>
          <a:chExt cx="0" cy="0"/>
        </a:xfrm>
      </p:grpSpPr>
      <p:grpSp>
        <p:nvGrpSpPr>
          <p:cNvPr id="6" name="Groupe 5">
            <a:extLst>
              <a:ext uri="{FF2B5EF4-FFF2-40B4-BE49-F238E27FC236}">
                <a16:creationId xmlns:a16="http://schemas.microsoft.com/office/drawing/2014/main" id="{864D9B84-C9D4-434A-A912-274C3D652996}"/>
              </a:ext>
            </a:extLst>
          </p:cNvPr>
          <p:cNvGrpSpPr/>
          <p:nvPr userDrawn="1"/>
        </p:nvGrpSpPr>
        <p:grpSpPr>
          <a:xfrm>
            <a:off x="255787" y="6233160"/>
            <a:ext cx="1676757" cy="574622"/>
            <a:chOff x="373815" y="6143191"/>
            <a:chExt cx="1828112" cy="626491"/>
          </a:xfrm>
        </p:grpSpPr>
        <p:pic>
          <p:nvPicPr>
            <p:cNvPr id="7" name="Graphique 6">
              <a:extLst>
                <a:ext uri="{FF2B5EF4-FFF2-40B4-BE49-F238E27FC236}">
                  <a16:creationId xmlns:a16="http://schemas.microsoft.com/office/drawing/2014/main" id="{B220D2EE-C8F8-5242-AC0E-C44EB0E22A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308209" y="6314802"/>
              <a:ext cx="893718" cy="262726"/>
            </a:xfrm>
            <a:prstGeom prst="rect">
              <a:avLst/>
            </a:prstGeom>
          </p:spPr>
        </p:pic>
        <p:pic>
          <p:nvPicPr>
            <p:cNvPr id="8" name="Image 7">
              <a:extLst>
                <a:ext uri="{FF2B5EF4-FFF2-40B4-BE49-F238E27FC236}">
                  <a16:creationId xmlns:a16="http://schemas.microsoft.com/office/drawing/2014/main" id="{16BC40A0-2206-B240-9C54-6D424BB136AB}"/>
                </a:ext>
              </a:extLst>
            </p:cNvPr>
            <p:cNvPicPr>
              <a:picLocks noChangeAspect="1"/>
            </p:cNvPicPr>
            <p:nvPr userDrawn="1"/>
          </p:nvPicPr>
          <p:blipFill>
            <a:blip r:embed="rId4"/>
            <a:stretch>
              <a:fillRect/>
            </a:stretch>
          </p:blipFill>
          <p:spPr>
            <a:xfrm>
              <a:off x="373815" y="6143191"/>
              <a:ext cx="804201" cy="626491"/>
            </a:xfrm>
            <a:prstGeom prst="rect">
              <a:avLst/>
            </a:prstGeom>
          </p:spPr>
        </p:pic>
      </p:grpSp>
      <p:sp>
        <p:nvSpPr>
          <p:cNvPr id="32" name="Numéro de diapositive"/>
          <p:cNvSpPr txBox="1">
            <a:spLocks noGrp="1"/>
          </p:cNvSpPr>
          <p:nvPr>
            <p:ph type="sldNum" sz="quarter" idx="2"/>
          </p:nvPr>
        </p:nvSpPr>
        <p:spPr>
          <a:prstGeom prst="rect">
            <a:avLst/>
          </a:prstGeom>
        </p:spPr>
        <p:txBody>
          <a:bodyPr/>
          <a:lstStyle/>
          <a:p>
            <a:fld id="{86CB4B4D-7CA3-9044-876B-883B54F8677D}" type="slidenum">
              <a:t>‹N°›</a:t>
            </a:fld>
            <a:endParaRPr/>
          </a:p>
        </p:txBody>
      </p:sp>
      <p:pic>
        <p:nvPicPr>
          <p:cNvPr id="9" name="Image 8">
            <a:extLst>
              <a:ext uri="{FF2B5EF4-FFF2-40B4-BE49-F238E27FC236}">
                <a16:creationId xmlns:a16="http://schemas.microsoft.com/office/drawing/2014/main" id="{6690657A-EA41-284A-B4C4-EFC9AFD722AF}"/>
              </a:ext>
            </a:extLst>
          </p:cNvPr>
          <p:cNvPicPr>
            <a:picLocks noChangeAspect="1"/>
          </p:cNvPicPr>
          <p:nvPr userDrawn="1"/>
        </p:nvPicPr>
        <p:blipFill rotWithShape="1">
          <a:blip r:embed="rId5"/>
          <a:srcRect b="26788"/>
          <a:stretch/>
        </p:blipFill>
        <p:spPr>
          <a:xfrm>
            <a:off x="-1" y="-1"/>
            <a:ext cx="12192001" cy="6195060"/>
          </a:xfrm>
          <a:prstGeom prst="rect">
            <a:avLst/>
          </a:prstGeom>
        </p:spPr>
      </p:pic>
      <p:pic>
        <p:nvPicPr>
          <p:cNvPr id="10" name="Imag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11536" y="6234793"/>
            <a:ext cx="839961" cy="533475"/>
          </a:xfrm>
          <a:prstGeom prst="rect">
            <a:avLst/>
          </a:prstGeom>
        </p:spPr>
      </p:pic>
    </p:spTree>
    <p:extLst>
      <p:ext uri="{BB962C8B-B14F-4D97-AF65-F5344CB8AC3E}">
        <p14:creationId xmlns:p14="http://schemas.microsoft.com/office/powerpoint/2010/main" val="3430836013"/>
      </p:ext>
    </p:extLst>
  </p:cSld>
  <p:clrMapOvr>
    <a:masterClrMapping/>
  </p:clrMapOvr>
  <p:transition spd="med"/>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re et puces">
    <p:spTree>
      <p:nvGrpSpPr>
        <p:cNvPr id="1" name=""/>
        <p:cNvGrpSpPr/>
        <p:nvPr/>
      </p:nvGrpSpPr>
      <p:grpSpPr>
        <a:xfrm>
          <a:off x="0" y="0"/>
          <a:ext cx="0" cy="0"/>
          <a:chOff x="0" y="0"/>
          <a:chExt cx="0" cy="0"/>
        </a:xfrm>
      </p:grpSpPr>
      <p:pic>
        <p:nvPicPr>
          <p:cNvPr id="40" name="MES-masque PPT3.jpg" descr="MES-masque PPT3.jpg"/>
          <p:cNvPicPr>
            <a:picLocks noChangeAspect="1"/>
          </p:cNvPicPr>
          <p:nvPr/>
        </p:nvPicPr>
        <p:blipFill rotWithShape="1">
          <a:blip r:embed="rId2"/>
          <a:srcRect b="25207"/>
          <a:stretch/>
        </p:blipFill>
        <p:spPr>
          <a:xfrm>
            <a:off x="-1" y="-13855"/>
            <a:ext cx="12192001" cy="1472537"/>
          </a:xfrm>
          <a:prstGeom prst="rect">
            <a:avLst/>
          </a:prstGeom>
          <a:ln w="12700">
            <a:miter lim="400000"/>
          </a:ln>
        </p:spPr>
      </p:pic>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N°›</a:t>
            </a:fld>
            <a:endParaRPr/>
          </a:p>
        </p:txBody>
      </p:sp>
      <p:sp>
        <p:nvSpPr>
          <p:cNvPr id="45" name="Ligne"/>
          <p:cNvSpPr/>
          <p:nvPr/>
        </p:nvSpPr>
        <p:spPr>
          <a:xfrm>
            <a:off x="327103" y="1006372"/>
            <a:ext cx="7623618" cy="0"/>
          </a:xfrm>
          <a:prstGeom prst="line">
            <a:avLst/>
          </a:prstGeom>
          <a:ln w="63500">
            <a:solidFill>
              <a:srgbClr val="005C9B"/>
            </a:solidFill>
            <a:miter lim="400000"/>
          </a:ln>
        </p:spPr>
        <p:txBody>
          <a:bodyPr lIns="25400" tIns="25400" rIns="25400" bIns="25400" anchor="ctr"/>
          <a:lstStyle/>
          <a:p>
            <a:endParaRPr sz="900"/>
          </a:p>
        </p:txBody>
      </p:sp>
      <p:sp>
        <p:nvSpPr>
          <p:cNvPr id="46" name="Ligne"/>
          <p:cNvSpPr/>
          <p:nvPr/>
        </p:nvSpPr>
        <p:spPr>
          <a:xfrm>
            <a:off x="7971052" y="999061"/>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63500">
            <a:solidFill>
              <a:srgbClr val="005C9B"/>
            </a:solidFill>
            <a:miter lim="400000"/>
          </a:ln>
        </p:spPr>
        <p:txBody>
          <a:bodyPr lIns="25400" tIns="25400" rIns="25400" bIns="25400" anchor="ctr"/>
          <a:lstStyle/>
          <a:p>
            <a:pPr>
              <a:defRPr>
                <a:solidFill>
                  <a:srgbClr val="005C9B"/>
                </a:solidFill>
              </a:defRPr>
            </a:pPr>
            <a:endParaRPr sz="900"/>
          </a:p>
        </p:txBody>
      </p:sp>
      <p:sp>
        <p:nvSpPr>
          <p:cNvPr id="48" name="Ligne"/>
          <p:cNvSpPr/>
          <p:nvPr/>
        </p:nvSpPr>
        <p:spPr>
          <a:xfrm flipV="1">
            <a:off x="327103" y="6154495"/>
            <a:ext cx="11434174" cy="7148"/>
          </a:xfrm>
          <a:prstGeom prst="line">
            <a:avLst/>
          </a:prstGeom>
          <a:ln w="50800">
            <a:solidFill>
              <a:srgbClr val="005C9B"/>
            </a:solidFill>
            <a:miter lim="400000"/>
          </a:ln>
        </p:spPr>
        <p:txBody>
          <a:bodyPr lIns="25400" tIns="25400" rIns="25400" bIns="25400" anchor="ctr"/>
          <a:lstStyle/>
          <a:p>
            <a:endParaRPr sz="900"/>
          </a:p>
        </p:txBody>
      </p:sp>
      <p:sp>
        <p:nvSpPr>
          <p:cNvPr id="12" name="Titre 1">
            <a:extLst>
              <a:ext uri="{FF2B5EF4-FFF2-40B4-BE49-F238E27FC236}">
                <a16:creationId xmlns:a16="http://schemas.microsoft.com/office/drawing/2014/main" id="{D00C3AFE-F4E7-CE4A-AEA1-5618EB75DD74}"/>
              </a:ext>
            </a:extLst>
          </p:cNvPr>
          <p:cNvSpPr>
            <a:spLocks noGrp="1"/>
          </p:cNvSpPr>
          <p:nvPr>
            <p:ph type="title" hasCustomPrompt="1"/>
          </p:nvPr>
        </p:nvSpPr>
        <p:spPr>
          <a:xfrm>
            <a:off x="282960" y="-130625"/>
            <a:ext cx="6984241" cy="1133342"/>
          </a:xfrm>
        </p:spPr>
        <p:txBody>
          <a:bodyPr anchor="b"/>
          <a:lstStyle/>
          <a:p>
            <a:r>
              <a:rPr lang="fr-FR"/>
              <a:t>MODIFIEZ LE STYLE DU TITRE</a:t>
            </a:r>
          </a:p>
        </p:txBody>
      </p:sp>
      <p:grpSp>
        <p:nvGrpSpPr>
          <p:cNvPr id="16" name="Groupe 15">
            <a:extLst>
              <a:ext uri="{FF2B5EF4-FFF2-40B4-BE49-F238E27FC236}">
                <a16:creationId xmlns:a16="http://schemas.microsoft.com/office/drawing/2014/main" id="{19032A32-3BC4-6941-AECF-FE9C27BA9C6C}"/>
              </a:ext>
            </a:extLst>
          </p:cNvPr>
          <p:cNvGrpSpPr/>
          <p:nvPr userDrawn="1"/>
        </p:nvGrpSpPr>
        <p:grpSpPr>
          <a:xfrm>
            <a:off x="255787" y="6233160"/>
            <a:ext cx="1676757" cy="574622"/>
            <a:chOff x="373815" y="6143191"/>
            <a:chExt cx="1828112" cy="626491"/>
          </a:xfrm>
        </p:grpSpPr>
        <p:pic>
          <p:nvPicPr>
            <p:cNvPr id="17" name="Graphique 16">
              <a:extLst>
                <a:ext uri="{FF2B5EF4-FFF2-40B4-BE49-F238E27FC236}">
                  <a16:creationId xmlns:a16="http://schemas.microsoft.com/office/drawing/2014/main" id="{0D43403C-1FA0-DA49-ADAE-94E5F1D58A1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308209" y="6314802"/>
              <a:ext cx="893718" cy="262726"/>
            </a:xfrm>
            <a:prstGeom prst="rect">
              <a:avLst/>
            </a:prstGeom>
          </p:spPr>
        </p:pic>
        <p:pic>
          <p:nvPicPr>
            <p:cNvPr id="18" name="Image 17">
              <a:extLst>
                <a:ext uri="{FF2B5EF4-FFF2-40B4-BE49-F238E27FC236}">
                  <a16:creationId xmlns:a16="http://schemas.microsoft.com/office/drawing/2014/main" id="{ACB49F1B-E482-C642-8571-1C5552E66A3F}"/>
                </a:ext>
              </a:extLst>
            </p:cNvPr>
            <p:cNvPicPr>
              <a:picLocks noChangeAspect="1"/>
            </p:cNvPicPr>
            <p:nvPr userDrawn="1"/>
          </p:nvPicPr>
          <p:blipFill>
            <a:blip r:embed="rId5"/>
            <a:stretch>
              <a:fillRect/>
            </a:stretch>
          </p:blipFill>
          <p:spPr>
            <a:xfrm>
              <a:off x="373815" y="6143191"/>
              <a:ext cx="804201" cy="626491"/>
            </a:xfrm>
            <a:prstGeom prst="rect">
              <a:avLst/>
            </a:prstGeom>
          </p:spPr>
        </p:pic>
      </p:grpSp>
      <p:pic>
        <p:nvPicPr>
          <p:cNvPr id="19" name="Logo-ReMES.png" descr="Logo-ReMES.png">
            <a:extLst>
              <a:ext uri="{FF2B5EF4-FFF2-40B4-BE49-F238E27FC236}">
                <a16:creationId xmlns:a16="http://schemas.microsoft.com/office/drawing/2014/main" id="{970D7B19-CD8E-CE4E-80E2-AF4AF9820198}"/>
              </a:ext>
            </a:extLst>
          </p:cNvPr>
          <p:cNvPicPr>
            <a:picLocks noChangeAspect="1"/>
          </p:cNvPicPr>
          <p:nvPr userDrawn="1"/>
        </p:nvPicPr>
        <p:blipFill>
          <a:blip r:embed="rId6"/>
          <a:stretch>
            <a:fillRect/>
          </a:stretch>
        </p:blipFill>
        <p:spPr>
          <a:xfrm>
            <a:off x="10455732" y="-37842"/>
            <a:ext cx="1453308" cy="1572432"/>
          </a:xfrm>
          <a:prstGeom prst="rect">
            <a:avLst/>
          </a:prstGeom>
          <a:ln w="12700">
            <a:miter lim="400000"/>
          </a:ln>
        </p:spPr>
      </p:pic>
      <p:sp>
        <p:nvSpPr>
          <p:cNvPr id="20" name="Auteur et date">
            <a:extLst>
              <a:ext uri="{FF2B5EF4-FFF2-40B4-BE49-F238E27FC236}">
                <a16:creationId xmlns:a16="http://schemas.microsoft.com/office/drawing/2014/main" id="{DFDEC6E2-7E3C-9E41-8681-32F97B8C6C09}"/>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Session de sensibilisation à Mon espace santé</a:t>
            </a:r>
          </a:p>
        </p:txBody>
      </p:sp>
      <p:pic>
        <p:nvPicPr>
          <p:cNvPr id="14" name="Imag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11536" y="6234793"/>
            <a:ext cx="839961" cy="533475"/>
          </a:xfrm>
          <a:prstGeom prst="rect">
            <a:avLst/>
          </a:prstGeom>
        </p:spPr>
      </p:pic>
    </p:spTree>
    <p:extLst>
      <p:ext uri="{BB962C8B-B14F-4D97-AF65-F5344CB8AC3E}">
        <p14:creationId xmlns:p14="http://schemas.microsoft.com/office/powerpoint/2010/main" val="617883059"/>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2_Titre et puces">
    <p:spTree>
      <p:nvGrpSpPr>
        <p:cNvPr id="1" name=""/>
        <p:cNvGrpSpPr/>
        <p:nvPr/>
      </p:nvGrpSpPr>
      <p:grpSpPr>
        <a:xfrm>
          <a:off x="0" y="0"/>
          <a:ext cx="0" cy="0"/>
          <a:chOff x="0" y="0"/>
          <a:chExt cx="0" cy="0"/>
        </a:xfrm>
      </p:grpSpPr>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N°›</a:t>
            </a:fld>
            <a:endParaRPr/>
          </a:p>
        </p:txBody>
      </p:sp>
      <p:grpSp>
        <p:nvGrpSpPr>
          <p:cNvPr id="16" name="Groupe 15">
            <a:extLst>
              <a:ext uri="{FF2B5EF4-FFF2-40B4-BE49-F238E27FC236}">
                <a16:creationId xmlns:a16="http://schemas.microsoft.com/office/drawing/2014/main" id="{FD4BED4F-8FB7-344B-8640-D3763E8D889C}"/>
              </a:ext>
            </a:extLst>
          </p:cNvPr>
          <p:cNvGrpSpPr/>
          <p:nvPr userDrawn="1"/>
        </p:nvGrpSpPr>
        <p:grpSpPr>
          <a:xfrm>
            <a:off x="255787" y="6233160"/>
            <a:ext cx="1676757" cy="574622"/>
            <a:chOff x="373815" y="6143191"/>
            <a:chExt cx="1828112" cy="626491"/>
          </a:xfrm>
        </p:grpSpPr>
        <p:pic>
          <p:nvPicPr>
            <p:cNvPr id="17" name="Graphique 16">
              <a:extLst>
                <a:ext uri="{FF2B5EF4-FFF2-40B4-BE49-F238E27FC236}">
                  <a16:creationId xmlns:a16="http://schemas.microsoft.com/office/drawing/2014/main" id="{BF50ED17-066A-C248-AEEE-FE8F451DB44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308209" y="6314802"/>
              <a:ext cx="893718" cy="262726"/>
            </a:xfrm>
            <a:prstGeom prst="rect">
              <a:avLst/>
            </a:prstGeom>
          </p:spPr>
        </p:pic>
        <p:pic>
          <p:nvPicPr>
            <p:cNvPr id="18" name="Image 17">
              <a:extLst>
                <a:ext uri="{FF2B5EF4-FFF2-40B4-BE49-F238E27FC236}">
                  <a16:creationId xmlns:a16="http://schemas.microsoft.com/office/drawing/2014/main" id="{E4A1E0FE-0AB3-1E4A-A0C8-7DF02EA6B5CC}"/>
                </a:ext>
              </a:extLst>
            </p:cNvPr>
            <p:cNvPicPr>
              <a:picLocks noChangeAspect="1"/>
            </p:cNvPicPr>
            <p:nvPr userDrawn="1"/>
          </p:nvPicPr>
          <p:blipFill>
            <a:blip r:embed="rId4"/>
            <a:stretch>
              <a:fillRect/>
            </a:stretch>
          </p:blipFill>
          <p:spPr>
            <a:xfrm>
              <a:off x="373815" y="6143191"/>
              <a:ext cx="804201" cy="626491"/>
            </a:xfrm>
            <a:prstGeom prst="rect">
              <a:avLst/>
            </a:prstGeom>
          </p:spPr>
        </p:pic>
      </p:grpSp>
      <p:sp>
        <p:nvSpPr>
          <p:cNvPr id="19" name="Ligne">
            <a:extLst>
              <a:ext uri="{FF2B5EF4-FFF2-40B4-BE49-F238E27FC236}">
                <a16:creationId xmlns:a16="http://schemas.microsoft.com/office/drawing/2014/main" id="{D320721D-93A5-1141-B7B2-DF6C56E96DDA}"/>
              </a:ext>
            </a:extLst>
          </p:cNvPr>
          <p:cNvSpPr/>
          <p:nvPr userDrawn="1"/>
        </p:nvSpPr>
        <p:spPr>
          <a:xfrm flipV="1">
            <a:off x="327103" y="6154495"/>
            <a:ext cx="11434174" cy="7148"/>
          </a:xfrm>
          <a:prstGeom prst="line">
            <a:avLst/>
          </a:prstGeom>
          <a:ln w="50800">
            <a:solidFill>
              <a:srgbClr val="005C9B"/>
            </a:solidFill>
            <a:miter lim="400000"/>
          </a:ln>
        </p:spPr>
        <p:txBody>
          <a:bodyPr lIns="25400" tIns="25400" rIns="25400" bIns="25400" anchor="ctr"/>
          <a:lstStyle/>
          <a:p>
            <a:endParaRPr sz="900"/>
          </a:p>
        </p:txBody>
      </p:sp>
      <p:sp>
        <p:nvSpPr>
          <p:cNvPr id="8" name="Auteur et date">
            <a:extLst>
              <a:ext uri="{FF2B5EF4-FFF2-40B4-BE49-F238E27FC236}">
                <a16:creationId xmlns:a16="http://schemas.microsoft.com/office/drawing/2014/main" id="{E9814A38-F43C-6641-9359-555D391D98F8}"/>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Session de sensibilisation à Mon espace santé</a:t>
            </a:r>
          </a:p>
        </p:txBody>
      </p:sp>
      <p:pic>
        <p:nvPicPr>
          <p:cNvPr id="9" name="Imag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11536" y="6234793"/>
            <a:ext cx="839961" cy="533475"/>
          </a:xfrm>
          <a:prstGeom prst="rect">
            <a:avLst/>
          </a:prstGeom>
        </p:spPr>
      </p:pic>
    </p:spTree>
    <p:extLst>
      <p:ext uri="{BB962C8B-B14F-4D97-AF65-F5344CB8AC3E}">
        <p14:creationId xmlns:p14="http://schemas.microsoft.com/office/powerpoint/2010/main" val="250088193"/>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_Titre et puces">
    <p:spTree>
      <p:nvGrpSpPr>
        <p:cNvPr id="1" name=""/>
        <p:cNvGrpSpPr/>
        <p:nvPr/>
      </p:nvGrpSpPr>
      <p:grpSpPr>
        <a:xfrm>
          <a:off x="0" y="0"/>
          <a:ext cx="0" cy="0"/>
          <a:chOff x="0" y="0"/>
          <a:chExt cx="0" cy="0"/>
        </a:xfrm>
      </p:grpSpPr>
      <p:pic>
        <p:nvPicPr>
          <p:cNvPr id="40" name="MES-masque PPT3.jpg" descr="MES-masque PPT3.jpg"/>
          <p:cNvPicPr>
            <a:picLocks noChangeAspect="1"/>
          </p:cNvPicPr>
          <p:nvPr/>
        </p:nvPicPr>
        <p:blipFill rotWithShape="1">
          <a:blip r:embed="rId2"/>
          <a:srcRect b="18035"/>
          <a:stretch/>
        </p:blipFill>
        <p:spPr>
          <a:xfrm>
            <a:off x="-1" y="-13855"/>
            <a:ext cx="12192001" cy="1613733"/>
          </a:xfrm>
          <a:prstGeom prst="rect">
            <a:avLst/>
          </a:prstGeom>
          <a:ln w="12700">
            <a:miter lim="400000"/>
          </a:ln>
        </p:spPr>
      </p:pic>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N°›</a:t>
            </a:fld>
            <a:endParaRPr/>
          </a:p>
        </p:txBody>
      </p:sp>
      <p:pic>
        <p:nvPicPr>
          <p:cNvPr id="43" name="Logo-ReMES.png" descr="Logo-ReMES.png"/>
          <p:cNvPicPr>
            <a:picLocks noChangeAspect="1"/>
          </p:cNvPicPr>
          <p:nvPr/>
        </p:nvPicPr>
        <p:blipFill>
          <a:blip r:embed="rId3"/>
          <a:stretch>
            <a:fillRect/>
          </a:stretch>
        </p:blipFill>
        <p:spPr>
          <a:xfrm>
            <a:off x="222482" y="16625"/>
            <a:ext cx="1415817" cy="1531867"/>
          </a:xfrm>
          <a:prstGeom prst="rect">
            <a:avLst/>
          </a:prstGeom>
          <a:ln w="12700">
            <a:miter lim="400000"/>
          </a:ln>
        </p:spPr>
      </p:pic>
      <p:sp>
        <p:nvSpPr>
          <p:cNvPr id="45" name="Ligne"/>
          <p:cNvSpPr/>
          <p:nvPr/>
        </p:nvSpPr>
        <p:spPr>
          <a:xfrm>
            <a:off x="2318430" y="1153622"/>
            <a:ext cx="7224831" cy="1"/>
          </a:xfrm>
          <a:prstGeom prst="line">
            <a:avLst/>
          </a:prstGeom>
          <a:ln w="63500">
            <a:solidFill>
              <a:srgbClr val="005C9B"/>
            </a:solidFill>
            <a:miter lim="400000"/>
          </a:ln>
        </p:spPr>
        <p:txBody>
          <a:bodyPr lIns="25400" tIns="25400" rIns="25400" bIns="25400" anchor="ctr"/>
          <a:lstStyle/>
          <a:p>
            <a:endParaRPr sz="900"/>
          </a:p>
        </p:txBody>
      </p:sp>
      <p:sp>
        <p:nvSpPr>
          <p:cNvPr id="46" name="Ligne"/>
          <p:cNvSpPr/>
          <p:nvPr/>
        </p:nvSpPr>
        <p:spPr>
          <a:xfrm>
            <a:off x="9533395" y="1146312"/>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63500">
            <a:solidFill>
              <a:srgbClr val="005C9B"/>
            </a:solidFill>
            <a:miter lim="400000"/>
          </a:ln>
        </p:spPr>
        <p:txBody>
          <a:bodyPr lIns="25400" tIns="25400" rIns="25400" bIns="25400" anchor="ctr"/>
          <a:lstStyle/>
          <a:p>
            <a:pPr>
              <a:defRPr>
                <a:solidFill>
                  <a:srgbClr val="005C9B"/>
                </a:solidFill>
              </a:defRPr>
            </a:pPr>
            <a:endParaRPr sz="900"/>
          </a:p>
        </p:txBody>
      </p:sp>
      <p:sp>
        <p:nvSpPr>
          <p:cNvPr id="12" name="Titre 1">
            <a:extLst>
              <a:ext uri="{FF2B5EF4-FFF2-40B4-BE49-F238E27FC236}">
                <a16:creationId xmlns:a16="http://schemas.microsoft.com/office/drawing/2014/main" id="{D00C3AFE-F4E7-CE4A-AEA1-5618EB75DD74}"/>
              </a:ext>
            </a:extLst>
          </p:cNvPr>
          <p:cNvSpPr>
            <a:spLocks noGrp="1"/>
          </p:cNvSpPr>
          <p:nvPr>
            <p:ph type="title" hasCustomPrompt="1"/>
          </p:nvPr>
        </p:nvSpPr>
        <p:spPr>
          <a:xfrm>
            <a:off x="2313517" y="16625"/>
            <a:ext cx="6984241" cy="1133342"/>
          </a:xfrm>
        </p:spPr>
        <p:txBody>
          <a:bodyPr anchor="b"/>
          <a:lstStyle/>
          <a:p>
            <a:r>
              <a:rPr lang="fr-FR"/>
              <a:t>MODIFIEZ LE STYLE DU TITRE</a:t>
            </a:r>
          </a:p>
        </p:txBody>
      </p:sp>
      <p:sp>
        <p:nvSpPr>
          <p:cNvPr id="17" name="Ligne">
            <a:extLst>
              <a:ext uri="{FF2B5EF4-FFF2-40B4-BE49-F238E27FC236}">
                <a16:creationId xmlns:a16="http://schemas.microsoft.com/office/drawing/2014/main" id="{EEC26EF3-16DB-0049-9F50-E599677CA0A6}"/>
              </a:ext>
            </a:extLst>
          </p:cNvPr>
          <p:cNvSpPr/>
          <p:nvPr userDrawn="1"/>
        </p:nvSpPr>
        <p:spPr>
          <a:xfrm flipV="1">
            <a:off x="327103" y="6154495"/>
            <a:ext cx="11434174" cy="7148"/>
          </a:xfrm>
          <a:prstGeom prst="line">
            <a:avLst/>
          </a:prstGeom>
          <a:ln w="50800">
            <a:solidFill>
              <a:srgbClr val="005C9B"/>
            </a:solidFill>
            <a:miter lim="400000"/>
          </a:ln>
        </p:spPr>
        <p:txBody>
          <a:bodyPr lIns="25400" tIns="25400" rIns="25400" bIns="25400" anchor="ctr"/>
          <a:lstStyle/>
          <a:p>
            <a:endParaRPr sz="900"/>
          </a:p>
        </p:txBody>
      </p:sp>
      <p:grpSp>
        <p:nvGrpSpPr>
          <p:cNvPr id="18" name="Groupe 17">
            <a:extLst>
              <a:ext uri="{FF2B5EF4-FFF2-40B4-BE49-F238E27FC236}">
                <a16:creationId xmlns:a16="http://schemas.microsoft.com/office/drawing/2014/main" id="{6BE71E94-1DF2-3A46-8E91-906ADC041DD4}"/>
              </a:ext>
            </a:extLst>
          </p:cNvPr>
          <p:cNvGrpSpPr/>
          <p:nvPr userDrawn="1"/>
        </p:nvGrpSpPr>
        <p:grpSpPr>
          <a:xfrm>
            <a:off x="255787" y="6233160"/>
            <a:ext cx="1676757" cy="574622"/>
            <a:chOff x="373815" y="6143191"/>
            <a:chExt cx="1828112" cy="626491"/>
          </a:xfrm>
        </p:grpSpPr>
        <p:pic>
          <p:nvPicPr>
            <p:cNvPr id="19" name="Graphique 18">
              <a:extLst>
                <a:ext uri="{FF2B5EF4-FFF2-40B4-BE49-F238E27FC236}">
                  <a16:creationId xmlns:a16="http://schemas.microsoft.com/office/drawing/2014/main" id="{83F8677E-CB5D-2141-8C43-E64AA59F446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308209" y="6314802"/>
              <a:ext cx="893718" cy="262726"/>
            </a:xfrm>
            <a:prstGeom prst="rect">
              <a:avLst/>
            </a:prstGeom>
          </p:spPr>
        </p:pic>
        <p:pic>
          <p:nvPicPr>
            <p:cNvPr id="20" name="Image 19">
              <a:extLst>
                <a:ext uri="{FF2B5EF4-FFF2-40B4-BE49-F238E27FC236}">
                  <a16:creationId xmlns:a16="http://schemas.microsoft.com/office/drawing/2014/main" id="{9B40E965-C296-F84D-A1C2-88449CB11A87}"/>
                </a:ext>
              </a:extLst>
            </p:cNvPr>
            <p:cNvPicPr>
              <a:picLocks noChangeAspect="1"/>
            </p:cNvPicPr>
            <p:nvPr userDrawn="1"/>
          </p:nvPicPr>
          <p:blipFill>
            <a:blip r:embed="rId6"/>
            <a:stretch>
              <a:fillRect/>
            </a:stretch>
          </p:blipFill>
          <p:spPr>
            <a:xfrm>
              <a:off x="373815" y="6143191"/>
              <a:ext cx="804201" cy="626491"/>
            </a:xfrm>
            <a:prstGeom prst="rect">
              <a:avLst/>
            </a:prstGeom>
          </p:spPr>
        </p:pic>
      </p:grpSp>
      <p:sp>
        <p:nvSpPr>
          <p:cNvPr id="13" name="Auteur et date">
            <a:extLst>
              <a:ext uri="{FF2B5EF4-FFF2-40B4-BE49-F238E27FC236}">
                <a16:creationId xmlns:a16="http://schemas.microsoft.com/office/drawing/2014/main" id="{E30CA11C-B037-8E48-B945-69C3DE227325}"/>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Session de sensibilisation à Mon espace santé</a:t>
            </a:r>
          </a:p>
        </p:txBody>
      </p:sp>
      <p:pic>
        <p:nvPicPr>
          <p:cNvPr id="14" name="Imag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11536" y="6234793"/>
            <a:ext cx="839961" cy="533475"/>
          </a:xfrm>
          <a:prstGeom prst="rect">
            <a:avLst/>
          </a:prstGeom>
        </p:spPr>
      </p:pic>
    </p:spTree>
    <p:extLst>
      <p:ext uri="{BB962C8B-B14F-4D97-AF65-F5344CB8AC3E}">
        <p14:creationId xmlns:p14="http://schemas.microsoft.com/office/powerpoint/2010/main" val="30876511"/>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3_Titre et puces">
    <p:spTree>
      <p:nvGrpSpPr>
        <p:cNvPr id="1" name=""/>
        <p:cNvGrpSpPr/>
        <p:nvPr/>
      </p:nvGrpSpPr>
      <p:grpSpPr>
        <a:xfrm>
          <a:off x="0" y="0"/>
          <a:ext cx="0" cy="0"/>
          <a:chOff x="0" y="0"/>
          <a:chExt cx="0" cy="0"/>
        </a:xfrm>
      </p:grpSpPr>
      <p:pic>
        <p:nvPicPr>
          <p:cNvPr id="40" name="MES-masque PPT3.jpg" descr="MES-masque PPT3.jpg"/>
          <p:cNvPicPr>
            <a:picLocks noChangeAspect="1"/>
          </p:cNvPicPr>
          <p:nvPr/>
        </p:nvPicPr>
        <p:blipFill rotWithShape="1">
          <a:blip r:embed="rId2"/>
          <a:srcRect b="18035"/>
          <a:stretch/>
        </p:blipFill>
        <p:spPr>
          <a:xfrm>
            <a:off x="-1" y="-13855"/>
            <a:ext cx="12192001" cy="1613733"/>
          </a:xfrm>
          <a:prstGeom prst="rect">
            <a:avLst/>
          </a:prstGeom>
          <a:ln w="12700">
            <a:miter lim="400000"/>
          </a:ln>
        </p:spPr>
      </p:pic>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N°›</a:t>
            </a:fld>
            <a:endParaRPr/>
          </a:p>
        </p:txBody>
      </p:sp>
      <p:pic>
        <p:nvPicPr>
          <p:cNvPr id="43" name="Logo-ReMES.png" descr="Logo-ReMES.png"/>
          <p:cNvPicPr>
            <a:picLocks noChangeAspect="1"/>
          </p:cNvPicPr>
          <p:nvPr/>
        </p:nvPicPr>
        <p:blipFill>
          <a:blip r:embed="rId3"/>
          <a:stretch>
            <a:fillRect/>
          </a:stretch>
        </p:blipFill>
        <p:spPr>
          <a:xfrm>
            <a:off x="222482" y="16625"/>
            <a:ext cx="1415817" cy="1531867"/>
          </a:xfrm>
          <a:prstGeom prst="rect">
            <a:avLst/>
          </a:prstGeom>
          <a:ln w="12700">
            <a:miter lim="400000"/>
          </a:ln>
        </p:spPr>
      </p:pic>
      <p:sp>
        <p:nvSpPr>
          <p:cNvPr id="45" name="Ligne"/>
          <p:cNvSpPr/>
          <p:nvPr/>
        </p:nvSpPr>
        <p:spPr>
          <a:xfrm>
            <a:off x="2318430" y="1153622"/>
            <a:ext cx="7224831" cy="1"/>
          </a:xfrm>
          <a:prstGeom prst="line">
            <a:avLst/>
          </a:prstGeom>
          <a:ln w="63500">
            <a:solidFill>
              <a:srgbClr val="005C9B"/>
            </a:solidFill>
            <a:miter lim="400000"/>
          </a:ln>
        </p:spPr>
        <p:txBody>
          <a:bodyPr lIns="25400" tIns="25400" rIns="25400" bIns="25400" anchor="ctr"/>
          <a:lstStyle/>
          <a:p>
            <a:endParaRPr sz="900"/>
          </a:p>
        </p:txBody>
      </p:sp>
      <p:sp>
        <p:nvSpPr>
          <p:cNvPr id="46" name="Ligne"/>
          <p:cNvSpPr/>
          <p:nvPr/>
        </p:nvSpPr>
        <p:spPr>
          <a:xfrm>
            <a:off x="9533395" y="1146312"/>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63500">
            <a:solidFill>
              <a:srgbClr val="005C9B"/>
            </a:solidFill>
            <a:miter lim="400000"/>
          </a:ln>
        </p:spPr>
        <p:txBody>
          <a:bodyPr lIns="25400" tIns="25400" rIns="25400" bIns="25400" anchor="ctr"/>
          <a:lstStyle/>
          <a:p>
            <a:pPr>
              <a:defRPr>
                <a:solidFill>
                  <a:srgbClr val="005C9B"/>
                </a:solidFill>
              </a:defRPr>
            </a:pPr>
            <a:endParaRPr sz="900"/>
          </a:p>
        </p:txBody>
      </p:sp>
      <p:sp>
        <p:nvSpPr>
          <p:cNvPr id="12" name="Titre 1">
            <a:extLst>
              <a:ext uri="{FF2B5EF4-FFF2-40B4-BE49-F238E27FC236}">
                <a16:creationId xmlns:a16="http://schemas.microsoft.com/office/drawing/2014/main" id="{D00C3AFE-F4E7-CE4A-AEA1-5618EB75DD74}"/>
              </a:ext>
            </a:extLst>
          </p:cNvPr>
          <p:cNvSpPr>
            <a:spLocks noGrp="1"/>
          </p:cNvSpPr>
          <p:nvPr>
            <p:ph type="title" hasCustomPrompt="1"/>
          </p:nvPr>
        </p:nvSpPr>
        <p:spPr>
          <a:xfrm>
            <a:off x="2313517" y="16625"/>
            <a:ext cx="6984241" cy="1133342"/>
          </a:xfrm>
        </p:spPr>
        <p:txBody>
          <a:bodyPr anchor="b"/>
          <a:lstStyle/>
          <a:p>
            <a:r>
              <a:rPr lang="fr-FR"/>
              <a:t>MODIFIEZ LE STYLE DU TITRE</a:t>
            </a:r>
          </a:p>
        </p:txBody>
      </p:sp>
      <p:grpSp>
        <p:nvGrpSpPr>
          <p:cNvPr id="18" name="Groupe 17">
            <a:extLst>
              <a:ext uri="{FF2B5EF4-FFF2-40B4-BE49-F238E27FC236}">
                <a16:creationId xmlns:a16="http://schemas.microsoft.com/office/drawing/2014/main" id="{6BE71E94-1DF2-3A46-8E91-906ADC041DD4}"/>
              </a:ext>
            </a:extLst>
          </p:cNvPr>
          <p:cNvGrpSpPr/>
          <p:nvPr userDrawn="1"/>
        </p:nvGrpSpPr>
        <p:grpSpPr>
          <a:xfrm>
            <a:off x="255787" y="6233160"/>
            <a:ext cx="1676757" cy="574622"/>
            <a:chOff x="373815" y="6143191"/>
            <a:chExt cx="1828112" cy="626491"/>
          </a:xfrm>
        </p:grpSpPr>
        <p:pic>
          <p:nvPicPr>
            <p:cNvPr id="19" name="Graphique 18">
              <a:extLst>
                <a:ext uri="{FF2B5EF4-FFF2-40B4-BE49-F238E27FC236}">
                  <a16:creationId xmlns:a16="http://schemas.microsoft.com/office/drawing/2014/main" id="{83F8677E-CB5D-2141-8C43-E64AA59F446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308209" y="6314802"/>
              <a:ext cx="893718" cy="262726"/>
            </a:xfrm>
            <a:prstGeom prst="rect">
              <a:avLst/>
            </a:prstGeom>
          </p:spPr>
        </p:pic>
        <p:pic>
          <p:nvPicPr>
            <p:cNvPr id="20" name="Image 19">
              <a:extLst>
                <a:ext uri="{FF2B5EF4-FFF2-40B4-BE49-F238E27FC236}">
                  <a16:creationId xmlns:a16="http://schemas.microsoft.com/office/drawing/2014/main" id="{9B40E965-C296-F84D-A1C2-88449CB11A87}"/>
                </a:ext>
              </a:extLst>
            </p:cNvPr>
            <p:cNvPicPr>
              <a:picLocks noChangeAspect="1"/>
            </p:cNvPicPr>
            <p:nvPr userDrawn="1"/>
          </p:nvPicPr>
          <p:blipFill>
            <a:blip r:embed="rId6"/>
            <a:stretch>
              <a:fillRect/>
            </a:stretch>
          </p:blipFill>
          <p:spPr>
            <a:xfrm>
              <a:off x="373815" y="6143191"/>
              <a:ext cx="804201" cy="626491"/>
            </a:xfrm>
            <a:prstGeom prst="rect">
              <a:avLst/>
            </a:prstGeom>
          </p:spPr>
        </p:pic>
      </p:grpSp>
      <p:sp>
        <p:nvSpPr>
          <p:cNvPr id="13" name="Auteur et date">
            <a:extLst>
              <a:ext uri="{FF2B5EF4-FFF2-40B4-BE49-F238E27FC236}">
                <a16:creationId xmlns:a16="http://schemas.microsoft.com/office/drawing/2014/main" id="{E30CA11C-B037-8E48-B945-69C3DE227325}"/>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Session de sensibilisation à Mon espace santé</a:t>
            </a:r>
          </a:p>
        </p:txBody>
      </p:sp>
      <p:pic>
        <p:nvPicPr>
          <p:cNvPr id="14" name="Imag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11536" y="6234793"/>
            <a:ext cx="839961" cy="533475"/>
          </a:xfrm>
          <a:prstGeom prst="rect">
            <a:avLst/>
          </a:prstGeom>
        </p:spPr>
      </p:pic>
    </p:spTree>
    <p:extLst>
      <p:ext uri="{BB962C8B-B14F-4D97-AF65-F5344CB8AC3E}">
        <p14:creationId xmlns:p14="http://schemas.microsoft.com/office/powerpoint/2010/main" val="1768885507"/>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slideLayout" Target="../slideLayouts/slideLayout55.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9" Type="http://schemas.openxmlformats.org/officeDocument/2006/relationships/slideLayout" Target="../slideLayouts/slideLayout4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45" Type="http://schemas.openxmlformats.org/officeDocument/2006/relationships/image" Target="../media/image4.svg"/><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4" Type="http://schemas.openxmlformats.org/officeDocument/2006/relationships/image" Target="../media/image3.png"/><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theme" Target="../theme/theme2.xml"/><Relationship Id="rId8" Type="http://schemas.openxmlformats.org/officeDocument/2006/relationships/slideLayout" Target="../slideLayouts/slideLayout21.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image" Target="../media/image5.jpeg"/><Relationship Id="rId20" Type="http://schemas.openxmlformats.org/officeDocument/2006/relationships/slideLayout" Target="../slideLayouts/slideLayout33.xml"/><Relationship Id="rId41"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5.jpe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image" Target="../media/image10.svg"/><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image" Target="../media/image3.png"/><Relationship Id="rId5" Type="http://schemas.openxmlformats.org/officeDocument/2006/relationships/slideLayout" Target="../slideLayouts/slideLayout60.xml"/><Relationship Id="rId10" Type="http://schemas.openxmlformats.org/officeDocument/2006/relationships/theme" Target="../theme/theme3.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image" Target="../media/image11.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29" Type="http://schemas.openxmlformats.org/officeDocument/2006/relationships/image" Target="../media/image5.jpeg"/><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theme" Target="../theme/theme4.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image" Target="../media/image11.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image" Target="../media/image5.jpeg"/><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image" Target="../media/image4.svg"/><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image" Target="../media/image3.png"/><Relationship Id="rId5" Type="http://schemas.openxmlformats.org/officeDocument/2006/relationships/slideLayout" Target="../slideLayouts/slideLayout96.xml"/><Relationship Id="rId10" Type="http://schemas.openxmlformats.org/officeDocument/2006/relationships/theme" Target="../theme/theme5.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image" Target="../media/image1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888D67FA-E4F3-48F6-BAD3-ECDC77A42D3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3D398442-A6DB-4837-9E40-1519979FA7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6E91EDA4-91FD-4587-ADBA-2BF18D34F13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2413034-B103-41D2-977A-32CF76459AF0}" type="datetimeFigureOut">
              <a:rPr lang="fr-FR" smtClean="0"/>
              <a:t>07/08/2024</a:t>
            </a:fld>
            <a:endParaRPr lang="fr-FR"/>
          </a:p>
        </p:txBody>
      </p:sp>
      <p:sp>
        <p:nvSpPr>
          <p:cNvPr id="5" name="Espace réservé du pied de page 4">
            <a:extLst>
              <a:ext uri="{FF2B5EF4-FFF2-40B4-BE49-F238E27FC236}">
                <a16:creationId xmlns:a16="http://schemas.microsoft.com/office/drawing/2014/main" id="{00395ACF-2425-4AF9-B09E-7CB12A88F3C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05A9F0AA-706E-4B8A-907E-4E7BAA2907F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853D752-F3DA-47A2-A775-910B824E1582}" type="slidenum">
              <a:rPr lang="fr-FR" smtClean="0"/>
              <a:t>‹N°›</a:t>
            </a:fld>
            <a:endParaRPr lang="fr-FR"/>
          </a:p>
        </p:txBody>
      </p:sp>
    </p:spTree>
    <p:extLst>
      <p:ext uri="{BB962C8B-B14F-4D97-AF65-F5344CB8AC3E}">
        <p14:creationId xmlns:p14="http://schemas.microsoft.com/office/powerpoint/2010/main" val="41084300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FDD59078-F0EA-4B2B-B92A-CB1D0AA4F88E}"/>
              </a:ext>
            </a:extLst>
          </p:cNvPr>
          <p:cNvSpPr>
            <a:spLocks noGrp="1"/>
          </p:cNvSpPr>
          <p:nvPr>
            <p:ph type="dt" sz="half" idx="2"/>
          </p:nvPr>
        </p:nvSpPr>
        <p:spPr>
          <a:xfrm>
            <a:off x="1273095" y="6229647"/>
            <a:ext cx="1800000" cy="288000"/>
          </a:xfrm>
          <a:prstGeom prst="rect">
            <a:avLst/>
          </a:prstGeom>
        </p:spPr>
        <p:txBody>
          <a:bodyPr vert="horz" lIns="91440" tIns="45720" rIns="0" bIns="45720" rtlCol="0" anchor="ctr">
            <a:noAutofit/>
          </a:bodyPr>
          <a:lstStyle>
            <a:lvl1pPr algn="r">
              <a:defRPr sz="1200">
                <a:solidFill>
                  <a:schemeClr val="tx1"/>
                </a:solidFill>
              </a:defRPr>
            </a:lvl1pPr>
          </a:lstStyle>
          <a:p>
            <a:fld id="{A860558D-47B3-CE46-BCFD-EEB8EC94E2E9}" type="datetime1">
              <a:rPr lang="fr-FR" smtClean="0"/>
              <a:t>07/08/2024</a:t>
            </a:fld>
            <a:endParaRPr lang="fr-FR"/>
          </a:p>
        </p:txBody>
      </p:sp>
      <p:sp>
        <p:nvSpPr>
          <p:cNvPr id="6" name="Espace réservé du numéro de diapositive 5">
            <a:extLst>
              <a:ext uri="{FF2B5EF4-FFF2-40B4-BE49-F238E27FC236}">
                <a16:creationId xmlns:a16="http://schemas.microsoft.com/office/drawing/2014/main" id="{2A1B493F-9EAA-4161-9132-F480E263F13A}"/>
              </a:ext>
            </a:extLst>
          </p:cNvPr>
          <p:cNvSpPr>
            <a:spLocks noGrp="1"/>
          </p:cNvSpPr>
          <p:nvPr>
            <p:ph type="sldNum" sz="quarter" idx="4"/>
          </p:nvPr>
        </p:nvSpPr>
        <p:spPr>
          <a:xfrm>
            <a:off x="395469" y="6229647"/>
            <a:ext cx="720000" cy="288000"/>
          </a:xfrm>
          <a:prstGeom prst="rect">
            <a:avLst/>
          </a:prstGeom>
        </p:spPr>
        <p:txBody>
          <a:bodyPr vert="horz" lIns="91440" tIns="45720" rIns="91440" bIns="45720" rtlCol="0" anchor="ctr">
            <a:noAutofit/>
          </a:bodyPr>
          <a:lstStyle>
            <a:lvl1pPr algn="l">
              <a:defRPr sz="1200">
                <a:solidFill>
                  <a:schemeClr val="tx1"/>
                </a:solidFill>
              </a:defRPr>
            </a:lvl1pPr>
          </a:lstStyle>
          <a:p>
            <a:fld id="{975A587B-5814-4D9B-9598-FE9CB954CB01}" type="slidenum">
              <a:rPr lang="fr-FR" smtClean="0"/>
              <a:pPr/>
              <a:t>‹N°›</a:t>
            </a:fld>
            <a:endParaRPr lang="fr-FR"/>
          </a:p>
        </p:txBody>
      </p:sp>
      <p:sp>
        <p:nvSpPr>
          <p:cNvPr id="12" name="Espace réservé du titre 11">
            <a:extLst>
              <a:ext uri="{FF2B5EF4-FFF2-40B4-BE49-F238E27FC236}">
                <a16:creationId xmlns:a16="http://schemas.microsoft.com/office/drawing/2014/main" id="{55144D2C-A2A5-B94C-B384-9177ADFC1F15}"/>
              </a:ext>
            </a:extLst>
          </p:cNvPr>
          <p:cNvSpPr>
            <a:spLocks noGrp="1"/>
          </p:cNvSpPr>
          <p:nvPr>
            <p:ph type="title"/>
          </p:nvPr>
        </p:nvSpPr>
        <p:spPr>
          <a:xfrm>
            <a:off x="498660" y="494778"/>
            <a:ext cx="11196000" cy="1114817"/>
          </a:xfrm>
          <a:prstGeom prst="rect">
            <a:avLst/>
          </a:prstGeom>
          <a:solidFill>
            <a:schemeClr val="tx1"/>
          </a:solidFill>
          <a:ln w="3175">
            <a:noFill/>
          </a:ln>
        </p:spPr>
        <p:txBody>
          <a:bodyPr vert="horz" lIns="864000" tIns="72000" rIns="72000" bIns="72000" rtlCol="0" anchor="ctr">
            <a:normAutofit/>
          </a:bodyPr>
          <a:lstStyle/>
          <a:p>
            <a:r>
              <a:rPr lang="fr-FR"/>
              <a:t>Cliquez pour ajouter un titre</a:t>
            </a:r>
          </a:p>
        </p:txBody>
      </p:sp>
      <p:sp>
        <p:nvSpPr>
          <p:cNvPr id="2" name="Espace réservé du texte 1">
            <a:extLst>
              <a:ext uri="{FF2B5EF4-FFF2-40B4-BE49-F238E27FC236}">
                <a16:creationId xmlns:a16="http://schemas.microsoft.com/office/drawing/2014/main" id="{9D6D73F9-492D-4585-A4AD-255F5B73B76F}"/>
              </a:ext>
            </a:extLst>
          </p:cNvPr>
          <p:cNvSpPr>
            <a:spLocks noGrp="1"/>
          </p:cNvSpPr>
          <p:nvPr>
            <p:ph type="body" idx="1"/>
          </p:nvPr>
        </p:nvSpPr>
        <p:spPr>
          <a:xfrm>
            <a:off x="1273095" y="2087731"/>
            <a:ext cx="10421565" cy="3780000"/>
          </a:xfrm>
          <a:prstGeom prst="rect">
            <a:avLst/>
          </a:prstGeom>
          <a:ln w="3175">
            <a:noFill/>
          </a:ln>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3"/>
            <a:endParaRPr lang="fr-FR"/>
          </a:p>
          <a:p>
            <a:pPr lvl="4"/>
            <a:endParaRPr lang="fr-FR"/>
          </a:p>
        </p:txBody>
      </p:sp>
      <p:grpSp>
        <p:nvGrpSpPr>
          <p:cNvPr id="7" name="Groupe 6">
            <a:extLst>
              <a:ext uri="{FF2B5EF4-FFF2-40B4-BE49-F238E27FC236}">
                <a16:creationId xmlns:a16="http://schemas.microsoft.com/office/drawing/2014/main" id="{6BE71E94-1DF2-3A46-8E91-906ADC041DD4}"/>
              </a:ext>
            </a:extLst>
          </p:cNvPr>
          <p:cNvGrpSpPr/>
          <p:nvPr userDrawn="1"/>
        </p:nvGrpSpPr>
        <p:grpSpPr>
          <a:xfrm>
            <a:off x="10200456" y="6103252"/>
            <a:ext cx="1676757" cy="574622"/>
            <a:chOff x="373815" y="6143191"/>
            <a:chExt cx="1828112" cy="626491"/>
          </a:xfrm>
        </p:grpSpPr>
        <p:pic>
          <p:nvPicPr>
            <p:cNvPr id="9" name="Graphique 18">
              <a:extLst>
                <a:ext uri="{FF2B5EF4-FFF2-40B4-BE49-F238E27FC236}">
                  <a16:creationId xmlns:a16="http://schemas.microsoft.com/office/drawing/2014/main" id="{83F8677E-CB5D-2141-8C43-E64AA59F4464}"/>
                </a:ext>
              </a:extLst>
            </p:cNvPr>
            <p:cNvPicPr>
              <a:picLocks noChangeAspect="1"/>
            </p:cNvPicPr>
            <p:nvPr userDrawn="1"/>
          </p:nvPicPr>
          <p:blipFill>
            <a:blip r:embed="rId44" cstate="screen">
              <a:extLst>
                <a:ext uri="{28A0092B-C50C-407E-A947-70E740481C1C}">
                  <a14:useLocalDpi xmlns:a14="http://schemas.microsoft.com/office/drawing/2010/main"/>
                </a:ext>
                <a:ext uri="{96DAC541-7B7A-43D3-8B79-37D633B846F1}">
                  <asvg:svgBlip xmlns:asvg="http://schemas.microsoft.com/office/drawing/2016/SVG/main" r:embed="rId45"/>
                </a:ext>
              </a:extLst>
            </a:blip>
            <a:stretch>
              <a:fillRect/>
            </a:stretch>
          </p:blipFill>
          <p:spPr>
            <a:xfrm>
              <a:off x="1308209" y="6314802"/>
              <a:ext cx="893718" cy="262726"/>
            </a:xfrm>
            <a:prstGeom prst="rect">
              <a:avLst/>
            </a:prstGeom>
          </p:spPr>
        </p:pic>
        <p:pic>
          <p:nvPicPr>
            <p:cNvPr id="10" name="Image 9">
              <a:extLst>
                <a:ext uri="{FF2B5EF4-FFF2-40B4-BE49-F238E27FC236}">
                  <a16:creationId xmlns:a16="http://schemas.microsoft.com/office/drawing/2014/main" id="{9B40E965-C296-F84D-A1C2-88449CB11A87}"/>
                </a:ext>
              </a:extLst>
            </p:cNvPr>
            <p:cNvPicPr>
              <a:picLocks noChangeAspect="1"/>
            </p:cNvPicPr>
            <p:nvPr userDrawn="1"/>
          </p:nvPicPr>
          <p:blipFill>
            <a:blip r:embed="rId46" cstate="screen">
              <a:extLst>
                <a:ext uri="{28A0092B-C50C-407E-A947-70E740481C1C}">
                  <a14:useLocalDpi xmlns:a14="http://schemas.microsoft.com/office/drawing/2010/main"/>
                </a:ext>
              </a:extLst>
            </a:blip>
            <a:stretch>
              <a:fillRect/>
            </a:stretch>
          </p:blipFill>
          <p:spPr>
            <a:xfrm>
              <a:off x="373815" y="6143191"/>
              <a:ext cx="804201" cy="626491"/>
            </a:xfrm>
            <a:prstGeom prst="rect">
              <a:avLst/>
            </a:prstGeom>
          </p:spPr>
        </p:pic>
      </p:grpSp>
    </p:spTree>
    <p:extLst>
      <p:ext uri="{BB962C8B-B14F-4D97-AF65-F5344CB8AC3E}">
        <p14:creationId xmlns:p14="http://schemas.microsoft.com/office/powerpoint/2010/main" val="1475497810"/>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 id="2147483686" r:id="rId24"/>
    <p:sldLayoutId id="2147483687" r:id="rId25"/>
    <p:sldLayoutId id="2147483688" r:id="rId26"/>
    <p:sldLayoutId id="2147483689" r:id="rId27"/>
    <p:sldLayoutId id="2147483690" r:id="rId28"/>
    <p:sldLayoutId id="2147483691" r:id="rId29"/>
    <p:sldLayoutId id="2147483692" r:id="rId30"/>
    <p:sldLayoutId id="2147483693" r:id="rId31"/>
    <p:sldLayoutId id="2147483694" r:id="rId32"/>
    <p:sldLayoutId id="2147483695" r:id="rId33"/>
    <p:sldLayoutId id="2147483696" r:id="rId34"/>
    <p:sldLayoutId id="2147483697" r:id="rId35"/>
    <p:sldLayoutId id="2147483698" r:id="rId36"/>
    <p:sldLayoutId id="2147483699" r:id="rId37"/>
    <p:sldLayoutId id="2147483700" r:id="rId38"/>
    <p:sldLayoutId id="2147483701" r:id="rId39"/>
    <p:sldLayoutId id="2147483702" r:id="rId40"/>
    <p:sldLayoutId id="2147483703" r:id="rId41"/>
    <p:sldLayoutId id="2147483704" r:id="rId42"/>
  </p:sldLayoutIdLst>
  <p:hf hdr="0" ftr="0"/>
  <p:txStyles>
    <p:titleStyle>
      <a:lvl1pPr algn="l" defTabSz="914400" rtl="0" eaLnBrk="1" latinLnBrk="0" hangingPunct="1">
        <a:lnSpc>
          <a:spcPct val="90000"/>
        </a:lnSpc>
        <a:spcBef>
          <a:spcPct val="0"/>
        </a:spcBef>
        <a:buNone/>
        <a:defRPr sz="2200" b="1" kern="1200" cap="all" baseline="0">
          <a:solidFill>
            <a:schemeClr val="bg1"/>
          </a:solidFill>
          <a:latin typeface="+mj-lt"/>
          <a:ea typeface="+mj-ea"/>
          <a:cs typeface="+mj-cs"/>
        </a:defRPr>
      </a:lvl1pPr>
    </p:titleStyle>
    <p:bodyStyle>
      <a:lvl1pPr marL="0" indent="0" algn="l" defTabSz="914400" rtl="0" eaLnBrk="1" latinLnBrk="0" hangingPunct="1">
        <a:lnSpc>
          <a:spcPct val="110000"/>
        </a:lnSpc>
        <a:spcBef>
          <a:spcPts val="600"/>
        </a:spcBef>
        <a:spcAft>
          <a:spcPts val="0"/>
        </a:spcAft>
        <a:buClr>
          <a:schemeClr val="tx2"/>
        </a:buClr>
        <a:buFont typeface="Symbol" panose="05050102010706020507" pitchFamily="18" charset="2"/>
        <a:buNone/>
        <a:defRPr sz="2000" b="0" kern="1200">
          <a:solidFill>
            <a:schemeClr val="tx2"/>
          </a:solidFill>
          <a:latin typeface="+mn-lt"/>
          <a:ea typeface="+mn-ea"/>
          <a:cs typeface="+mn-cs"/>
        </a:defRPr>
      </a:lvl1pPr>
      <a:lvl2pPr marL="174625" indent="-174625" algn="l" defTabSz="914400" rtl="0" eaLnBrk="1" latinLnBrk="0" hangingPunct="1">
        <a:lnSpc>
          <a:spcPct val="110000"/>
        </a:lnSpc>
        <a:spcBef>
          <a:spcPts val="600"/>
        </a:spcBef>
        <a:spcAft>
          <a:spcPts val="0"/>
        </a:spcAft>
        <a:buClr>
          <a:schemeClr val="tx2"/>
        </a:buClr>
        <a:buSzPct val="120000"/>
        <a:buFont typeface="Arial" panose="020B0604020202020204" pitchFamily="34" charset="0"/>
        <a:buChar char="•"/>
        <a:defRPr sz="1600" b="1" i="0" kern="1200">
          <a:solidFill>
            <a:schemeClr val="tx1"/>
          </a:solidFill>
          <a:latin typeface="+mn-lt"/>
          <a:ea typeface="+mn-ea"/>
          <a:cs typeface="+mn-cs"/>
        </a:defRPr>
      </a:lvl2pPr>
      <a:lvl3pPr marL="358775" indent="-184150" algn="l" defTabSz="914400" rtl="0" eaLnBrk="1" latinLnBrk="0" hangingPunct="1">
        <a:lnSpc>
          <a:spcPct val="110000"/>
        </a:lnSpc>
        <a:spcBef>
          <a:spcPts val="300"/>
        </a:spcBef>
        <a:spcAft>
          <a:spcPts val="0"/>
        </a:spcAft>
        <a:buClr>
          <a:schemeClr val="tx2"/>
        </a:buClr>
        <a:buFont typeface="Arial" panose="020B0604020202020204" pitchFamily="34" charset="0"/>
        <a:buChar char="-"/>
        <a:defRPr sz="1600" b="0" kern="1200">
          <a:solidFill>
            <a:schemeClr val="tx1"/>
          </a:solidFill>
          <a:latin typeface="+mn-lt"/>
          <a:ea typeface="+mn-ea"/>
          <a:cs typeface="+mn-cs"/>
        </a:defRPr>
      </a:lvl3pPr>
      <a:lvl4pPr marL="530225" indent="-171450" algn="l" defTabSz="914400" rtl="0" eaLnBrk="1" latinLnBrk="0" hangingPunct="1">
        <a:lnSpc>
          <a:spcPct val="110000"/>
        </a:lnSpc>
        <a:spcBef>
          <a:spcPts val="0"/>
        </a:spcBef>
        <a:spcAft>
          <a:spcPts val="0"/>
        </a:spcAft>
        <a:buClr>
          <a:schemeClr val="tx2"/>
        </a:buClr>
        <a:buSzPct val="100000"/>
        <a:buFont typeface="Arial" panose="020B0604020202020204" pitchFamily="34" charset="0"/>
        <a:buChar char="•"/>
        <a:defRPr sz="1200" b="0" kern="1200">
          <a:solidFill>
            <a:schemeClr val="tx1"/>
          </a:solidFill>
          <a:latin typeface="+mn-lt"/>
          <a:ea typeface="+mn-ea"/>
          <a:cs typeface="+mn-cs"/>
        </a:defRPr>
      </a:lvl4pPr>
      <a:lvl5pPr marL="538163" indent="-80963" algn="l" defTabSz="914400" rtl="0" eaLnBrk="1" latinLnBrk="0" hangingPunct="1">
        <a:lnSpc>
          <a:spcPct val="110000"/>
        </a:lnSpc>
        <a:spcBef>
          <a:spcPts val="0"/>
        </a:spcBef>
        <a:spcAft>
          <a:spcPts val="0"/>
        </a:spcAft>
        <a:buFont typeface="Arial" panose="020B0604020202020204" pitchFamily="34" charset="0"/>
        <a:buNone/>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pSp>
        <p:nvGrpSpPr>
          <p:cNvPr id="15" name="Groupe 14">
            <a:extLst>
              <a:ext uri="{FF2B5EF4-FFF2-40B4-BE49-F238E27FC236}">
                <a16:creationId xmlns:a16="http://schemas.microsoft.com/office/drawing/2014/main" id="{164E2085-2D7A-1F42-B980-49E2D1BFA809}"/>
              </a:ext>
            </a:extLst>
          </p:cNvPr>
          <p:cNvGrpSpPr/>
          <p:nvPr userDrawn="1"/>
        </p:nvGrpSpPr>
        <p:grpSpPr>
          <a:xfrm>
            <a:off x="255787" y="6233160"/>
            <a:ext cx="1676757" cy="574622"/>
            <a:chOff x="373815" y="6143191"/>
            <a:chExt cx="1828112" cy="626491"/>
          </a:xfrm>
        </p:grpSpPr>
        <p:pic>
          <p:nvPicPr>
            <p:cNvPr id="14" name="Graphique 13">
              <a:extLst>
                <a:ext uri="{FF2B5EF4-FFF2-40B4-BE49-F238E27FC236}">
                  <a16:creationId xmlns:a16="http://schemas.microsoft.com/office/drawing/2014/main" id="{C2F9BE05-350A-9140-8EE1-45A4BDF49B1E}"/>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1308209" y="6314802"/>
              <a:ext cx="893718" cy="262726"/>
            </a:xfrm>
            <a:prstGeom prst="rect">
              <a:avLst/>
            </a:prstGeom>
          </p:spPr>
        </p:pic>
        <p:pic>
          <p:nvPicPr>
            <p:cNvPr id="11" name="Image 10">
              <a:extLst>
                <a:ext uri="{FF2B5EF4-FFF2-40B4-BE49-F238E27FC236}">
                  <a16:creationId xmlns:a16="http://schemas.microsoft.com/office/drawing/2014/main" id="{81BD397F-28D0-874F-A288-715BA3E334FF}"/>
                </a:ext>
              </a:extLst>
            </p:cNvPr>
            <p:cNvPicPr>
              <a:picLocks noChangeAspect="1"/>
            </p:cNvPicPr>
            <p:nvPr userDrawn="1"/>
          </p:nvPicPr>
          <p:blipFill>
            <a:blip r:embed="rId13"/>
            <a:stretch>
              <a:fillRect/>
            </a:stretch>
          </p:blipFill>
          <p:spPr>
            <a:xfrm>
              <a:off x="373815" y="6143191"/>
              <a:ext cx="804201" cy="626491"/>
            </a:xfrm>
            <a:prstGeom prst="rect">
              <a:avLst/>
            </a:prstGeom>
          </p:spPr>
        </p:pic>
      </p:grpSp>
      <p:pic>
        <p:nvPicPr>
          <p:cNvPr id="2" name="MES-masque PPT2.jpg" descr="MES-masque PPT2.jpg"/>
          <p:cNvPicPr>
            <a:picLocks noChangeAspect="1"/>
          </p:cNvPicPr>
          <p:nvPr/>
        </p:nvPicPr>
        <p:blipFill>
          <a:blip r:embed="rId14"/>
          <a:stretch>
            <a:fillRect/>
          </a:stretch>
        </p:blipFill>
        <p:spPr>
          <a:xfrm>
            <a:off x="-1" y="-1354"/>
            <a:ext cx="12192001" cy="6196413"/>
          </a:xfrm>
          <a:prstGeom prst="rect">
            <a:avLst/>
          </a:prstGeom>
          <a:ln w="12700">
            <a:miter lim="400000"/>
          </a:ln>
        </p:spPr>
      </p:pic>
      <p:sp>
        <p:nvSpPr>
          <p:cNvPr id="3" name="Numéro de diapositive"/>
          <p:cNvSpPr txBox="1">
            <a:spLocks noGrp="1"/>
          </p:cNvSpPr>
          <p:nvPr>
            <p:ph type="sldNum" sz="quarter" idx="2"/>
          </p:nvPr>
        </p:nvSpPr>
        <p:spPr>
          <a:xfrm>
            <a:off x="11526249" y="6340658"/>
            <a:ext cx="309380" cy="241092"/>
          </a:xfrm>
          <a:prstGeom prst="rect">
            <a:avLst/>
          </a:prstGeom>
          <a:ln w="12700">
            <a:miter lim="400000"/>
          </a:ln>
        </p:spPr>
        <p:txBody>
          <a:bodyPr wrap="none" lIns="50800" tIns="50800" rIns="50800" bIns="50800" anchor="b">
            <a:spAutoFit/>
          </a:bodyPr>
          <a:lstStyle>
            <a:lvl1pPr defTabSz="292100">
              <a:defRPr sz="900">
                <a:solidFill>
                  <a:srgbClr val="DB3080"/>
                </a:solidFill>
                <a:latin typeface="+mj-lt"/>
                <a:ea typeface="+mj-ea"/>
                <a:cs typeface="+mj-cs"/>
                <a:sym typeface="Arial"/>
              </a:defRPr>
            </a:lvl1pPr>
          </a:lstStyle>
          <a:p>
            <a:fld id="{86CB4B4D-7CA3-9044-876B-883B54F8677D}" type="slidenum">
              <a:t>‹N°›</a:t>
            </a:fld>
            <a:endParaRPr/>
          </a:p>
        </p:txBody>
      </p:sp>
      <p:sp>
        <p:nvSpPr>
          <p:cNvPr id="4" name="Ligne"/>
          <p:cNvSpPr/>
          <p:nvPr/>
        </p:nvSpPr>
        <p:spPr>
          <a:xfrm>
            <a:off x="3442403" y="4737753"/>
            <a:ext cx="6106157" cy="1"/>
          </a:xfrm>
          <a:prstGeom prst="line">
            <a:avLst/>
          </a:prstGeom>
          <a:ln w="101600">
            <a:solidFill>
              <a:srgbClr val="005C9B"/>
            </a:solidFill>
            <a:miter lim="400000"/>
          </a:ln>
        </p:spPr>
        <p:txBody>
          <a:bodyPr lIns="25400" tIns="25400" rIns="25400" bIns="25400" anchor="ctr"/>
          <a:lstStyle/>
          <a:p>
            <a:endParaRPr sz="900"/>
          </a:p>
        </p:txBody>
      </p:sp>
      <p:sp>
        <p:nvSpPr>
          <p:cNvPr id="5" name="Ligne"/>
          <p:cNvSpPr/>
          <p:nvPr/>
        </p:nvSpPr>
        <p:spPr>
          <a:xfrm>
            <a:off x="9538695" y="4730444"/>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101600">
            <a:solidFill>
              <a:srgbClr val="005C9B"/>
            </a:solidFill>
            <a:miter lim="400000"/>
          </a:ln>
        </p:spPr>
        <p:txBody>
          <a:bodyPr lIns="25400" tIns="25400" rIns="25400" bIns="25400" anchor="ctr"/>
          <a:lstStyle/>
          <a:p>
            <a:pPr>
              <a:defRPr>
                <a:solidFill>
                  <a:srgbClr val="005C9B"/>
                </a:solidFill>
              </a:defRPr>
            </a:pPr>
            <a:endParaRPr sz="900"/>
          </a:p>
        </p:txBody>
      </p:sp>
      <p:sp>
        <p:nvSpPr>
          <p:cNvPr id="9" name="Titre de la présentation"/>
          <p:cNvSpPr txBox="1">
            <a:spLocks noGrp="1"/>
          </p:cNvSpPr>
          <p:nvPr>
            <p:ph type="title"/>
          </p:nvPr>
        </p:nvSpPr>
        <p:spPr>
          <a:xfrm>
            <a:off x="3442403" y="1713281"/>
            <a:ext cx="6266062" cy="23241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b">
            <a:normAutofit/>
          </a:bodyPr>
          <a:lstStyle/>
          <a:p>
            <a:r>
              <a:rPr err="1"/>
              <a:t>Titre</a:t>
            </a:r>
            <a:r>
              <a:t> de la </a:t>
            </a:r>
            <a:r>
              <a:rPr err="1"/>
              <a:t>présentation</a:t>
            </a:r>
            <a:endParaRPr/>
          </a:p>
        </p:txBody>
      </p:sp>
      <p:sp>
        <p:nvSpPr>
          <p:cNvPr id="10" name="Texte niveau 1…"/>
          <p:cNvSpPr txBox="1">
            <a:spLocks noGrp="1"/>
          </p:cNvSpPr>
          <p:nvPr>
            <p:ph type="body" idx="1"/>
          </p:nvPr>
        </p:nvSpPr>
        <p:spPr>
          <a:xfrm>
            <a:off x="3442403" y="3955885"/>
            <a:ext cx="6266062" cy="70395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ormAutofit/>
          </a:bodyPr>
          <a:lstStyle/>
          <a:p>
            <a:r>
              <a:t>Sous-</a:t>
            </a:r>
            <a:r>
              <a:rPr err="1"/>
              <a:t>titre</a:t>
            </a:r>
            <a:r>
              <a:t> de la </a:t>
            </a:r>
            <a:r>
              <a:rPr err="1"/>
              <a:t>présentation</a:t>
            </a:r>
            <a:endParaRPr/>
          </a:p>
          <a:p>
            <a:pPr lvl="1"/>
            <a:endParaRPr/>
          </a:p>
          <a:p>
            <a:pPr lvl="2"/>
            <a:endParaRPr/>
          </a:p>
          <a:p>
            <a:pPr lvl="3"/>
            <a:endParaRPr/>
          </a:p>
          <a:p>
            <a:pPr lvl="4"/>
            <a:endParaRPr/>
          </a:p>
        </p:txBody>
      </p:sp>
      <p:sp>
        <p:nvSpPr>
          <p:cNvPr id="12" name="Auteur et date">
            <a:extLst>
              <a:ext uri="{FF2B5EF4-FFF2-40B4-BE49-F238E27FC236}">
                <a16:creationId xmlns:a16="http://schemas.microsoft.com/office/drawing/2014/main" id="{3B143CDB-F1B2-8D4B-B969-3F84D572A05A}"/>
              </a:ext>
            </a:extLst>
          </p:cNvPr>
          <p:cNvSpPr txBox="1">
            <a:spLocks/>
          </p:cNvSpPr>
          <p:nvPr userDrawn="1"/>
        </p:nvSpPr>
        <p:spPr>
          <a:xfrm>
            <a:off x="7755010" y="6344103"/>
            <a:ext cx="3742855" cy="318490"/>
          </a:xfrm>
          <a:prstGeom prst="rect">
            <a:avLst/>
          </a:prstGeom>
        </p:spPr>
        <p:txBody>
          <a:bodyPr lIns="45719" tIns="45719" rIns="45719" bIns="45719"/>
          <a:lstStyle>
            <a:lvl1pPr marL="0" marR="0" indent="0" algn="r" defTabSz="412750" rtl="0" latinLnBrk="0">
              <a:lnSpc>
                <a:spcPct val="100000"/>
              </a:lnSpc>
              <a:spcBef>
                <a:spcPts val="0"/>
              </a:spcBef>
              <a:spcAft>
                <a:spcPts val="0"/>
              </a:spcAft>
              <a:buClrTx/>
              <a:buSzTx/>
              <a:buFontTx/>
              <a:buNone/>
              <a:tabLst/>
              <a:defRPr sz="1000" b="1" i="0" u="none" strike="noStrike" cap="none" spc="0" baseline="0">
                <a:solidFill>
                  <a:srgbClr val="005C9B"/>
                </a:solidFill>
                <a:uFillTx/>
                <a:latin typeface="+mj-lt"/>
                <a:ea typeface="+mj-ea"/>
                <a:cs typeface="+mj-cs"/>
                <a:sym typeface="Arial"/>
              </a:defRPr>
            </a:lvl1pPr>
            <a:lvl2pPr marL="0" marR="0" indent="228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2pPr>
            <a:lvl3pPr marL="0" marR="0" indent="457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3pPr>
            <a:lvl4pPr marL="0" marR="0" indent="685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4pPr>
            <a:lvl5pPr marL="0" marR="0" indent="9144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5pPr>
            <a:lvl6pPr marL="0" marR="0" indent="11430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6pPr>
            <a:lvl7pPr marL="0" marR="0" indent="1371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7pPr>
            <a:lvl8pPr marL="0" marR="0" indent="1600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8pPr>
            <a:lvl9pPr marL="0" marR="0" indent="1828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9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Session de sensibilisation à Mon espace santé</a:t>
            </a:r>
          </a:p>
        </p:txBody>
      </p:sp>
    </p:spTree>
    <p:extLst>
      <p:ext uri="{BB962C8B-B14F-4D97-AF65-F5344CB8AC3E}">
        <p14:creationId xmlns:p14="http://schemas.microsoft.com/office/powerpoint/2010/main" val="2193703946"/>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Lst>
  <p:transition spd="med"/>
  <p:hf hdr="0" dt="0"/>
  <p:txStyles>
    <p:titleStyle>
      <a:lvl1pPr marL="0" marR="0" indent="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1pPr>
      <a:lvl2pPr marL="0" marR="0" indent="2286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2pPr>
      <a:lvl3pPr marL="0" marR="0" indent="4572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3pPr>
      <a:lvl4pPr marL="0" marR="0" indent="6858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4pPr>
      <a:lvl5pPr marL="0" marR="0" indent="9144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5pPr>
      <a:lvl6pPr marL="0" marR="0" indent="11430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6pPr>
      <a:lvl7pPr marL="0" marR="0" indent="13716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7pPr>
      <a:lvl8pPr marL="0" marR="0" indent="16002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8pPr>
      <a:lvl9pPr marL="0" marR="0" indent="18288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9pPr>
    </p:titleStyle>
    <p:bodyStyle>
      <a:lvl1pPr marL="0" marR="0" indent="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1pPr>
      <a:lvl2pPr marL="0" marR="0" indent="228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2pPr>
      <a:lvl3pPr marL="0" marR="0" indent="457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3pPr>
      <a:lvl4pPr marL="0" marR="0" indent="685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4pPr>
      <a:lvl5pPr marL="0" marR="0" indent="9144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5pPr>
      <a:lvl6pPr marL="0" marR="0" indent="11430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6pPr>
      <a:lvl7pPr marL="0" marR="0" indent="1371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7pPr>
      <a:lvl8pPr marL="0" marR="0" indent="1600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8pPr>
      <a:lvl9pPr marL="0" marR="0" indent="1828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9pPr>
    </p:bodyStyle>
    <p:otherStyle>
      <a:lvl1pPr marL="0" marR="0" indent="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1pPr>
      <a:lvl2pPr marL="0" marR="0" indent="2286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2pPr>
      <a:lvl3pPr marL="0" marR="0" indent="4572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3pPr>
      <a:lvl4pPr marL="0" marR="0" indent="6858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4pPr>
      <a:lvl5pPr marL="0" marR="0" indent="9144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5pPr>
      <a:lvl6pPr marL="0" marR="0" indent="11430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6pPr>
      <a:lvl7pPr marL="0" marR="0" indent="13716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7pPr>
      <a:lvl8pPr marL="0" marR="0" indent="16002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8pPr>
      <a:lvl9pPr marL="0" marR="0" indent="18288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81BD397F-28D0-874F-A288-715BA3E334FF}"/>
              </a:ext>
            </a:extLst>
          </p:cNvPr>
          <p:cNvPicPr>
            <a:picLocks noChangeAspect="1"/>
          </p:cNvPicPr>
          <p:nvPr userDrawn="1"/>
        </p:nvPicPr>
        <p:blipFill>
          <a:blip r:embed="rId29"/>
          <a:stretch>
            <a:fillRect/>
          </a:stretch>
        </p:blipFill>
        <p:spPr>
          <a:xfrm>
            <a:off x="255787" y="6233160"/>
            <a:ext cx="737619" cy="574622"/>
          </a:xfrm>
          <a:prstGeom prst="rect">
            <a:avLst/>
          </a:prstGeom>
        </p:spPr>
      </p:pic>
      <p:pic>
        <p:nvPicPr>
          <p:cNvPr id="2" name="MES-masque PPT2.jpg" descr="MES-masque PPT2.jpg"/>
          <p:cNvPicPr>
            <a:picLocks noChangeAspect="1"/>
          </p:cNvPicPr>
          <p:nvPr/>
        </p:nvPicPr>
        <p:blipFill>
          <a:blip r:embed="rId30"/>
          <a:stretch>
            <a:fillRect/>
          </a:stretch>
        </p:blipFill>
        <p:spPr>
          <a:xfrm>
            <a:off x="-1" y="-1354"/>
            <a:ext cx="12192001" cy="6196413"/>
          </a:xfrm>
          <a:prstGeom prst="rect">
            <a:avLst/>
          </a:prstGeom>
          <a:ln w="12700">
            <a:miter lim="400000"/>
          </a:ln>
        </p:spPr>
      </p:pic>
      <p:sp>
        <p:nvSpPr>
          <p:cNvPr id="3" name="Numéro de diapositive"/>
          <p:cNvSpPr txBox="1">
            <a:spLocks noGrp="1"/>
          </p:cNvSpPr>
          <p:nvPr>
            <p:ph type="sldNum" sz="quarter" idx="2"/>
          </p:nvPr>
        </p:nvSpPr>
        <p:spPr>
          <a:xfrm>
            <a:off x="11526249" y="6340658"/>
            <a:ext cx="309380" cy="241092"/>
          </a:xfrm>
          <a:prstGeom prst="rect">
            <a:avLst/>
          </a:prstGeom>
          <a:ln w="12700">
            <a:miter lim="400000"/>
          </a:ln>
        </p:spPr>
        <p:txBody>
          <a:bodyPr wrap="none" lIns="50800" tIns="50800" rIns="50800" bIns="50800" anchor="b">
            <a:spAutoFit/>
          </a:bodyPr>
          <a:lstStyle>
            <a:lvl1pPr defTabSz="292100">
              <a:defRPr sz="900">
                <a:solidFill>
                  <a:srgbClr val="DB3080"/>
                </a:solidFill>
                <a:latin typeface="+mj-lt"/>
                <a:ea typeface="+mj-ea"/>
                <a:cs typeface="+mj-cs"/>
                <a:sym typeface="Arial"/>
              </a:defRPr>
            </a:lvl1pPr>
          </a:lstStyle>
          <a:p>
            <a:fld id="{86CB4B4D-7CA3-9044-876B-883B54F8677D}" type="slidenum">
              <a:t>‹N°›</a:t>
            </a:fld>
            <a:endParaRPr/>
          </a:p>
        </p:txBody>
      </p:sp>
      <p:sp>
        <p:nvSpPr>
          <p:cNvPr id="4" name="Ligne"/>
          <p:cNvSpPr/>
          <p:nvPr/>
        </p:nvSpPr>
        <p:spPr>
          <a:xfrm>
            <a:off x="3442403" y="4737753"/>
            <a:ext cx="6106157" cy="1"/>
          </a:xfrm>
          <a:prstGeom prst="line">
            <a:avLst/>
          </a:prstGeom>
          <a:ln w="101600">
            <a:solidFill>
              <a:srgbClr val="005C9B"/>
            </a:solidFill>
            <a:miter lim="400000"/>
          </a:ln>
        </p:spPr>
        <p:txBody>
          <a:bodyPr lIns="25400" tIns="25400" rIns="25400" bIns="25400" anchor="ctr"/>
          <a:lstStyle/>
          <a:p>
            <a:endParaRPr sz="900"/>
          </a:p>
        </p:txBody>
      </p:sp>
      <p:sp>
        <p:nvSpPr>
          <p:cNvPr id="5" name="Ligne"/>
          <p:cNvSpPr/>
          <p:nvPr/>
        </p:nvSpPr>
        <p:spPr>
          <a:xfrm>
            <a:off x="9538695" y="4730444"/>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101600">
            <a:solidFill>
              <a:srgbClr val="005C9B"/>
            </a:solidFill>
            <a:miter lim="400000"/>
          </a:ln>
        </p:spPr>
        <p:txBody>
          <a:bodyPr lIns="25400" tIns="25400" rIns="25400" bIns="25400" anchor="ctr"/>
          <a:lstStyle/>
          <a:p>
            <a:pPr>
              <a:defRPr>
                <a:solidFill>
                  <a:srgbClr val="005C9B"/>
                </a:solidFill>
              </a:defRPr>
            </a:pPr>
            <a:endParaRPr sz="900"/>
          </a:p>
        </p:txBody>
      </p:sp>
      <p:sp>
        <p:nvSpPr>
          <p:cNvPr id="9" name="Titre de la présentation"/>
          <p:cNvSpPr txBox="1">
            <a:spLocks noGrp="1"/>
          </p:cNvSpPr>
          <p:nvPr>
            <p:ph type="title" hasCustomPrompt="1"/>
          </p:nvPr>
        </p:nvSpPr>
        <p:spPr>
          <a:xfrm>
            <a:off x="3442403" y="1713281"/>
            <a:ext cx="6266062" cy="23241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b">
            <a:normAutofit/>
          </a:bodyPr>
          <a:lstStyle/>
          <a:p>
            <a:r>
              <a:rPr err="1"/>
              <a:t>Titre</a:t>
            </a:r>
            <a:r>
              <a:t> de la </a:t>
            </a:r>
            <a:r>
              <a:rPr err="1"/>
              <a:t>présentation</a:t>
            </a:r>
            <a:endParaRPr/>
          </a:p>
        </p:txBody>
      </p:sp>
      <p:sp>
        <p:nvSpPr>
          <p:cNvPr id="10" name="Texte niveau 1…"/>
          <p:cNvSpPr txBox="1">
            <a:spLocks noGrp="1"/>
          </p:cNvSpPr>
          <p:nvPr>
            <p:ph type="body" idx="1" hasCustomPrompt="1"/>
          </p:nvPr>
        </p:nvSpPr>
        <p:spPr>
          <a:xfrm>
            <a:off x="3442403" y="3955885"/>
            <a:ext cx="6266062" cy="70395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ormAutofit/>
          </a:bodyPr>
          <a:lstStyle/>
          <a:p>
            <a:r>
              <a:t>Sous-</a:t>
            </a:r>
            <a:r>
              <a:rPr err="1"/>
              <a:t>titre</a:t>
            </a:r>
            <a:r>
              <a:t> de la </a:t>
            </a:r>
            <a:r>
              <a:rPr err="1"/>
              <a:t>présentation</a:t>
            </a:r>
            <a:endParaRPr/>
          </a:p>
          <a:p>
            <a:pPr lvl="1"/>
            <a:endParaRPr/>
          </a:p>
          <a:p>
            <a:pPr lvl="2"/>
            <a:endParaRPr/>
          </a:p>
          <a:p>
            <a:pPr lvl="3"/>
            <a:endParaRPr/>
          </a:p>
          <a:p>
            <a:pPr lvl="4"/>
            <a:endParaRPr/>
          </a:p>
        </p:txBody>
      </p:sp>
      <p:sp>
        <p:nvSpPr>
          <p:cNvPr id="12" name="Auteur et date">
            <a:extLst>
              <a:ext uri="{FF2B5EF4-FFF2-40B4-BE49-F238E27FC236}">
                <a16:creationId xmlns:a16="http://schemas.microsoft.com/office/drawing/2014/main" id="{3B143CDB-F1B2-8D4B-B969-3F84D572A05A}"/>
              </a:ext>
            </a:extLst>
          </p:cNvPr>
          <p:cNvSpPr txBox="1">
            <a:spLocks/>
          </p:cNvSpPr>
          <p:nvPr userDrawn="1"/>
        </p:nvSpPr>
        <p:spPr>
          <a:xfrm>
            <a:off x="7755010" y="6344103"/>
            <a:ext cx="3742855" cy="318490"/>
          </a:xfrm>
          <a:prstGeom prst="rect">
            <a:avLst/>
          </a:prstGeom>
        </p:spPr>
        <p:txBody>
          <a:bodyPr lIns="45719" tIns="45719" rIns="45719" bIns="45719"/>
          <a:lstStyle>
            <a:lvl1pPr marL="0" marR="0" indent="0" algn="r" defTabSz="412750" rtl="0" latinLnBrk="0">
              <a:lnSpc>
                <a:spcPct val="100000"/>
              </a:lnSpc>
              <a:spcBef>
                <a:spcPts val="0"/>
              </a:spcBef>
              <a:spcAft>
                <a:spcPts val="0"/>
              </a:spcAft>
              <a:buClrTx/>
              <a:buSzTx/>
              <a:buFontTx/>
              <a:buNone/>
              <a:tabLst/>
              <a:defRPr sz="1000" b="1" i="0" u="none" strike="noStrike" cap="none" spc="0" baseline="0">
                <a:solidFill>
                  <a:srgbClr val="005C9B"/>
                </a:solidFill>
                <a:uFillTx/>
                <a:latin typeface="+mj-lt"/>
                <a:ea typeface="+mj-ea"/>
                <a:cs typeface="+mj-cs"/>
                <a:sym typeface="Arial"/>
              </a:defRPr>
            </a:lvl1pPr>
            <a:lvl2pPr marL="0" marR="0" indent="228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2pPr>
            <a:lvl3pPr marL="0" marR="0" indent="457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3pPr>
            <a:lvl4pPr marL="0" marR="0" indent="685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4pPr>
            <a:lvl5pPr marL="0" marR="0" indent="9144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5pPr>
            <a:lvl6pPr marL="0" marR="0" indent="11430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6pPr>
            <a:lvl7pPr marL="0" marR="0" indent="1371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7pPr>
            <a:lvl8pPr marL="0" marR="0" indent="1600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8pPr>
            <a:lvl9pPr marL="0" marR="0" indent="1828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9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COPIL coordinateurs Mon espace santé</a:t>
            </a:r>
          </a:p>
        </p:txBody>
      </p:sp>
    </p:spTree>
    <p:extLst>
      <p:ext uri="{BB962C8B-B14F-4D97-AF65-F5344CB8AC3E}">
        <p14:creationId xmlns:p14="http://schemas.microsoft.com/office/powerpoint/2010/main" val="4261615303"/>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77" r:id="rId21"/>
    <p:sldLayoutId id="2147483778" r:id="rId22"/>
    <p:sldLayoutId id="2147483779" r:id="rId23"/>
    <p:sldLayoutId id="2147483781" r:id="rId24"/>
    <p:sldLayoutId id="2147483782" r:id="rId25"/>
    <p:sldLayoutId id="2147483783" r:id="rId26"/>
    <p:sldLayoutId id="2147483829" r:id="rId27"/>
  </p:sldLayoutIdLst>
  <p:transition spd="med"/>
  <p:hf hdr="0" dt="0"/>
  <p:txStyles>
    <p:titleStyle>
      <a:lvl1pPr marL="0" marR="0" indent="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1pPr>
      <a:lvl2pPr marL="0" marR="0" indent="2286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2pPr>
      <a:lvl3pPr marL="0" marR="0" indent="4572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3pPr>
      <a:lvl4pPr marL="0" marR="0" indent="6858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4pPr>
      <a:lvl5pPr marL="0" marR="0" indent="9144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5pPr>
      <a:lvl6pPr marL="0" marR="0" indent="11430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6pPr>
      <a:lvl7pPr marL="0" marR="0" indent="13716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7pPr>
      <a:lvl8pPr marL="0" marR="0" indent="16002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8pPr>
      <a:lvl9pPr marL="0" marR="0" indent="18288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9pPr>
    </p:titleStyle>
    <p:bodyStyle>
      <a:lvl1pPr marL="0" marR="0" indent="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1pPr>
      <a:lvl2pPr marL="0" marR="0" indent="228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2pPr>
      <a:lvl3pPr marL="0" marR="0" indent="457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3pPr>
      <a:lvl4pPr marL="0" marR="0" indent="685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4pPr>
      <a:lvl5pPr marL="0" marR="0" indent="9144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5pPr>
      <a:lvl6pPr marL="0" marR="0" indent="11430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6pPr>
      <a:lvl7pPr marL="0" marR="0" indent="1371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7pPr>
      <a:lvl8pPr marL="0" marR="0" indent="1600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8pPr>
      <a:lvl9pPr marL="0" marR="0" indent="1828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9pPr>
    </p:bodyStyle>
    <p:otherStyle>
      <a:lvl1pPr marL="0" marR="0" indent="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1pPr>
      <a:lvl2pPr marL="0" marR="0" indent="2286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2pPr>
      <a:lvl3pPr marL="0" marR="0" indent="4572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3pPr>
      <a:lvl4pPr marL="0" marR="0" indent="6858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4pPr>
      <a:lvl5pPr marL="0" marR="0" indent="9144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5pPr>
      <a:lvl6pPr marL="0" marR="0" indent="11430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6pPr>
      <a:lvl7pPr marL="0" marR="0" indent="13716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7pPr>
      <a:lvl8pPr marL="0" marR="0" indent="16002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8pPr>
      <a:lvl9pPr marL="0" marR="0" indent="18288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pSp>
        <p:nvGrpSpPr>
          <p:cNvPr id="15" name="Groupe 14">
            <a:extLst>
              <a:ext uri="{FF2B5EF4-FFF2-40B4-BE49-F238E27FC236}">
                <a16:creationId xmlns:a16="http://schemas.microsoft.com/office/drawing/2014/main" id="{164E2085-2D7A-1F42-B980-49E2D1BFA809}"/>
              </a:ext>
            </a:extLst>
          </p:cNvPr>
          <p:cNvGrpSpPr/>
          <p:nvPr userDrawn="1"/>
        </p:nvGrpSpPr>
        <p:grpSpPr>
          <a:xfrm>
            <a:off x="255787" y="6233160"/>
            <a:ext cx="1676757" cy="574622"/>
            <a:chOff x="373815" y="6143191"/>
            <a:chExt cx="1828112" cy="626491"/>
          </a:xfrm>
        </p:grpSpPr>
        <p:pic>
          <p:nvPicPr>
            <p:cNvPr id="14" name="Graphique 13">
              <a:extLst>
                <a:ext uri="{FF2B5EF4-FFF2-40B4-BE49-F238E27FC236}">
                  <a16:creationId xmlns:a16="http://schemas.microsoft.com/office/drawing/2014/main" id="{C2F9BE05-350A-9140-8EE1-45A4BDF49B1E}"/>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1308209" y="6314802"/>
              <a:ext cx="893718" cy="262726"/>
            </a:xfrm>
            <a:prstGeom prst="rect">
              <a:avLst/>
            </a:prstGeom>
          </p:spPr>
        </p:pic>
        <p:pic>
          <p:nvPicPr>
            <p:cNvPr id="11" name="Image 10">
              <a:extLst>
                <a:ext uri="{FF2B5EF4-FFF2-40B4-BE49-F238E27FC236}">
                  <a16:creationId xmlns:a16="http://schemas.microsoft.com/office/drawing/2014/main" id="{81BD397F-28D0-874F-A288-715BA3E334FF}"/>
                </a:ext>
              </a:extLst>
            </p:cNvPr>
            <p:cNvPicPr>
              <a:picLocks noChangeAspect="1"/>
            </p:cNvPicPr>
            <p:nvPr userDrawn="1"/>
          </p:nvPicPr>
          <p:blipFill>
            <a:blip r:embed="rId13"/>
            <a:stretch>
              <a:fillRect/>
            </a:stretch>
          </p:blipFill>
          <p:spPr>
            <a:xfrm>
              <a:off x="373815" y="6143191"/>
              <a:ext cx="804201" cy="626491"/>
            </a:xfrm>
            <a:prstGeom prst="rect">
              <a:avLst/>
            </a:prstGeom>
          </p:spPr>
        </p:pic>
      </p:grpSp>
      <p:pic>
        <p:nvPicPr>
          <p:cNvPr id="2" name="MES-masque PPT2.jpg" descr="MES-masque PPT2.jpg"/>
          <p:cNvPicPr>
            <a:picLocks noChangeAspect="1"/>
          </p:cNvPicPr>
          <p:nvPr/>
        </p:nvPicPr>
        <p:blipFill>
          <a:blip r:embed="rId14"/>
          <a:stretch>
            <a:fillRect/>
          </a:stretch>
        </p:blipFill>
        <p:spPr>
          <a:xfrm>
            <a:off x="-1" y="-1354"/>
            <a:ext cx="12192001" cy="6196413"/>
          </a:xfrm>
          <a:prstGeom prst="rect">
            <a:avLst/>
          </a:prstGeom>
          <a:ln w="12700">
            <a:miter lim="400000"/>
          </a:ln>
        </p:spPr>
      </p:pic>
      <p:sp>
        <p:nvSpPr>
          <p:cNvPr id="3" name="Numéro de diapositive"/>
          <p:cNvSpPr txBox="1">
            <a:spLocks noGrp="1"/>
          </p:cNvSpPr>
          <p:nvPr>
            <p:ph type="sldNum" sz="quarter" idx="2"/>
          </p:nvPr>
        </p:nvSpPr>
        <p:spPr>
          <a:xfrm>
            <a:off x="11526249" y="6340658"/>
            <a:ext cx="309380" cy="241092"/>
          </a:xfrm>
          <a:prstGeom prst="rect">
            <a:avLst/>
          </a:prstGeom>
          <a:ln w="12700">
            <a:miter lim="400000"/>
          </a:ln>
        </p:spPr>
        <p:txBody>
          <a:bodyPr wrap="none" lIns="50800" tIns="50800" rIns="50800" bIns="50800" anchor="b">
            <a:spAutoFit/>
          </a:bodyPr>
          <a:lstStyle>
            <a:lvl1pPr defTabSz="292100">
              <a:defRPr sz="900">
                <a:solidFill>
                  <a:srgbClr val="DB3080"/>
                </a:solidFill>
                <a:latin typeface="+mj-lt"/>
                <a:ea typeface="+mj-ea"/>
                <a:cs typeface="+mj-cs"/>
                <a:sym typeface="Arial"/>
              </a:defRPr>
            </a:lvl1pPr>
          </a:lstStyle>
          <a:p>
            <a:fld id="{86CB4B4D-7CA3-9044-876B-883B54F8677D}" type="slidenum">
              <a:t>‹N°›</a:t>
            </a:fld>
            <a:endParaRPr/>
          </a:p>
        </p:txBody>
      </p:sp>
      <p:sp>
        <p:nvSpPr>
          <p:cNvPr id="4" name="Ligne"/>
          <p:cNvSpPr/>
          <p:nvPr/>
        </p:nvSpPr>
        <p:spPr>
          <a:xfrm>
            <a:off x="3442403" y="4737753"/>
            <a:ext cx="6106157" cy="1"/>
          </a:xfrm>
          <a:prstGeom prst="line">
            <a:avLst/>
          </a:prstGeom>
          <a:ln w="101600">
            <a:solidFill>
              <a:srgbClr val="005C9B"/>
            </a:solidFill>
            <a:miter lim="400000"/>
          </a:ln>
        </p:spPr>
        <p:txBody>
          <a:bodyPr lIns="25400" tIns="25400" rIns="25400" bIns="25400" anchor="ctr"/>
          <a:lstStyle/>
          <a:p>
            <a:endParaRPr sz="900"/>
          </a:p>
        </p:txBody>
      </p:sp>
      <p:sp>
        <p:nvSpPr>
          <p:cNvPr id="5" name="Ligne"/>
          <p:cNvSpPr/>
          <p:nvPr/>
        </p:nvSpPr>
        <p:spPr>
          <a:xfrm>
            <a:off x="9538695" y="4730444"/>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101600">
            <a:solidFill>
              <a:srgbClr val="005C9B"/>
            </a:solidFill>
            <a:miter lim="400000"/>
          </a:ln>
        </p:spPr>
        <p:txBody>
          <a:bodyPr lIns="25400" tIns="25400" rIns="25400" bIns="25400" anchor="ctr"/>
          <a:lstStyle/>
          <a:p>
            <a:pPr>
              <a:defRPr>
                <a:solidFill>
                  <a:srgbClr val="005C9B"/>
                </a:solidFill>
              </a:defRPr>
            </a:pPr>
            <a:endParaRPr sz="900"/>
          </a:p>
        </p:txBody>
      </p:sp>
      <p:sp>
        <p:nvSpPr>
          <p:cNvPr id="9" name="Titre de la présentation"/>
          <p:cNvSpPr txBox="1">
            <a:spLocks noGrp="1"/>
          </p:cNvSpPr>
          <p:nvPr>
            <p:ph type="title"/>
          </p:nvPr>
        </p:nvSpPr>
        <p:spPr>
          <a:xfrm>
            <a:off x="3442403" y="1713281"/>
            <a:ext cx="6266062" cy="232410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b">
            <a:normAutofit/>
          </a:bodyPr>
          <a:lstStyle/>
          <a:p>
            <a:r>
              <a:rPr err="1"/>
              <a:t>Titre</a:t>
            </a:r>
            <a:r>
              <a:t> de la </a:t>
            </a:r>
            <a:r>
              <a:rPr err="1"/>
              <a:t>présentation</a:t>
            </a:r>
            <a:endParaRPr/>
          </a:p>
        </p:txBody>
      </p:sp>
      <p:sp>
        <p:nvSpPr>
          <p:cNvPr id="10" name="Texte niveau 1…"/>
          <p:cNvSpPr txBox="1">
            <a:spLocks noGrp="1"/>
          </p:cNvSpPr>
          <p:nvPr>
            <p:ph type="body" idx="1"/>
          </p:nvPr>
        </p:nvSpPr>
        <p:spPr>
          <a:xfrm>
            <a:off x="3442403" y="3955885"/>
            <a:ext cx="6266062" cy="70395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ormAutofit/>
          </a:bodyPr>
          <a:lstStyle/>
          <a:p>
            <a:r>
              <a:t>Sous-</a:t>
            </a:r>
            <a:r>
              <a:rPr err="1"/>
              <a:t>titre</a:t>
            </a:r>
            <a:r>
              <a:t> de la </a:t>
            </a:r>
            <a:r>
              <a:rPr err="1"/>
              <a:t>présentation</a:t>
            </a:r>
            <a:endParaRPr/>
          </a:p>
          <a:p>
            <a:pPr lvl="1"/>
            <a:endParaRPr/>
          </a:p>
          <a:p>
            <a:pPr lvl="2"/>
            <a:endParaRPr/>
          </a:p>
          <a:p>
            <a:pPr lvl="3"/>
            <a:endParaRPr/>
          </a:p>
          <a:p>
            <a:pPr lvl="4"/>
            <a:endParaRPr/>
          </a:p>
        </p:txBody>
      </p:sp>
      <p:sp>
        <p:nvSpPr>
          <p:cNvPr id="12" name="Auteur et date">
            <a:extLst>
              <a:ext uri="{FF2B5EF4-FFF2-40B4-BE49-F238E27FC236}">
                <a16:creationId xmlns:a16="http://schemas.microsoft.com/office/drawing/2014/main" id="{3B143CDB-F1B2-8D4B-B969-3F84D572A05A}"/>
              </a:ext>
            </a:extLst>
          </p:cNvPr>
          <p:cNvSpPr txBox="1">
            <a:spLocks/>
          </p:cNvSpPr>
          <p:nvPr userDrawn="1"/>
        </p:nvSpPr>
        <p:spPr>
          <a:xfrm>
            <a:off x="7755010" y="6344103"/>
            <a:ext cx="3742855" cy="318490"/>
          </a:xfrm>
          <a:prstGeom prst="rect">
            <a:avLst/>
          </a:prstGeom>
        </p:spPr>
        <p:txBody>
          <a:bodyPr lIns="45719" tIns="45719" rIns="45719" bIns="45719"/>
          <a:lstStyle>
            <a:lvl1pPr marL="0" marR="0" indent="0" algn="r" defTabSz="412750" rtl="0" latinLnBrk="0">
              <a:lnSpc>
                <a:spcPct val="100000"/>
              </a:lnSpc>
              <a:spcBef>
                <a:spcPts val="0"/>
              </a:spcBef>
              <a:spcAft>
                <a:spcPts val="0"/>
              </a:spcAft>
              <a:buClrTx/>
              <a:buSzTx/>
              <a:buFontTx/>
              <a:buNone/>
              <a:tabLst/>
              <a:defRPr sz="1000" b="1" i="0" u="none" strike="noStrike" cap="none" spc="0" baseline="0">
                <a:solidFill>
                  <a:srgbClr val="005C9B"/>
                </a:solidFill>
                <a:uFillTx/>
                <a:latin typeface="+mj-lt"/>
                <a:ea typeface="+mj-ea"/>
                <a:cs typeface="+mj-cs"/>
                <a:sym typeface="Arial"/>
              </a:defRPr>
            </a:lvl1pPr>
            <a:lvl2pPr marL="0" marR="0" indent="228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2pPr>
            <a:lvl3pPr marL="0" marR="0" indent="457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3pPr>
            <a:lvl4pPr marL="0" marR="0" indent="685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4pPr>
            <a:lvl5pPr marL="0" marR="0" indent="9144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5pPr>
            <a:lvl6pPr marL="0" marR="0" indent="11430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6pPr>
            <a:lvl7pPr marL="0" marR="0" indent="1371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7pPr>
            <a:lvl8pPr marL="0" marR="0" indent="1600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8pPr>
            <a:lvl9pPr marL="0" marR="0" indent="1828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9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Session de sensibilisation à Mon espace santé</a:t>
            </a:r>
          </a:p>
        </p:txBody>
      </p:sp>
    </p:spTree>
    <p:extLst>
      <p:ext uri="{BB962C8B-B14F-4D97-AF65-F5344CB8AC3E}">
        <p14:creationId xmlns:p14="http://schemas.microsoft.com/office/powerpoint/2010/main" val="2193703946"/>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Lst>
  <p:transition spd="med"/>
  <p:hf hdr="0" dt="0"/>
  <p:txStyles>
    <p:titleStyle>
      <a:lvl1pPr marL="0" marR="0" indent="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1pPr>
      <a:lvl2pPr marL="0" marR="0" indent="2286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2pPr>
      <a:lvl3pPr marL="0" marR="0" indent="4572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3pPr>
      <a:lvl4pPr marL="0" marR="0" indent="6858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4pPr>
      <a:lvl5pPr marL="0" marR="0" indent="9144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5pPr>
      <a:lvl6pPr marL="0" marR="0" indent="11430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6pPr>
      <a:lvl7pPr marL="0" marR="0" indent="13716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7pPr>
      <a:lvl8pPr marL="0" marR="0" indent="16002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8pPr>
      <a:lvl9pPr marL="0" marR="0" indent="18288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9pPr>
    </p:titleStyle>
    <p:bodyStyle>
      <a:lvl1pPr marL="0" marR="0" indent="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1pPr>
      <a:lvl2pPr marL="0" marR="0" indent="228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2pPr>
      <a:lvl3pPr marL="0" marR="0" indent="457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3pPr>
      <a:lvl4pPr marL="0" marR="0" indent="685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4pPr>
      <a:lvl5pPr marL="0" marR="0" indent="9144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5pPr>
      <a:lvl6pPr marL="0" marR="0" indent="11430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6pPr>
      <a:lvl7pPr marL="0" marR="0" indent="1371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7pPr>
      <a:lvl8pPr marL="0" marR="0" indent="1600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8pPr>
      <a:lvl9pPr marL="0" marR="0" indent="1828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9pPr>
    </p:bodyStyle>
    <p:otherStyle>
      <a:lvl1pPr marL="0" marR="0" indent="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1pPr>
      <a:lvl2pPr marL="0" marR="0" indent="2286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2pPr>
      <a:lvl3pPr marL="0" marR="0" indent="4572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3pPr>
      <a:lvl4pPr marL="0" marR="0" indent="6858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4pPr>
      <a:lvl5pPr marL="0" marR="0" indent="9144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5pPr>
      <a:lvl6pPr marL="0" marR="0" indent="11430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6pPr>
      <a:lvl7pPr marL="0" marR="0" indent="13716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7pPr>
      <a:lvl8pPr marL="0" marR="0" indent="16002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8pPr>
      <a:lvl9pPr marL="0" marR="0" indent="18288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63.xml"/></Relationships>
</file>

<file path=ppt/slides/_rels/slide1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63.xml"/></Relationships>
</file>

<file path=ppt/slides/_rels/slide12.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50.png"/><Relationship Id="rId7" Type="http://schemas.openxmlformats.org/officeDocument/2006/relationships/hyperlink" Target="https://www.flaticon.com/premium-icon/private_2115982" TargetMode="External"/><Relationship Id="rId2" Type="http://schemas.openxmlformats.org/officeDocument/2006/relationships/image" Target="../media/image49.png"/><Relationship Id="rId1" Type="http://schemas.openxmlformats.org/officeDocument/2006/relationships/slideLayout" Target="../slideLayouts/slideLayout6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 Id="rId9" Type="http://schemas.openxmlformats.org/officeDocument/2006/relationships/image" Target="../media/image55.jpeg"/></Relationships>
</file>

<file path=ppt/slides/_rels/slide1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64.xml"/></Relationships>
</file>

<file path=ppt/slides/_rels/slide1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61.png"/><Relationship Id="rId7" Type="http://schemas.openxmlformats.org/officeDocument/2006/relationships/image" Target="../media/image63.png"/><Relationship Id="rId12" Type="http://schemas.openxmlformats.org/officeDocument/2006/relationships/image" Target="../media/image66.png"/><Relationship Id="rId2" Type="http://schemas.openxmlformats.org/officeDocument/2006/relationships/chart" Target="../charts/chart1.xml"/><Relationship Id="rId1" Type="http://schemas.openxmlformats.org/officeDocument/2006/relationships/slideLayout" Target="../slideLayouts/slideLayout13.xml"/><Relationship Id="rId6" Type="http://schemas.microsoft.com/office/2007/relationships/hdphoto" Target="../media/hdphoto2.wdp"/><Relationship Id="rId11" Type="http://schemas.microsoft.com/office/2007/relationships/hdphoto" Target="../media/hdphoto4.wdp"/><Relationship Id="rId5" Type="http://schemas.openxmlformats.org/officeDocument/2006/relationships/image" Target="../media/image62.png"/><Relationship Id="rId10" Type="http://schemas.openxmlformats.org/officeDocument/2006/relationships/image" Target="../media/image65.png"/><Relationship Id="rId4" Type="http://schemas.microsoft.com/office/2007/relationships/hdphoto" Target="../media/hdphoto1.wdp"/><Relationship Id="rId9" Type="http://schemas.microsoft.com/office/2007/relationships/hdphoto" Target="../media/hdphoto3.wdp"/></Relationships>
</file>

<file path=ppt/slides/_rels/slide17.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png"/><Relationship Id="rId3" Type="http://schemas.openxmlformats.org/officeDocument/2006/relationships/image" Target="../media/image68.png"/><Relationship Id="rId7" Type="http://schemas.openxmlformats.org/officeDocument/2006/relationships/image" Target="../media/image72.svg"/><Relationship Id="rId12" Type="http://schemas.openxmlformats.org/officeDocument/2006/relationships/image" Target="../media/image77.png"/><Relationship Id="rId2" Type="http://schemas.openxmlformats.org/officeDocument/2006/relationships/image" Target="../media/image67.png"/><Relationship Id="rId1" Type="http://schemas.openxmlformats.org/officeDocument/2006/relationships/slideLayout" Target="../slideLayouts/slideLayout13.xml"/><Relationship Id="rId6" Type="http://schemas.openxmlformats.org/officeDocument/2006/relationships/image" Target="../media/image71.png"/><Relationship Id="rId11" Type="http://schemas.openxmlformats.org/officeDocument/2006/relationships/image" Target="../media/image76.svg"/><Relationship Id="rId5" Type="http://schemas.openxmlformats.org/officeDocument/2006/relationships/image" Target="../media/image70.svg"/><Relationship Id="rId15" Type="http://schemas.openxmlformats.org/officeDocument/2006/relationships/image" Target="../media/image8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svg"/><Relationship Id="rId14" Type="http://schemas.openxmlformats.org/officeDocument/2006/relationships/image" Target="../media/image79.png"/></Relationships>
</file>

<file path=ppt/slides/_rels/slide1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2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6.svg"/><Relationship Id="rId7" Type="http://schemas.microsoft.com/office/2007/relationships/hdphoto" Target="../media/hdphoto5.wdp"/><Relationship Id="rId2" Type="http://schemas.openxmlformats.org/officeDocument/2006/relationships/image" Target="../media/image75.png"/><Relationship Id="rId1" Type="http://schemas.openxmlformats.org/officeDocument/2006/relationships/slideLayout" Target="../slideLayouts/slideLayout13.xml"/><Relationship Id="rId6" Type="http://schemas.openxmlformats.org/officeDocument/2006/relationships/image" Target="../media/image87.png"/><Relationship Id="rId5" Type="http://schemas.openxmlformats.org/officeDocument/2006/relationships/image" Target="../media/image74.svg"/><Relationship Id="rId4" Type="http://schemas.openxmlformats.org/officeDocument/2006/relationships/image" Target="../media/image73.png"/></Relationships>
</file>

<file path=ppt/slides/_rels/slide22.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94.jpeg"/><Relationship Id="rId7" Type="http://schemas.openxmlformats.org/officeDocument/2006/relationships/image" Target="../media/image97.png"/><Relationship Id="rId2" Type="http://schemas.openxmlformats.org/officeDocument/2006/relationships/hyperlink" Target="https://www.monespacesante.fr/" TargetMode="External"/><Relationship Id="rId1" Type="http://schemas.openxmlformats.org/officeDocument/2006/relationships/slideLayout" Target="../slideLayouts/slideLayout13.xml"/><Relationship Id="rId6" Type="http://schemas.openxmlformats.org/officeDocument/2006/relationships/image" Target="../media/image96.png"/><Relationship Id="rId5" Type="http://schemas.openxmlformats.org/officeDocument/2006/relationships/hyperlink" Target="https://www.monespacesante.fr/questions-frequentes" TargetMode="External"/><Relationship Id="rId4" Type="http://schemas.openxmlformats.org/officeDocument/2006/relationships/image" Target="../media/image95.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28.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image" Target="../media/image98.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image" Target="../media/image100.jpe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svg"/><Relationship Id="rId3" Type="http://schemas.openxmlformats.org/officeDocument/2006/relationships/image" Target="../media/image2.png"/><Relationship Id="rId7" Type="http://schemas.openxmlformats.org/officeDocument/2006/relationships/image" Target="../media/image25.svg"/><Relationship Id="rId12" Type="http://schemas.openxmlformats.org/officeDocument/2006/relationships/image" Target="../media/image30.png"/><Relationship Id="rId2" Type="http://schemas.openxmlformats.org/officeDocument/2006/relationships/image" Target="../media/image21.png"/><Relationship Id="rId1" Type="http://schemas.openxmlformats.org/officeDocument/2006/relationships/slideLayout" Target="../slideLayouts/slideLayout13.xml"/><Relationship Id="rId6" Type="http://schemas.openxmlformats.org/officeDocument/2006/relationships/image" Target="../media/image24.png"/><Relationship Id="rId11" Type="http://schemas.openxmlformats.org/officeDocument/2006/relationships/image" Target="../media/image29.svg"/><Relationship Id="rId5" Type="http://schemas.openxmlformats.org/officeDocument/2006/relationships/image" Target="../media/image23.sv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svg"/></Relationships>
</file>

<file path=ppt/slides/_rels/slide30.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image" Target="../media/image101.png"/><Relationship Id="rId1" Type="http://schemas.openxmlformats.org/officeDocument/2006/relationships/slideLayout" Target="../slideLayouts/slideLayout13.xml"/><Relationship Id="rId5" Type="http://schemas.openxmlformats.org/officeDocument/2006/relationships/hyperlink" Target="https://cms.monespacesante.fr/gateway/cms/sites/default/files/matrice-habilitations.pdf" TargetMode="External"/><Relationship Id="rId4" Type="http://schemas.openxmlformats.org/officeDocument/2006/relationships/image" Target="../media/image103.png"/></Relationships>
</file>

<file path=ppt/slides/_rels/slide3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hyperlink" Target="http://www.dmp.fr/matrice-habilitation" TargetMode="Externa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35.xml.rels><?xml version="1.0" encoding="UTF-8" standalone="yes"?>
<Relationships xmlns="http://schemas.openxmlformats.org/package/2006/relationships"><Relationship Id="rId8" Type="http://schemas.openxmlformats.org/officeDocument/2006/relationships/hyperlink" Target="mailto:camille.simon@ars.sante.fr" TargetMode="External"/><Relationship Id="rId13" Type="http://schemas.openxmlformats.org/officeDocument/2006/relationships/hyperlink" Target="mailto:victorine.leveque@esante-hdf.fr" TargetMode="External"/><Relationship Id="rId3" Type="http://schemas.openxmlformats.org/officeDocument/2006/relationships/image" Target="../media/image108.svg"/><Relationship Id="rId7" Type="http://schemas.openxmlformats.org/officeDocument/2006/relationships/hyperlink" Target="mailto:ielgorfti@esante-centre.fr" TargetMode="External"/><Relationship Id="rId12" Type="http://schemas.openxmlformats.org/officeDocument/2006/relationships/hyperlink" Target="mailto:Berenice.Bres@esante-bfc.fr" TargetMode="External"/><Relationship Id="rId17" Type="http://schemas.openxmlformats.org/officeDocument/2006/relationships/hyperlink" Target="mailto:sebastien.fonteny@ars.sante.fr" TargetMode="External"/><Relationship Id="rId2" Type="http://schemas.openxmlformats.org/officeDocument/2006/relationships/image" Target="../media/image107.png"/><Relationship Id="rId16" Type="http://schemas.openxmlformats.org/officeDocument/2006/relationships/hyperlink" Target="mailto:loic.charpentier@ars.sante.fr" TargetMode="External"/><Relationship Id="rId1" Type="http://schemas.openxmlformats.org/officeDocument/2006/relationships/slideLayout" Target="../slideLayouts/slideLayout99.xml"/><Relationship Id="rId6" Type="http://schemas.openxmlformats.org/officeDocument/2006/relationships/hyperlink" Target="mailto:frederic.ettenat@gcssis-martinique.fr" TargetMode="External"/><Relationship Id="rId11" Type="http://schemas.openxmlformats.org/officeDocument/2006/relationships/hyperlink" Target="mailto:marnoux@ies-sud.fr" TargetMode="External"/><Relationship Id="rId5" Type="http://schemas.openxmlformats.org/officeDocument/2006/relationships/hyperlink" Target="mailto:c.bravais@tesis.re" TargetMode="External"/><Relationship Id="rId15" Type="http://schemas.openxmlformats.org/officeDocument/2006/relationships/hyperlink" Target="mailto:pascal.azema@esante-occitanie.fr" TargetMode="External"/><Relationship Id="rId10" Type="http://schemas.openxmlformats.org/officeDocument/2006/relationships/hyperlink" Target="mailto:jerome.silvestre@esea-na.fr" TargetMode="External"/><Relationship Id="rId4" Type="http://schemas.openxmlformats.org/officeDocument/2006/relationships/hyperlink" Target="mailto:francois.gourrier@ars.sante.fr" TargetMode="External"/><Relationship Id="rId9" Type="http://schemas.openxmlformats.org/officeDocument/2006/relationships/hyperlink" Target="mailto:sandrine.allard@ars.sante.fr" TargetMode="External"/><Relationship Id="rId14" Type="http://schemas.openxmlformats.org/officeDocument/2006/relationships/hyperlink" Target="mailto:stephanie.pisano@corse-esante.fr" TargetMode="External"/></Relationships>
</file>

<file path=ppt/slides/_rels/slide36.xml.rels><?xml version="1.0" encoding="UTF-8" standalone="yes"?>
<Relationships xmlns="http://schemas.openxmlformats.org/package/2006/relationships"><Relationship Id="rId8" Type="http://schemas.openxmlformats.org/officeDocument/2006/relationships/image" Target="../media/image114.svg"/><Relationship Id="rId13" Type="http://schemas.openxmlformats.org/officeDocument/2006/relationships/image" Target="../media/image118.svg"/><Relationship Id="rId3" Type="http://schemas.openxmlformats.org/officeDocument/2006/relationships/image" Target="../media/image110.jpeg"/><Relationship Id="rId7" Type="http://schemas.openxmlformats.org/officeDocument/2006/relationships/image" Target="../media/image113.png"/><Relationship Id="rId12" Type="http://schemas.openxmlformats.org/officeDocument/2006/relationships/image" Target="../media/image117.png"/><Relationship Id="rId2" Type="http://schemas.openxmlformats.org/officeDocument/2006/relationships/image" Target="../media/image109.png"/><Relationship Id="rId1" Type="http://schemas.openxmlformats.org/officeDocument/2006/relationships/slideLayout" Target="../slideLayouts/slideLayout99.xml"/><Relationship Id="rId6" Type="http://schemas.openxmlformats.org/officeDocument/2006/relationships/image" Target="../media/image112.png"/><Relationship Id="rId11" Type="http://schemas.openxmlformats.org/officeDocument/2006/relationships/hyperlink" Target="https://www.monespacesante.fr/questions-frequentes" TargetMode="External"/><Relationship Id="rId5" Type="http://schemas.openxmlformats.org/officeDocument/2006/relationships/hyperlink" Target="https://www.youtube.com/watch?v=0a-raxe6Wq0&amp;list=PLOw7W72Ail24B8WjhOfgwZ8ZH3H08fvmq" TargetMode="External"/><Relationship Id="rId15" Type="http://schemas.openxmlformats.org/officeDocument/2006/relationships/image" Target="../media/image120.svg"/><Relationship Id="rId10" Type="http://schemas.openxmlformats.org/officeDocument/2006/relationships/image" Target="../media/image116.svg"/><Relationship Id="rId4" Type="http://schemas.openxmlformats.org/officeDocument/2006/relationships/image" Target="../media/image111.tiff"/><Relationship Id="rId9" Type="http://schemas.openxmlformats.org/officeDocument/2006/relationships/image" Target="../media/image115.png"/><Relationship Id="rId14" Type="http://schemas.openxmlformats.org/officeDocument/2006/relationships/image" Target="../media/image119.png"/></Relationships>
</file>

<file path=ppt/slides/_rels/slide37.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image" Target="../media/image122.svg"/><Relationship Id="rId7" Type="http://schemas.openxmlformats.org/officeDocument/2006/relationships/image" Target="../media/image126.svg"/><Relationship Id="rId2" Type="http://schemas.openxmlformats.org/officeDocument/2006/relationships/image" Target="../media/image121.png"/><Relationship Id="rId1" Type="http://schemas.openxmlformats.org/officeDocument/2006/relationships/slideLayout" Target="../slideLayouts/slideLayout99.xml"/><Relationship Id="rId6" Type="http://schemas.openxmlformats.org/officeDocument/2006/relationships/image" Target="../media/image125.png"/><Relationship Id="rId5" Type="http://schemas.openxmlformats.org/officeDocument/2006/relationships/image" Target="../media/image124.svg"/><Relationship Id="rId4" Type="http://schemas.openxmlformats.org/officeDocument/2006/relationships/image" Target="../media/image123.png"/><Relationship Id="rId9" Type="http://schemas.openxmlformats.org/officeDocument/2006/relationships/image" Target="../media/image128.svg"/></Relationships>
</file>

<file path=ppt/slides/_rels/slide38.xml.rels><?xml version="1.0" encoding="UTF-8" standalone="yes"?>
<Relationships xmlns="http://schemas.openxmlformats.org/package/2006/relationships"><Relationship Id="rId2" Type="http://schemas.openxmlformats.org/officeDocument/2006/relationships/hyperlink" Target="https://aidantsconnect.beta.gouv.fr/habilitation" TargetMode="External"/><Relationship Id="rId1" Type="http://schemas.openxmlformats.org/officeDocument/2006/relationships/slideLayout" Target="../slideLayouts/slideLayout99.xml"/></Relationships>
</file>

<file path=ppt/slides/_rels/slide3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129.png"/><Relationship Id="rId1" Type="http://schemas.openxmlformats.org/officeDocument/2006/relationships/slideLayout" Target="../slideLayouts/slideLayout99.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32.png"/><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hyperlink" Target="https://www.esegur-normandie.fr/formulaires/inscription-ambassadeurs-mon-espace-sante,4590,12993.html" TargetMode="External"/><Relationship Id="rId1" Type="http://schemas.openxmlformats.org/officeDocument/2006/relationships/slideLayout" Target="../slideLayouts/slideLayout99.xml"/><Relationship Id="rId6" Type="http://schemas.openxmlformats.org/officeDocument/2006/relationships/hyperlink" Target="https://esante.gouv.fr/strategie-nationale/mon-espace-sante/ambassadeur#content-24773" TargetMode="External"/><Relationship Id="rId5" Type="http://schemas.openxmlformats.org/officeDocument/2006/relationships/image" Target="../media/image131.png"/><Relationship Id="rId4" Type="http://schemas.openxmlformats.org/officeDocument/2006/relationships/hyperlink" Target="https://www.esegur-normandie.fr/formulaires/recueil-des-actions-ambassadeurs-mon-espace-sante,4590,12990.html" TargetMode="Externa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62.xml"/><Relationship Id="rId6" Type="http://schemas.openxmlformats.org/officeDocument/2006/relationships/image" Target="../media/image38.png"/><Relationship Id="rId5" Type="http://schemas.openxmlformats.org/officeDocument/2006/relationships/image" Target="../media/image2.png"/><Relationship Id="rId4" Type="http://schemas.openxmlformats.org/officeDocument/2006/relationships/image" Target="../media/image37.svg"/></Relationships>
</file>

<file path=ppt/slides/_rels/slide9.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1.xml"/><Relationship Id="rId1" Type="http://schemas.openxmlformats.org/officeDocument/2006/relationships/slideLayout" Target="../slideLayouts/slideLayout62.xml"/><Relationship Id="rId6" Type="http://schemas.openxmlformats.org/officeDocument/2006/relationships/image" Target="../media/image42.svg"/><Relationship Id="rId5" Type="http://schemas.openxmlformats.org/officeDocument/2006/relationships/image" Target="../media/image41.png"/><Relationship Id="rId10" Type="http://schemas.openxmlformats.org/officeDocument/2006/relationships/image" Target="../media/image46.svg"/><Relationship Id="rId4" Type="http://schemas.openxmlformats.org/officeDocument/2006/relationships/image" Target="../media/image40.svg"/><Relationship Id="rId9" Type="http://schemas.openxmlformats.org/officeDocument/2006/relationships/image" Target="../media/image4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A346F03-AB25-4414-B839-DEB8A8D45A57}"/>
              </a:ext>
            </a:extLst>
          </p:cNvPr>
          <p:cNvSpPr>
            <a:spLocks noGrp="1"/>
          </p:cNvSpPr>
          <p:nvPr>
            <p:ph type="title"/>
          </p:nvPr>
        </p:nvSpPr>
        <p:spPr>
          <a:xfrm>
            <a:off x="794902" y="2025265"/>
            <a:ext cx="9263498" cy="1263055"/>
          </a:xfrm>
        </p:spPr>
        <p:txBody>
          <a:bodyPr>
            <a:normAutofit/>
          </a:bodyPr>
          <a:lstStyle/>
          <a:p>
            <a:r>
              <a:rPr lang="fr-FR" sz="3500" b="1" cap="none" spc="-70">
                <a:solidFill>
                  <a:srgbClr val="005C9B"/>
                </a:solidFill>
                <a:latin typeface="Arial" panose="020B0604020202020204" pitchFamily="34" charset="0"/>
                <a:cs typeface="Arial" panose="020B0604020202020204" pitchFamily="34" charset="0"/>
                <a:sym typeface="Arial"/>
              </a:rPr>
              <a:t>PRESENTATION DE MON ESPACE SANTE</a:t>
            </a:r>
          </a:p>
        </p:txBody>
      </p:sp>
      <p:sp>
        <p:nvSpPr>
          <p:cNvPr id="4" name="Slide Number Placeholder 3">
            <a:extLst>
              <a:ext uri="{FF2B5EF4-FFF2-40B4-BE49-F238E27FC236}">
                <a16:creationId xmlns:a16="http://schemas.microsoft.com/office/drawing/2014/main" id="{D0725157-8FC4-4233-9D2C-413D28E3DD82}"/>
              </a:ext>
            </a:extLst>
          </p:cNvPr>
          <p:cNvSpPr>
            <a:spLocks noGrp="1"/>
          </p:cNvSpPr>
          <p:nvPr>
            <p:ph type="sldNum" sz="quarter" idx="2"/>
          </p:nvPr>
        </p:nvSpPr>
        <p:spPr/>
        <p:txBody>
          <a:bodyPr/>
          <a:lstStyle/>
          <a:p>
            <a:fld id="{86CB4B4D-7CA3-9044-876B-883B54F8677D}" type="slidenum">
              <a:rPr lang="fr-FR" smtClean="0"/>
              <a:t>1</a:t>
            </a:fld>
            <a:endParaRPr lang="fr-FR"/>
          </a:p>
        </p:txBody>
      </p:sp>
    </p:spTree>
    <p:extLst>
      <p:ext uri="{BB962C8B-B14F-4D97-AF65-F5344CB8AC3E}">
        <p14:creationId xmlns:p14="http://schemas.microsoft.com/office/powerpoint/2010/main" val="2947629977"/>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2C4EF90-470B-4068-8CD3-C3C878D769E1}"/>
              </a:ext>
            </a:extLst>
          </p:cNvPr>
          <p:cNvSpPr>
            <a:spLocks noGrp="1"/>
          </p:cNvSpPr>
          <p:nvPr>
            <p:ph type="sldNum" sz="quarter" idx="2"/>
          </p:nvPr>
        </p:nvSpPr>
        <p:spPr/>
        <p:txBody>
          <a:bodyPr/>
          <a:lstStyle/>
          <a:p>
            <a:fld id="{86CB4B4D-7CA3-9044-876B-883B54F8677D}" type="slidenum">
              <a:rPr lang="fr-FR" smtClean="0"/>
              <a:t>10</a:t>
            </a:fld>
            <a:endParaRPr lang="fr-FR"/>
          </a:p>
        </p:txBody>
      </p:sp>
      <p:sp>
        <p:nvSpPr>
          <p:cNvPr id="4" name="Title 3">
            <a:extLst>
              <a:ext uri="{FF2B5EF4-FFF2-40B4-BE49-F238E27FC236}">
                <a16:creationId xmlns:a16="http://schemas.microsoft.com/office/drawing/2014/main" id="{EB0D13D4-CD7B-44F0-B672-40B2D8C17F5A}"/>
              </a:ext>
            </a:extLst>
          </p:cNvPr>
          <p:cNvSpPr>
            <a:spLocks noGrp="1"/>
          </p:cNvSpPr>
          <p:nvPr>
            <p:ph type="title"/>
          </p:nvPr>
        </p:nvSpPr>
        <p:spPr>
          <a:xfrm>
            <a:off x="2313517" y="16625"/>
            <a:ext cx="9878483" cy="1133342"/>
          </a:xfrm>
        </p:spPr>
        <p:txBody>
          <a:bodyPr>
            <a:normAutofit/>
          </a:bodyPr>
          <a:lstStyle/>
          <a:p>
            <a:r>
              <a:rPr lang="fr-FR" kern="1200">
                <a:latin typeface="Arial" panose="020B0604020202020204" pitchFamily="34" charset="0"/>
                <a:cs typeface="Arial" panose="020B0604020202020204" pitchFamily="34" charset="0"/>
              </a:rPr>
              <a:t>Concrètement, comment se passe l’activation ?</a:t>
            </a:r>
          </a:p>
        </p:txBody>
      </p:sp>
      <p:sp>
        <p:nvSpPr>
          <p:cNvPr id="18" name="ZoneTexte 14">
            <a:extLst>
              <a:ext uri="{FF2B5EF4-FFF2-40B4-BE49-F238E27FC236}">
                <a16:creationId xmlns:a16="http://schemas.microsoft.com/office/drawing/2014/main" id="{ECFA6648-4363-42D4-B180-10E39B72938C}"/>
              </a:ext>
            </a:extLst>
          </p:cNvPr>
          <p:cNvSpPr txBox="1"/>
          <p:nvPr/>
        </p:nvSpPr>
        <p:spPr>
          <a:xfrm>
            <a:off x="831873" y="2404563"/>
            <a:ext cx="5331510" cy="3939540"/>
          </a:xfrm>
          <a:prstGeom prst="rect">
            <a:avLst/>
          </a:prstGeom>
          <a:noFill/>
        </p:spPr>
        <p:txBody>
          <a:bodyPr wrap="square" rtlCol="0">
            <a:spAutoFit/>
          </a:bodyPr>
          <a:lstStyle/>
          <a:p>
            <a:r>
              <a:rPr lang="fr-FR" sz="1600" dirty="0"/>
              <a:t>Je me rends sur monespacesante.fr.</a:t>
            </a:r>
          </a:p>
          <a:p>
            <a:r>
              <a:rPr lang="fr-FR" sz="1600" dirty="0"/>
              <a:t>Pour activer mon compte j’ai besoin de :</a:t>
            </a:r>
          </a:p>
          <a:p>
            <a:pPr marL="285750" indent="-285750">
              <a:buClr>
                <a:srgbClr val="DF2680"/>
              </a:buClr>
              <a:buSzPct val="80000"/>
              <a:buFontTx/>
              <a:buChar char="►"/>
            </a:pPr>
            <a:r>
              <a:rPr lang="fr-FR" sz="1600" dirty="0"/>
              <a:t>Ma carte Vitale</a:t>
            </a:r>
          </a:p>
          <a:p>
            <a:pPr marL="285750" indent="-285750">
              <a:buClr>
                <a:srgbClr val="DF2680"/>
              </a:buClr>
              <a:buSzPct val="80000"/>
              <a:buFontTx/>
              <a:buChar char="►"/>
            </a:pPr>
            <a:r>
              <a:rPr lang="fr-FR" sz="1600" dirty="0"/>
              <a:t>5 minutes</a:t>
            </a:r>
          </a:p>
          <a:p>
            <a:pPr>
              <a:buClr>
                <a:srgbClr val="DF2680"/>
              </a:buClr>
              <a:buSzPct val="80000"/>
            </a:pPr>
            <a:endParaRPr lang="fr-FR" sz="1600" dirty="0"/>
          </a:p>
          <a:p>
            <a:pPr marL="342900" indent="-342900">
              <a:buAutoNum type="arabicPeriod"/>
            </a:pPr>
            <a:r>
              <a:rPr lang="fr-FR" sz="1600" dirty="0"/>
              <a:t>Date de naissance</a:t>
            </a:r>
          </a:p>
          <a:p>
            <a:pPr marL="342900" indent="-342900">
              <a:buAutoNum type="arabicPeriod"/>
            </a:pPr>
            <a:r>
              <a:rPr lang="fr-FR" sz="1600" dirty="0"/>
              <a:t>Information Carte vitale</a:t>
            </a:r>
          </a:p>
          <a:p>
            <a:pPr marL="342900" indent="-342900">
              <a:buAutoNum type="arabicPeriod"/>
            </a:pPr>
            <a:r>
              <a:rPr lang="fr-FR" sz="1600" dirty="0"/>
              <a:t>Code provisoire reçu par mail ou SMS</a:t>
            </a:r>
          </a:p>
          <a:p>
            <a:pPr marL="342900" indent="-342900">
              <a:buAutoNum type="arabicPeriod"/>
            </a:pPr>
            <a:r>
              <a:rPr lang="fr-FR" sz="1600" dirty="0"/>
              <a:t>Vérification des coordonnées</a:t>
            </a:r>
          </a:p>
          <a:p>
            <a:pPr marL="342900" indent="-342900">
              <a:buAutoNum type="arabicPeriod"/>
            </a:pPr>
            <a:r>
              <a:rPr lang="fr-FR" sz="1600" dirty="0"/>
              <a:t>Choix identifiant : 8 caractères / minuscules / « .-_ »</a:t>
            </a:r>
          </a:p>
          <a:p>
            <a:pPr marL="342900" indent="-342900">
              <a:buAutoNum type="arabicPeriod"/>
            </a:pPr>
            <a:r>
              <a:rPr lang="fr-FR" sz="1600" dirty="0"/>
              <a:t>Choix mot de passe : 9 caractères : 1MAJ, 1chiffre, 1caractère spécial, 1minuscule</a:t>
            </a:r>
          </a:p>
          <a:p>
            <a:endParaRPr lang="fr-FR" sz="1600" dirty="0"/>
          </a:p>
          <a:p>
            <a:pPr algn="just"/>
            <a:endParaRPr lang="fr-FR" sz="1400" i="1" dirty="0"/>
          </a:p>
          <a:p>
            <a:pPr algn="just"/>
            <a:r>
              <a:rPr lang="fr-FR" sz="1400" i="1" dirty="0"/>
              <a:t>*Pour que nous disposions du mail pour un assuré du régime général, il doit avoir ouvert un compte </a:t>
            </a:r>
            <a:r>
              <a:rPr lang="fr-FR" sz="1400" i="1" dirty="0" err="1"/>
              <a:t>ameli</a:t>
            </a:r>
            <a:r>
              <a:rPr lang="fr-FR" sz="1400" i="1" dirty="0"/>
              <a:t>.</a:t>
            </a:r>
          </a:p>
        </p:txBody>
      </p:sp>
      <p:grpSp>
        <p:nvGrpSpPr>
          <p:cNvPr id="10" name="Group 9">
            <a:extLst>
              <a:ext uri="{FF2B5EF4-FFF2-40B4-BE49-F238E27FC236}">
                <a16:creationId xmlns:a16="http://schemas.microsoft.com/office/drawing/2014/main" id="{52030EA1-C573-427D-808B-3C542A04E08A}"/>
              </a:ext>
            </a:extLst>
          </p:cNvPr>
          <p:cNvGrpSpPr/>
          <p:nvPr/>
        </p:nvGrpSpPr>
        <p:grpSpPr>
          <a:xfrm>
            <a:off x="459510" y="1752591"/>
            <a:ext cx="4709549" cy="576000"/>
            <a:chOff x="472210" y="1752591"/>
            <a:chExt cx="4709549" cy="576000"/>
          </a:xfrm>
        </p:grpSpPr>
        <p:sp>
          <p:nvSpPr>
            <p:cNvPr id="11" name="ZoneTexte 14">
              <a:extLst>
                <a:ext uri="{FF2B5EF4-FFF2-40B4-BE49-F238E27FC236}">
                  <a16:creationId xmlns:a16="http://schemas.microsoft.com/office/drawing/2014/main" id="{EB141373-05E7-48A2-8740-363662B0C4A5}"/>
                </a:ext>
              </a:extLst>
            </p:cNvPr>
            <p:cNvSpPr txBox="1"/>
            <p:nvPr/>
          </p:nvSpPr>
          <p:spPr>
            <a:xfrm>
              <a:off x="1062147" y="1858535"/>
              <a:ext cx="4119612" cy="369332"/>
            </a:xfrm>
            <a:prstGeom prst="rect">
              <a:avLst/>
            </a:prstGeom>
            <a:solidFill>
              <a:schemeClr val="bg1"/>
            </a:solidFill>
          </p:spPr>
          <p:txBody>
            <a:bodyPr wrap="square" rtlCol="0">
              <a:spAutoFit/>
            </a:bodyPr>
            <a:lstStyle/>
            <a:p>
              <a:r>
                <a:rPr lang="fr-FR" b="1">
                  <a:solidFill>
                    <a:srgbClr val="DF2680"/>
                  </a:solidFill>
                </a:rPr>
                <a:t>Activation du compte</a:t>
              </a:r>
            </a:p>
          </p:txBody>
        </p:sp>
        <p:sp>
          <p:nvSpPr>
            <p:cNvPr id="12" name="Rectangle: Rounded Corners 11">
              <a:extLst>
                <a:ext uri="{FF2B5EF4-FFF2-40B4-BE49-F238E27FC236}">
                  <a16:creationId xmlns:a16="http://schemas.microsoft.com/office/drawing/2014/main" id="{7C7D2B7D-0ADF-4125-944E-75E1619F18AE}"/>
                </a:ext>
              </a:extLst>
            </p:cNvPr>
            <p:cNvSpPr>
              <a:spLocks noChangeAspect="1"/>
            </p:cNvSpPr>
            <p:nvPr/>
          </p:nvSpPr>
          <p:spPr>
            <a:xfrm>
              <a:off x="472210" y="1752591"/>
              <a:ext cx="524348" cy="576000"/>
            </a:xfrm>
            <a:prstGeom prst="roundRect">
              <a:avLst/>
            </a:prstGeom>
            <a:solidFill>
              <a:srgbClr val="DF2680">
                <a:alpha val="10000"/>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fr-FR"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3" name="ZoneTexte 14">
              <a:extLst>
                <a:ext uri="{FF2B5EF4-FFF2-40B4-BE49-F238E27FC236}">
                  <a16:creationId xmlns:a16="http://schemas.microsoft.com/office/drawing/2014/main" id="{9961287D-9289-4B65-B4F6-79224671BB43}"/>
                </a:ext>
              </a:extLst>
            </p:cNvPr>
            <p:cNvSpPr txBox="1"/>
            <p:nvPr/>
          </p:nvSpPr>
          <p:spPr>
            <a:xfrm>
              <a:off x="539480" y="1766203"/>
              <a:ext cx="422580" cy="523220"/>
            </a:xfrm>
            <a:prstGeom prst="rect">
              <a:avLst/>
            </a:prstGeom>
            <a:noFill/>
          </p:spPr>
          <p:txBody>
            <a:bodyPr wrap="square" rtlCol="0">
              <a:spAutoFit/>
            </a:bodyPr>
            <a:lstStyle/>
            <a:p>
              <a:r>
                <a:rPr lang="fr-FR" sz="2800" b="1">
                  <a:solidFill>
                    <a:srgbClr val="DF2680"/>
                  </a:solidFill>
                </a:rPr>
                <a:t>2</a:t>
              </a:r>
            </a:p>
          </p:txBody>
        </p:sp>
      </p:grpSp>
      <p:sp>
        <p:nvSpPr>
          <p:cNvPr id="2" name="Ellipse 1"/>
          <p:cNvSpPr/>
          <p:nvPr/>
        </p:nvSpPr>
        <p:spPr>
          <a:xfrm>
            <a:off x="5852127" y="6207149"/>
            <a:ext cx="5508000" cy="345718"/>
          </a:xfrm>
          <a:prstGeom prst="snip1Rect">
            <a:avLst/>
          </a:prstGeom>
          <a:solidFill>
            <a:srgbClr val="FEFAF3"/>
          </a:solidFill>
          <a:ln>
            <a:noFill/>
          </a:ln>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50800" tIns="50800" rIns="50800" bIns="50800" numCol="1" spcCol="38100" rtlCol="0" anchor="t">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fr-FR" sz="1400" b="1" i="0" u="none" strike="noStrike" cap="none" spc="0" normalizeH="0" baseline="0">
                <a:ln>
                  <a:noFill/>
                </a:ln>
                <a:solidFill>
                  <a:schemeClr val="tx1"/>
                </a:solidFill>
                <a:effectLst/>
                <a:uFillTx/>
                <a:latin typeface="Helvetica Neue Medium"/>
                <a:ea typeface="Helvetica Neue Medium"/>
                <a:cs typeface="Helvetica Neue Medium"/>
                <a:sym typeface="Helvetica Neue Medium"/>
              </a:rPr>
              <a:t>NB : Aucune activation ne peut être faite au 3422</a:t>
            </a:r>
          </a:p>
        </p:txBody>
      </p:sp>
      <p:pic>
        <p:nvPicPr>
          <p:cNvPr id="5" name="Image 4">
            <a:extLst>
              <a:ext uri="{FF2B5EF4-FFF2-40B4-BE49-F238E27FC236}">
                <a16:creationId xmlns:a16="http://schemas.microsoft.com/office/drawing/2014/main" id="{8E303892-AD58-1843-CD80-E1B907DE2C6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399901" y="2057206"/>
            <a:ext cx="3403877" cy="3379658"/>
          </a:xfrm>
          <a:prstGeom prst="rect">
            <a:avLst/>
          </a:prstGeom>
          <a:noFill/>
          <a:ln>
            <a:noFill/>
          </a:ln>
        </p:spPr>
      </p:pic>
    </p:spTree>
    <p:extLst>
      <p:ext uri="{BB962C8B-B14F-4D97-AF65-F5344CB8AC3E}">
        <p14:creationId xmlns:p14="http://schemas.microsoft.com/office/powerpoint/2010/main" val="715588810"/>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2C4EF90-470B-4068-8CD3-C3C878D769E1}"/>
              </a:ext>
            </a:extLst>
          </p:cNvPr>
          <p:cNvSpPr>
            <a:spLocks noGrp="1"/>
          </p:cNvSpPr>
          <p:nvPr>
            <p:ph type="sldNum" sz="quarter" idx="2"/>
          </p:nvPr>
        </p:nvSpPr>
        <p:spPr/>
        <p:txBody>
          <a:bodyPr/>
          <a:lstStyle/>
          <a:p>
            <a:fld id="{86CB4B4D-7CA3-9044-876B-883B54F8677D}" type="slidenum">
              <a:rPr lang="fr-FR" smtClean="0"/>
              <a:t>11</a:t>
            </a:fld>
            <a:endParaRPr lang="fr-FR"/>
          </a:p>
        </p:txBody>
      </p:sp>
      <p:sp>
        <p:nvSpPr>
          <p:cNvPr id="4" name="Title 3">
            <a:extLst>
              <a:ext uri="{FF2B5EF4-FFF2-40B4-BE49-F238E27FC236}">
                <a16:creationId xmlns:a16="http://schemas.microsoft.com/office/drawing/2014/main" id="{EB0D13D4-CD7B-44F0-B672-40B2D8C17F5A}"/>
              </a:ext>
            </a:extLst>
          </p:cNvPr>
          <p:cNvSpPr>
            <a:spLocks noGrp="1"/>
          </p:cNvSpPr>
          <p:nvPr>
            <p:ph type="title"/>
          </p:nvPr>
        </p:nvSpPr>
        <p:spPr>
          <a:xfrm>
            <a:off x="2313517" y="16625"/>
            <a:ext cx="9878483" cy="1133342"/>
          </a:xfrm>
        </p:spPr>
        <p:txBody>
          <a:bodyPr>
            <a:normAutofit/>
          </a:bodyPr>
          <a:lstStyle/>
          <a:p>
            <a:r>
              <a:rPr lang="fr-FR" kern="1200">
                <a:latin typeface="Arial" panose="020B0604020202020204" pitchFamily="34" charset="0"/>
                <a:cs typeface="Arial" panose="020B0604020202020204" pitchFamily="34" charset="0"/>
              </a:rPr>
              <a:t>Concrètement, comment se passe l’activation ?</a:t>
            </a:r>
          </a:p>
        </p:txBody>
      </p:sp>
      <p:sp>
        <p:nvSpPr>
          <p:cNvPr id="18" name="ZoneTexte 14">
            <a:extLst>
              <a:ext uri="{FF2B5EF4-FFF2-40B4-BE49-F238E27FC236}">
                <a16:creationId xmlns:a16="http://schemas.microsoft.com/office/drawing/2014/main" id="{ECFA6648-4363-42D4-B180-10E39B72938C}"/>
              </a:ext>
            </a:extLst>
          </p:cNvPr>
          <p:cNvSpPr txBox="1"/>
          <p:nvPr/>
        </p:nvSpPr>
        <p:spPr>
          <a:xfrm>
            <a:off x="392287" y="2419729"/>
            <a:ext cx="4281313" cy="3385542"/>
          </a:xfrm>
          <a:prstGeom prst="rect">
            <a:avLst/>
          </a:prstGeom>
          <a:noFill/>
        </p:spPr>
        <p:txBody>
          <a:bodyPr wrap="square" rtlCol="0">
            <a:spAutoFit/>
          </a:bodyPr>
          <a:lstStyle/>
          <a:p>
            <a:pPr algn="just"/>
            <a:r>
              <a:rPr lang="fr-FR" sz="1600"/>
              <a:t>Le parcours d’enrôlement peut alors commencer.</a:t>
            </a:r>
          </a:p>
          <a:p>
            <a:pPr algn="just"/>
            <a:endParaRPr lang="fr-FR" sz="1600"/>
          </a:p>
          <a:p>
            <a:pPr algn="just"/>
            <a:r>
              <a:rPr lang="fr-FR" sz="1600"/>
              <a:t>J’ai le choix : je peux </a:t>
            </a:r>
            <a:r>
              <a:rPr lang="fr-FR" sz="1600" b="1"/>
              <a:t>activer</a:t>
            </a:r>
            <a:r>
              <a:rPr lang="fr-FR" sz="1600"/>
              <a:t> ou </a:t>
            </a:r>
            <a:r>
              <a:rPr lang="fr-FR" sz="1600" b="1"/>
              <a:t>clôturer</a:t>
            </a:r>
            <a:r>
              <a:rPr lang="fr-FR" sz="1600"/>
              <a:t>  Mon espace santé !</a:t>
            </a:r>
          </a:p>
          <a:p>
            <a:pPr algn="just"/>
            <a:endParaRPr lang="fr-FR" sz="1600"/>
          </a:p>
          <a:p>
            <a:pPr algn="just"/>
            <a:r>
              <a:rPr lang="fr-FR" sz="1600"/>
              <a:t>En cas d’opposition ou de clôture, je peux revenir à tout moment sur ma décision en me connectant sur monespacesante.fr</a:t>
            </a:r>
          </a:p>
          <a:p>
            <a:pPr algn="just"/>
            <a:endParaRPr lang="fr-FR" sz="1600"/>
          </a:p>
          <a:p>
            <a:pPr algn="just"/>
            <a:r>
              <a:rPr lang="fr-FR" sz="1600"/>
              <a:t>Inversement, si j’ai activé Mon espace santé et que je change d’avis, je peux peut demander sa clôture. </a:t>
            </a:r>
          </a:p>
        </p:txBody>
      </p:sp>
      <p:grpSp>
        <p:nvGrpSpPr>
          <p:cNvPr id="10" name="Group 9">
            <a:extLst>
              <a:ext uri="{FF2B5EF4-FFF2-40B4-BE49-F238E27FC236}">
                <a16:creationId xmlns:a16="http://schemas.microsoft.com/office/drawing/2014/main" id="{16C28A9F-C56A-4D92-8044-473BB3BB023F}"/>
              </a:ext>
            </a:extLst>
          </p:cNvPr>
          <p:cNvGrpSpPr/>
          <p:nvPr/>
        </p:nvGrpSpPr>
        <p:grpSpPr>
          <a:xfrm>
            <a:off x="459510" y="1752591"/>
            <a:ext cx="4709549" cy="576000"/>
            <a:chOff x="472210" y="1752591"/>
            <a:chExt cx="4709549" cy="576000"/>
          </a:xfrm>
        </p:grpSpPr>
        <p:sp>
          <p:nvSpPr>
            <p:cNvPr id="11" name="ZoneTexte 14">
              <a:extLst>
                <a:ext uri="{FF2B5EF4-FFF2-40B4-BE49-F238E27FC236}">
                  <a16:creationId xmlns:a16="http://schemas.microsoft.com/office/drawing/2014/main" id="{A67CCDE2-AD76-403A-9B6E-30614387444A}"/>
                </a:ext>
              </a:extLst>
            </p:cNvPr>
            <p:cNvSpPr txBox="1"/>
            <p:nvPr/>
          </p:nvSpPr>
          <p:spPr>
            <a:xfrm>
              <a:off x="1062147" y="1858535"/>
              <a:ext cx="4119612" cy="369332"/>
            </a:xfrm>
            <a:prstGeom prst="rect">
              <a:avLst/>
            </a:prstGeom>
            <a:solidFill>
              <a:schemeClr val="bg1"/>
            </a:solidFill>
          </p:spPr>
          <p:txBody>
            <a:bodyPr wrap="square" rtlCol="0">
              <a:spAutoFit/>
            </a:bodyPr>
            <a:lstStyle/>
            <a:p>
              <a:r>
                <a:rPr lang="fr-FR" b="1">
                  <a:solidFill>
                    <a:srgbClr val="DF2680"/>
                  </a:solidFill>
                </a:rPr>
                <a:t>Activation du compte</a:t>
              </a:r>
            </a:p>
          </p:txBody>
        </p:sp>
        <p:sp>
          <p:nvSpPr>
            <p:cNvPr id="12" name="Rectangle: Rounded Corners 11">
              <a:extLst>
                <a:ext uri="{FF2B5EF4-FFF2-40B4-BE49-F238E27FC236}">
                  <a16:creationId xmlns:a16="http://schemas.microsoft.com/office/drawing/2014/main" id="{304998B9-039B-4BF9-9CCF-F7C37F7A8C04}"/>
                </a:ext>
              </a:extLst>
            </p:cNvPr>
            <p:cNvSpPr>
              <a:spLocks noChangeAspect="1"/>
            </p:cNvSpPr>
            <p:nvPr/>
          </p:nvSpPr>
          <p:spPr>
            <a:xfrm>
              <a:off x="472210" y="1752591"/>
              <a:ext cx="524348" cy="576000"/>
            </a:xfrm>
            <a:prstGeom prst="roundRect">
              <a:avLst/>
            </a:prstGeom>
            <a:solidFill>
              <a:srgbClr val="DF2680">
                <a:alpha val="10000"/>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fr-FR"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3" name="ZoneTexte 14">
              <a:extLst>
                <a:ext uri="{FF2B5EF4-FFF2-40B4-BE49-F238E27FC236}">
                  <a16:creationId xmlns:a16="http://schemas.microsoft.com/office/drawing/2014/main" id="{3A244728-9515-40AF-BC3D-B9DE133AE77D}"/>
                </a:ext>
              </a:extLst>
            </p:cNvPr>
            <p:cNvSpPr txBox="1"/>
            <p:nvPr/>
          </p:nvSpPr>
          <p:spPr>
            <a:xfrm>
              <a:off x="539480" y="1766203"/>
              <a:ext cx="422580" cy="523220"/>
            </a:xfrm>
            <a:prstGeom prst="rect">
              <a:avLst/>
            </a:prstGeom>
            <a:noFill/>
          </p:spPr>
          <p:txBody>
            <a:bodyPr wrap="square" rtlCol="0">
              <a:spAutoFit/>
            </a:bodyPr>
            <a:lstStyle/>
            <a:p>
              <a:r>
                <a:rPr lang="fr-FR" sz="2800" b="1">
                  <a:solidFill>
                    <a:srgbClr val="DF2680"/>
                  </a:solidFill>
                </a:rPr>
                <a:t>2</a:t>
              </a:r>
            </a:p>
          </p:txBody>
        </p:sp>
      </p:grpSp>
      <p:pic>
        <p:nvPicPr>
          <p:cNvPr id="15" name="Picture 2">
            <a:extLst>
              <a:ext uri="{FF2B5EF4-FFF2-40B4-BE49-F238E27FC236}">
                <a16:creationId xmlns:a16="http://schemas.microsoft.com/office/drawing/2014/main" id="{03E7ADAE-4850-442E-829B-F380513301CA}"/>
              </a:ext>
            </a:extLst>
          </p:cNvPr>
          <p:cNvPicPr>
            <a:picLocks noChangeAspect="1"/>
          </p:cNvPicPr>
          <p:nvPr/>
        </p:nvPicPr>
        <p:blipFill rotWithShape="1">
          <a:blip r:embed="rId2"/>
          <a:srcRect t="207" b="6675"/>
          <a:stretch/>
        </p:blipFill>
        <p:spPr>
          <a:xfrm>
            <a:off x="5288379" y="1988500"/>
            <a:ext cx="6719605" cy="4248000"/>
          </a:xfrm>
          <a:prstGeom prst="rect">
            <a:avLst/>
          </a:prstGeom>
          <a:ln>
            <a:noFill/>
          </a:ln>
          <a:effectLst>
            <a:outerShdw blurRad="292100" dist="139700" dir="2700000" algn="tl" rotWithShape="0">
              <a:srgbClr val="333333">
                <a:alpha val="65000"/>
              </a:srgbClr>
            </a:outerShdw>
          </a:effectLst>
        </p:spPr>
      </p:pic>
      <p:sp>
        <p:nvSpPr>
          <p:cNvPr id="5" name="Rectangle 4"/>
          <p:cNvSpPr/>
          <p:nvPr/>
        </p:nvSpPr>
        <p:spPr>
          <a:xfrm>
            <a:off x="5463540" y="5656217"/>
            <a:ext cx="693638" cy="444137"/>
          </a:xfrm>
          <a:prstGeom prst="rect">
            <a:avLst/>
          </a:prstGeom>
          <a:solidFill>
            <a:schemeClr val="bg1"/>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fr-FR"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3852314517"/>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2C4EF90-470B-4068-8CD3-C3C878D769E1}"/>
              </a:ext>
            </a:extLst>
          </p:cNvPr>
          <p:cNvSpPr>
            <a:spLocks noGrp="1"/>
          </p:cNvSpPr>
          <p:nvPr>
            <p:ph type="sldNum" sz="quarter" idx="2"/>
          </p:nvPr>
        </p:nvSpPr>
        <p:spPr/>
        <p:txBody>
          <a:bodyPr/>
          <a:lstStyle/>
          <a:p>
            <a:fld id="{86CB4B4D-7CA3-9044-876B-883B54F8677D}" type="slidenum">
              <a:rPr lang="fr-FR" smtClean="0"/>
              <a:t>12</a:t>
            </a:fld>
            <a:endParaRPr lang="fr-FR" dirty="0"/>
          </a:p>
        </p:txBody>
      </p:sp>
      <p:sp>
        <p:nvSpPr>
          <p:cNvPr id="4" name="Title 3">
            <a:extLst>
              <a:ext uri="{FF2B5EF4-FFF2-40B4-BE49-F238E27FC236}">
                <a16:creationId xmlns:a16="http://schemas.microsoft.com/office/drawing/2014/main" id="{EB0D13D4-CD7B-44F0-B672-40B2D8C17F5A}"/>
              </a:ext>
            </a:extLst>
          </p:cNvPr>
          <p:cNvSpPr>
            <a:spLocks noGrp="1"/>
          </p:cNvSpPr>
          <p:nvPr>
            <p:ph type="title"/>
          </p:nvPr>
        </p:nvSpPr>
        <p:spPr>
          <a:xfrm>
            <a:off x="2313518" y="16625"/>
            <a:ext cx="9306964" cy="1133342"/>
          </a:xfrm>
        </p:spPr>
        <p:txBody>
          <a:bodyPr>
            <a:normAutofit/>
          </a:bodyPr>
          <a:lstStyle/>
          <a:p>
            <a:r>
              <a:rPr lang="fr-FR" kern="1200">
                <a:latin typeface="Arial"/>
                <a:cs typeface="Arial"/>
              </a:rPr>
              <a:t>Que se passe-t-il </a:t>
            </a:r>
            <a:br>
              <a:rPr lang="fr-FR" kern="1200">
                <a:latin typeface="Arial" panose="020B0604020202020204" pitchFamily="34" charset="0"/>
                <a:cs typeface="Arial" panose="020B0604020202020204" pitchFamily="34" charset="0"/>
              </a:rPr>
            </a:br>
            <a:r>
              <a:rPr lang="fr-FR" kern="1200">
                <a:latin typeface="Arial"/>
                <a:cs typeface="Arial"/>
              </a:rPr>
              <a:t>quand Mon espace santé est activé ?</a:t>
            </a:r>
          </a:p>
        </p:txBody>
      </p:sp>
      <p:sp>
        <p:nvSpPr>
          <p:cNvPr id="5" name="Rectangle 4"/>
          <p:cNvSpPr/>
          <p:nvPr/>
        </p:nvSpPr>
        <p:spPr>
          <a:xfrm>
            <a:off x="5463540" y="5656217"/>
            <a:ext cx="693638" cy="444137"/>
          </a:xfrm>
          <a:prstGeom prst="rect">
            <a:avLst/>
          </a:prstGeom>
          <a:solidFill>
            <a:schemeClr val="bg1"/>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fr-FR"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6" name="Titre 3"/>
          <p:cNvSpPr txBox="1">
            <a:spLocks/>
          </p:cNvSpPr>
          <p:nvPr/>
        </p:nvSpPr>
        <p:spPr>
          <a:xfrm>
            <a:off x="3442403" y="1713281"/>
            <a:ext cx="6266062" cy="23241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b">
            <a:normAutofit/>
          </a:bodyPr>
          <a:lstStyle>
            <a:lvl1pPr marL="0" marR="0" indent="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1pPr>
            <a:lvl2pPr marL="0" marR="0" indent="2286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2pPr>
            <a:lvl3pPr marL="0" marR="0" indent="4572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3pPr>
            <a:lvl4pPr marL="0" marR="0" indent="6858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4pPr>
            <a:lvl5pPr marL="0" marR="0" indent="9144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5pPr>
            <a:lvl6pPr marL="0" marR="0" indent="11430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6pPr>
            <a:lvl7pPr marL="0" marR="0" indent="13716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7pPr>
            <a:lvl8pPr marL="0" marR="0" indent="16002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8pPr>
            <a:lvl9pPr marL="0" marR="0" indent="18288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9pPr>
          </a:lstStyle>
          <a:p>
            <a:r>
              <a:rPr lang="fr-FR" kern="0"/>
              <a:t>Une fois que L’Usager a activé MON ESPACE SANTé</a:t>
            </a:r>
          </a:p>
        </p:txBody>
      </p:sp>
      <p:pic>
        <p:nvPicPr>
          <p:cNvPr id="17" name="Picture 9">
            <a:extLst>
              <a:ext uri="{FF2B5EF4-FFF2-40B4-BE49-F238E27FC236}">
                <a16:creationId xmlns:a16="http://schemas.microsoft.com/office/drawing/2014/main" id="{ECF48B93-2F50-4037-93D3-23DEA6F739A9}"/>
              </a:ext>
            </a:extLst>
          </p:cNvPr>
          <p:cNvPicPr>
            <a:picLocks noChangeAspect="1"/>
          </p:cNvPicPr>
          <p:nvPr/>
        </p:nvPicPr>
        <p:blipFill>
          <a:blip r:embed="rId2"/>
          <a:stretch>
            <a:fillRect/>
          </a:stretch>
        </p:blipFill>
        <p:spPr>
          <a:xfrm>
            <a:off x="170791" y="1862890"/>
            <a:ext cx="5986387" cy="4045972"/>
          </a:xfrm>
          <a:prstGeom prst="rect">
            <a:avLst/>
          </a:prstGeom>
        </p:spPr>
      </p:pic>
      <p:sp>
        <p:nvSpPr>
          <p:cNvPr id="19" name="ZoneTexte 1">
            <a:extLst>
              <a:ext uri="{FF2B5EF4-FFF2-40B4-BE49-F238E27FC236}">
                <a16:creationId xmlns:a16="http://schemas.microsoft.com/office/drawing/2014/main" id="{760CEF21-562C-4E7C-8E7F-BF26010F4998}"/>
              </a:ext>
            </a:extLst>
          </p:cNvPr>
          <p:cNvSpPr txBox="1"/>
          <p:nvPr/>
        </p:nvSpPr>
        <p:spPr>
          <a:xfrm>
            <a:off x="172928" y="5923150"/>
            <a:ext cx="9207657" cy="276999"/>
          </a:xfrm>
          <a:prstGeom prst="rect">
            <a:avLst/>
          </a:prstGeom>
          <a:solidFill>
            <a:schemeClr val="bg1"/>
          </a:solidFill>
          <a:ln>
            <a:noFill/>
          </a:ln>
        </p:spPr>
        <p:txBody>
          <a:bodyPr wrap="square" rtlCol="0">
            <a:spAutoFit/>
          </a:bodyPr>
          <a:lstStyle>
            <a:defPPr>
              <a:defRPr lang="fr-FR"/>
            </a:defPPr>
            <a:lvl1pPr>
              <a:defRPr sz="2200" b="1">
                <a:solidFill>
                  <a:schemeClr val="bg1"/>
                </a:solidFill>
                <a:latin typeface="Arial" panose="020B0604020202020204" pitchFamily="34" charset="0"/>
              </a:defRPr>
            </a:lvl1pPr>
          </a:lstStyle>
          <a:p>
            <a:r>
              <a:rPr lang="fr-FR" sz="1200" b="0" i="1" dirty="0">
                <a:solidFill>
                  <a:schemeClr val="tx1">
                    <a:lumMod val="50000"/>
                  </a:schemeClr>
                </a:solidFill>
                <a:latin typeface="+mj-lt"/>
              </a:rPr>
              <a:t>* L’usager recevra une notification sur l’adresse mail renseignée dans Mon espace santé</a:t>
            </a:r>
          </a:p>
        </p:txBody>
      </p:sp>
      <p:sp>
        <p:nvSpPr>
          <p:cNvPr id="20" name="Rectangle 19">
            <a:extLst>
              <a:ext uri="{FF2B5EF4-FFF2-40B4-BE49-F238E27FC236}">
                <a16:creationId xmlns:a16="http://schemas.microsoft.com/office/drawing/2014/main" id="{0F2855BC-DE3B-4725-B7D7-67197F8762F8}"/>
              </a:ext>
            </a:extLst>
          </p:cNvPr>
          <p:cNvSpPr/>
          <p:nvPr/>
        </p:nvSpPr>
        <p:spPr>
          <a:xfrm>
            <a:off x="5842093" y="1814512"/>
            <a:ext cx="5851247" cy="4012455"/>
          </a:xfrm>
          <a:prstGeom prst="rect">
            <a:avLst/>
          </a:prstGeom>
          <a:solidFill>
            <a:srgbClr val="FEFA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21" name="ZoneTexte 1">
            <a:extLst>
              <a:ext uri="{FF2B5EF4-FFF2-40B4-BE49-F238E27FC236}">
                <a16:creationId xmlns:a16="http://schemas.microsoft.com/office/drawing/2014/main" id="{8DEBCB63-288A-4532-9BC2-C3D09956866A}"/>
              </a:ext>
            </a:extLst>
          </p:cNvPr>
          <p:cNvSpPr txBox="1"/>
          <p:nvPr/>
        </p:nvSpPr>
        <p:spPr>
          <a:xfrm>
            <a:off x="6581775" y="2090119"/>
            <a:ext cx="5111565" cy="3539430"/>
          </a:xfrm>
          <a:prstGeom prst="rect">
            <a:avLst/>
          </a:prstGeom>
          <a:noFill/>
          <a:ln>
            <a:noFill/>
          </a:ln>
        </p:spPr>
        <p:txBody>
          <a:bodyPr wrap="square" rtlCol="0">
            <a:spAutoFit/>
          </a:bodyPr>
          <a:lstStyle>
            <a:defPPr>
              <a:defRPr lang="fr-FR"/>
            </a:defPPr>
            <a:lvl1pPr>
              <a:defRPr sz="2200" b="1">
                <a:solidFill>
                  <a:schemeClr val="bg1"/>
                </a:solidFill>
                <a:latin typeface="Arial" panose="020B0604020202020204" pitchFamily="34" charset="0"/>
              </a:defRPr>
            </a:lvl1pPr>
          </a:lstStyle>
          <a:p>
            <a:r>
              <a:rPr lang="fr-FR" sz="1600" b="0" dirty="0">
                <a:solidFill>
                  <a:schemeClr val="tx1">
                    <a:lumMod val="50000"/>
                  </a:schemeClr>
                </a:solidFill>
                <a:latin typeface="+mj-lt"/>
              </a:rPr>
              <a:t>L’usager va pouvoir compléter son profil médical</a:t>
            </a:r>
          </a:p>
          <a:p>
            <a:endParaRPr lang="fr-FR" sz="1600" b="0" dirty="0">
              <a:solidFill>
                <a:schemeClr val="tx1">
                  <a:lumMod val="50000"/>
                </a:schemeClr>
              </a:solidFill>
              <a:latin typeface="+mj-lt"/>
            </a:endParaRPr>
          </a:p>
          <a:p>
            <a:r>
              <a:rPr lang="fr-FR" sz="1600" b="0" dirty="0">
                <a:solidFill>
                  <a:schemeClr val="tx1">
                    <a:lumMod val="50000"/>
                  </a:schemeClr>
                </a:solidFill>
                <a:latin typeface="+mj-lt"/>
              </a:rPr>
              <a:t>L’usager va recevoir des messages de ses professionnels de santé* et pouvoir y répondre </a:t>
            </a:r>
          </a:p>
          <a:p>
            <a:endParaRPr lang="fr-FR" sz="1600" b="0" dirty="0">
              <a:solidFill>
                <a:schemeClr val="tx1">
                  <a:lumMod val="50000"/>
                </a:schemeClr>
              </a:solidFill>
              <a:latin typeface="+mj-lt"/>
            </a:endParaRPr>
          </a:p>
          <a:p>
            <a:r>
              <a:rPr lang="fr-FR" sz="1600" b="0" dirty="0">
                <a:solidFill>
                  <a:schemeClr val="tx1">
                    <a:lumMod val="50000"/>
                  </a:schemeClr>
                </a:solidFill>
                <a:latin typeface="+mj-lt"/>
              </a:rPr>
              <a:t>L’usager va pouvoir ajouter des documents</a:t>
            </a:r>
          </a:p>
          <a:p>
            <a:endParaRPr lang="fr-FR" sz="1600" b="0" dirty="0">
              <a:solidFill>
                <a:schemeClr val="tx1">
                  <a:lumMod val="50000"/>
                </a:schemeClr>
              </a:solidFill>
              <a:latin typeface="+mj-lt"/>
            </a:endParaRPr>
          </a:p>
          <a:p>
            <a:r>
              <a:rPr lang="fr-FR" sz="1600" b="0" dirty="0">
                <a:solidFill>
                  <a:schemeClr val="tx1">
                    <a:lumMod val="50000"/>
                  </a:schemeClr>
                </a:solidFill>
                <a:latin typeface="+mj-lt"/>
              </a:rPr>
              <a:t>L’usager va recevoir des documents de ses professionnels de santé et de l’Assurance maladie </a:t>
            </a:r>
          </a:p>
          <a:p>
            <a:endParaRPr lang="fr-FR" sz="1600" b="0" dirty="0">
              <a:solidFill>
                <a:schemeClr val="tx1">
                  <a:lumMod val="50000"/>
                </a:schemeClr>
              </a:solidFill>
              <a:latin typeface="+mj-lt"/>
            </a:endParaRPr>
          </a:p>
          <a:p>
            <a:r>
              <a:rPr lang="fr-FR" sz="1600" b="0" dirty="0">
                <a:solidFill>
                  <a:schemeClr val="tx1">
                    <a:lumMod val="50000"/>
                  </a:schemeClr>
                </a:solidFill>
                <a:latin typeface="+mj-lt"/>
              </a:rPr>
              <a:t>L’usager pourra masquer certains documents aux professionnels de santé, ou bloquer certains professionnels de santé pour leur interdire l’accès à Mon espace santé </a:t>
            </a:r>
          </a:p>
        </p:txBody>
      </p:sp>
      <p:pic>
        <p:nvPicPr>
          <p:cNvPr id="22" name="Picture 2" descr="Medical records free icon">
            <a:extLst>
              <a:ext uri="{FF2B5EF4-FFF2-40B4-BE49-F238E27FC236}">
                <a16:creationId xmlns:a16="http://schemas.microsoft.com/office/drawing/2014/main" id="{A0B4ED88-F91E-4785-9067-D4E661BB19C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56672" y="1999705"/>
            <a:ext cx="509761" cy="50976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Medical record free icon">
            <a:extLst>
              <a:ext uri="{FF2B5EF4-FFF2-40B4-BE49-F238E27FC236}">
                <a16:creationId xmlns:a16="http://schemas.microsoft.com/office/drawing/2014/main" id="{C08662EF-B498-4589-A9D3-79D4DBA444F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5075" y="3860515"/>
            <a:ext cx="412954" cy="41295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Health check free icon">
            <a:extLst>
              <a:ext uri="{FF2B5EF4-FFF2-40B4-BE49-F238E27FC236}">
                <a16:creationId xmlns:a16="http://schemas.microsoft.com/office/drawing/2014/main" id="{B8C3B3E6-1922-4C30-8A83-5A032A16FB2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05075" y="3291347"/>
            <a:ext cx="412954" cy="41295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descr="Send message free icon">
            <a:extLst>
              <a:ext uri="{FF2B5EF4-FFF2-40B4-BE49-F238E27FC236}">
                <a16:creationId xmlns:a16="http://schemas.microsoft.com/office/drawing/2014/main" id="{9942E293-15DA-4F59-AE15-4FDC1888DBC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17283" y="2701194"/>
            <a:ext cx="412955" cy="41295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0" descr="Private free icon">
            <a:hlinkClick r:id="rId7" tooltip="Private"/>
            <a:extLst>
              <a:ext uri="{FF2B5EF4-FFF2-40B4-BE49-F238E27FC236}">
                <a16:creationId xmlns:a16="http://schemas.microsoft.com/office/drawing/2014/main" id="{340F4FCC-8005-45DC-B02C-0F7E686230C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14613" y="4814245"/>
            <a:ext cx="457195" cy="457195"/>
          </a:xfrm>
          <a:prstGeom prst="rect">
            <a:avLst/>
          </a:prstGeom>
          <a:noFill/>
          <a:extLst>
            <a:ext uri="{909E8E84-426E-40DD-AFC4-6F175D3DCCD1}">
              <a14:hiddenFill xmlns:a14="http://schemas.microsoft.com/office/drawing/2010/main">
                <a:solidFill>
                  <a:srgbClr val="FFFFFF"/>
                </a:solidFill>
              </a14:hiddenFill>
            </a:ext>
          </a:extLst>
        </p:spPr>
      </p:pic>
      <p:pic>
        <p:nvPicPr>
          <p:cNvPr id="27" name="Image 2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22332" y="2287837"/>
            <a:ext cx="3888000" cy="2133217"/>
          </a:xfrm>
          <a:prstGeom prst="rect">
            <a:avLst/>
          </a:prstGeom>
        </p:spPr>
      </p:pic>
    </p:spTree>
    <p:extLst>
      <p:ext uri="{BB962C8B-B14F-4D97-AF65-F5344CB8AC3E}">
        <p14:creationId xmlns:p14="http://schemas.microsoft.com/office/powerpoint/2010/main" val="3526274380"/>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a:extLst>
              <a:ext uri="{FF2B5EF4-FFF2-40B4-BE49-F238E27FC236}">
                <a16:creationId xmlns:a16="http://schemas.microsoft.com/office/drawing/2014/main" id="{9F396323-7A89-7442-94E9-7DF91CA2A4B3}"/>
              </a:ext>
            </a:extLst>
          </p:cNvPr>
          <p:cNvSpPr>
            <a:spLocks noGrp="1"/>
          </p:cNvSpPr>
          <p:nvPr>
            <p:ph type="title"/>
          </p:nvPr>
        </p:nvSpPr>
        <p:spPr>
          <a:xfrm>
            <a:off x="3404302" y="2705100"/>
            <a:ext cx="8617122" cy="2324100"/>
          </a:xfrm>
        </p:spPr>
        <p:txBody>
          <a:bodyPr/>
          <a:lstStyle/>
          <a:p>
            <a:r>
              <a:rPr lang="fr-FR" dirty="0"/>
              <a:t>Les fonctionnalités de Mon espace santé </a:t>
            </a:r>
            <a:br>
              <a:rPr lang="fr-FR" dirty="0"/>
            </a:br>
            <a:endParaRPr lang="fr-FR" dirty="0"/>
          </a:p>
        </p:txBody>
      </p:sp>
      <p:sp>
        <p:nvSpPr>
          <p:cNvPr id="6" name="1.">
            <a:extLst>
              <a:ext uri="{FF2B5EF4-FFF2-40B4-BE49-F238E27FC236}">
                <a16:creationId xmlns:a16="http://schemas.microsoft.com/office/drawing/2014/main" id="{A022ABC0-7EE1-1E4D-A697-D33BE5E70E50}"/>
              </a:ext>
            </a:extLst>
          </p:cNvPr>
          <p:cNvSpPr txBox="1"/>
          <p:nvPr/>
        </p:nvSpPr>
        <p:spPr>
          <a:xfrm>
            <a:off x="9287728" y="2809674"/>
            <a:ext cx="2483535" cy="20518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nchor="ctr">
            <a:spAutoFit/>
          </a:bodyPr>
          <a:lstStyle>
            <a:lvl1pPr algn="l">
              <a:defRPr sz="20000" cap="all">
                <a:solidFill>
                  <a:srgbClr val="DB3080"/>
                </a:solidFill>
                <a:latin typeface="+mj-lt"/>
                <a:ea typeface="+mj-ea"/>
                <a:cs typeface="+mj-cs"/>
                <a:sym typeface="Arial"/>
              </a:defRPr>
            </a:lvl1pPr>
          </a:lstStyle>
          <a:p>
            <a:endParaRPr sz="13000" spc="-300"/>
          </a:p>
        </p:txBody>
      </p:sp>
      <p:pic>
        <p:nvPicPr>
          <p:cNvPr id="3" name="Image 2">
            <a:extLst>
              <a:ext uri="{FF2B5EF4-FFF2-40B4-BE49-F238E27FC236}">
                <a16:creationId xmlns:a16="http://schemas.microsoft.com/office/drawing/2014/main" id="{CD3BF9B3-4C28-3948-3E04-EC34223E2E9A}"/>
              </a:ext>
            </a:extLst>
          </p:cNvPr>
          <p:cNvPicPr>
            <a:picLocks noChangeAspect="1"/>
          </p:cNvPicPr>
          <p:nvPr/>
        </p:nvPicPr>
        <p:blipFill>
          <a:blip r:embed="rId2"/>
          <a:stretch>
            <a:fillRect/>
          </a:stretch>
        </p:blipFill>
        <p:spPr>
          <a:xfrm>
            <a:off x="8743308" y="913331"/>
            <a:ext cx="2085655" cy="1934719"/>
          </a:xfrm>
          <a:prstGeom prst="rect">
            <a:avLst/>
          </a:prstGeom>
        </p:spPr>
      </p:pic>
    </p:spTree>
    <p:extLst>
      <p:ext uri="{BB962C8B-B14F-4D97-AF65-F5344CB8AC3E}">
        <p14:creationId xmlns:p14="http://schemas.microsoft.com/office/powerpoint/2010/main" val="1491409853"/>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074051AE-3FB0-42A0-9E67-BC4161D45144}"/>
              </a:ext>
            </a:extLst>
          </p:cNvPr>
          <p:cNvSpPr>
            <a:spLocks noGrp="1"/>
          </p:cNvSpPr>
          <p:nvPr>
            <p:ph type="title"/>
          </p:nvPr>
        </p:nvSpPr>
        <p:spPr/>
        <p:txBody>
          <a:bodyPr>
            <a:normAutofit/>
          </a:bodyPr>
          <a:lstStyle/>
          <a:p>
            <a:r>
              <a:rPr lang="fr-FR" sz="3500" b="1" spc="-70" dirty="0">
                <a:solidFill>
                  <a:srgbClr val="005C9B"/>
                </a:solidFill>
                <a:latin typeface="Arial" panose="020B0604020202020204" pitchFamily="34" charset="0"/>
                <a:cs typeface="Arial" panose="020B0604020202020204" pitchFamily="34" charset="0"/>
              </a:rPr>
              <a:t>La page d’accueil</a:t>
            </a:r>
          </a:p>
        </p:txBody>
      </p:sp>
      <p:sp>
        <p:nvSpPr>
          <p:cNvPr id="7" name="TextBox 37">
            <a:extLst>
              <a:ext uri="{FF2B5EF4-FFF2-40B4-BE49-F238E27FC236}">
                <a16:creationId xmlns:a16="http://schemas.microsoft.com/office/drawing/2014/main" id="{D6EC2D1A-1163-433F-BC38-12B5516E0D2C}"/>
              </a:ext>
            </a:extLst>
          </p:cNvPr>
          <p:cNvSpPr txBox="1"/>
          <p:nvPr/>
        </p:nvSpPr>
        <p:spPr>
          <a:xfrm>
            <a:off x="431160" y="1670341"/>
            <a:ext cx="5712950" cy="3939540"/>
          </a:xfrm>
          <a:prstGeom prst="rect">
            <a:avLst/>
          </a:prstGeom>
          <a:noFill/>
        </p:spPr>
        <p:txBody>
          <a:bodyPr wrap="square" rtlCol="0">
            <a:spAutoFit/>
          </a:bodyPr>
          <a:lstStyle/>
          <a:p>
            <a:pPr marL="0" marR="0" lvl="0" indent="0" algn="just" defTabSz="914400" rtl="0" eaLnBrk="0" fontAlgn="base" latinLnBrk="0" hangingPunct="0">
              <a:lnSpc>
                <a:spcPct val="100000"/>
              </a:lnSpc>
              <a:spcBef>
                <a:spcPct val="0"/>
              </a:spcBef>
              <a:spcAft>
                <a:spcPts val="1200"/>
              </a:spcAft>
              <a:buClrTx/>
              <a:buSzTx/>
              <a:buFontTx/>
              <a:buNone/>
              <a:tabLst/>
              <a:defRPr/>
            </a:pPr>
            <a:r>
              <a:rPr lang="fr-FR" sz="2000" dirty="0">
                <a:solidFill>
                  <a:srgbClr val="545859"/>
                </a:solidFill>
                <a:latin typeface="Arial" panose="020B0604020202020204"/>
                <a:cs typeface="Arial" panose="020B0604020202020204" pitchFamily="34" charset="0"/>
              </a:rPr>
              <a:t>Sur la page d’accueil je peux retrouver : </a:t>
            </a:r>
          </a:p>
          <a:p>
            <a:pPr marL="285750" marR="0" lvl="0" indent="-285750" algn="just"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FR" sz="2000" b="1" i="0" u="none" strike="noStrike" kern="1200" cap="none" spc="0" normalizeH="0" baseline="0" noProof="0" dirty="0">
                <a:ln>
                  <a:noFill/>
                </a:ln>
                <a:solidFill>
                  <a:srgbClr val="007FAD"/>
                </a:solidFill>
                <a:effectLst/>
                <a:uLnTx/>
                <a:uFillTx/>
                <a:latin typeface="Arial" panose="020B0604020202020204"/>
                <a:ea typeface="+mn-ea"/>
                <a:cs typeface="Arial" panose="020B0604020202020204" pitchFamily="34" charset="0"/>
              </a:rPr>
              <a:t>Mon profil médical : </a:t>
            </a:r>
            <a:r>
              <a:rPr lang="fr-FR" sz="2000" dirty="0">
                <a:solidFill>
                  <a:srgbClr val="545859"/>
                </a:solidFill>
                <a:latin typeface="Arial" panose="020B0604020202020204"/>
                <a:cs typeface="Arial" panose="020B0604020202020204" pitchFamily="34" charset="0"/>
              </a:rPr>
              <a:t>suivi médical, facteurs de risques, vaccinations, mesures, bilan de prévention, mes professionnels de santé, mon entourage et mes volontés</a:t>
            </a:r>
          </a:p>
          <a:p>
            <a:pPr marL="285750" marR="0" lvl="0" indent="-285750" algn="just"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fr-FR" sz="2000" b="1" dirty="0">
                <a:solidFill>
                  <a:srgbClr val="007FAD"/>
                </a:solidFill>
                <a:latin typeface="Arial" panose="020B0604020202020204"/>
                <a:cs typeface="Arial" panose="020B0604020202020204" pitchFamily="34" charset="0"/>
              </a:rPr>
              <a:t>Mon actu santé : </a:t>
            </a:r>
            <a:r>
              <a:rPr lang="fr-FR" sz="2000" dirty="0">
                <a:solidFill>
                  <a:srgbClr val="545859"/>
                </a:solidFill>
                <a:latin typeface="Arial" panose="020B0604020202020204"/>
                <a:cs typeface="Arial" panose="020B0604020202020204" pitchFamily="34" charset="0"/>
              </a:rPr>
              <a:t>examens à venir et infos de l’assurance maladie</a:t>
            </a:r>
          </a:p>
          <a:p>
            <a:pPr marL="285750" marR="0" lvl="0" indent="-285750" algn="just"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FR" sz="2000" b="1" i="0" u="none" strike="noStrike" kern="1200" cap="none" spc="0" normalizeH="0" baseline="0" noProof="0" dirty="0">
                <a:ln>
                  <a:noFill/>
                </a:ln>
                <a:solidFill>
                  <a:srgbClr val="007FAD"/>
                </a:solidFill>
                <a:effectLst/>
                <a:uLnTx/>
                <a:uFillTx/>
                <a:latin typeface="Arial" panose="020B0604020202020204"/>
                <a:ea typeface="+mn-ea"/>
                <a:cs typeface="Arial" panose="020B0604020202020204" pitchFamily="34" charset="0"/>
              </a:rPr>
              <a:t>Mon histoire de santé : </a:t>
            </a:r>
            <a:r>
              <a:rPr lang="fr-FR" sz="2000" dirty="0">
                <a:solidFill>
                  <a:srgbClr val="545859"/>
                </a:solidFill>
                <a:latin typeface="Arial" panose="020B0604020202020204"/>
                <a:cs typeface="Arial" panose="020B0604020202020204" pitchFamily="34" charset="0"/>
              </a:rPr>
              <a:t>derniers éléments</a:t>
            </a:r>
          </a:p>
          <a:p>
            <a:pPr marL="285750" marR="0" lvl="0" indent="-285750" algn="just"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fr-FR" sz="2000" b="1" dirty="0">
                <a:solidFill>
                  <a:srgbClr val="007FAD"/>
                </a:solidFill>
                <a:latin typeface="Arial" panose="020B0604020202020204"/>
                <a:cs typeface="Arial" panose="020B0604020202020204" pitchFamily="34" charset="0"/>
              </a:rPr>
              <a:t>Mes documents de santé : </a:t>
            </a:r>
            <a:r>
              <a:rPr lang="fr-FR" sz="2000" dirty="0">
                <a:solidFill>
                  <a:srgbClr val="545859"/>
                </a:solidFill>
                <a:latin typeface="Arial" panose="020B0604020202020204"/>
                <a:cs typeface="Arial" panose="020B0604020202020204" pitchFamily="34" charset="0"/>
              </a:rPr>
              <a:t>derniers documents ajoutés</a:t>
            </a:r>
          </a:p>
          <a:p>
            <a:pPr marL="285750" marR="0" lvl="0" indent="-285750" algn="just"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FR" sz="2000" b="1" i="0" u="none" strike="noStrike" kern="1200" cap="none" spc="0" normalizeH="0" baseline="0" noProof="0" dirty="0">
                <a:ln>
                  <a:noFill/>
                </a:ln>
                <a:solidFill>
                  <a:srgbClr val="007FAD"/>
                </a:solidFill>
                <a:effectLst/>
                <a:uLnTx/>
                <a:uFillTx/>
                <a:latin typeface="Arial" panose="020B0604020202020204"/>
                <a:ea typeface="+mn-ea"/>
                <a:cs typeface="Arial" panose="020B0604020202020204" pitchFamily="34" charset="0"/>
              </a:rPr>
              <a:t>Des informations pratiques : </a:t>
            </a:r>
            <a:r>
              <a:rPr lang="fr-FR" sz="2000" dirty="0">
                <a:solidFill>
                  <a:srgbClr val="545859"/>
                </a:solidFill>
                <a:latin typeface="Arial" panose="020B0604020202020204"/>
                <a:cs typeface="Arial" panose="020B0604020202020204" pitchFamily="34" charset="0"/>
              </a:rPr>
              <a:t>dépistages, informations pathologies et conduite à tenir</a:t>
            </a:r>
          </a:p>
        </p:txBody>
      </p:sp>
      <p:pic>
        <p:nvPicPr>
          <p:cNvPr id="4" name="Image 3">
            <a:extLst>
              <a:ext uri="{FF2B5EF4-FFF2-40B4-BE49-F238E27FC236}">
                <a16:creationId xmlns:a16="http://schemas.microsoft.com/office/drawing/2014/main" id="{CD31B591-2A4B-0F5F-BB6A-E3832E9E1DB4}"/>
              </a:ext>
            </a:extLst>
          </p:cNvPr>
          <p:cNvPicPr>
            <a:picLocks noChangeAspect="1"/>
          </p:cNvPicPr>
          <p:nvPr/>
        </p:nvPicPr>
        <p:blipFill>
          <a:blip r:embed="rId2"/>
          <a:stretch>
            <a:fillRect/>
          </a:stretch>
        </p:blipFill>
        <p:spPr>
          <a:xfrm>
            <a:off x="6144110" y="2225060"/>
            <a:ext cx="5829300" cy="3467100"/>
          </a:xfrm>
          <a:prstGeom prst="rect">
            <a:avLst/>
          </a:prstGeom>
        </p:spPr>
      </p:pic>
      <p:pic>
        <p:nvPicPr>
          <p:cNvPr id="40" name="Image 39">
            <a:extLst>
              <a:ext uri="{FF2B5EF4-FFF2-40B4-BE49-F238E27FC236}">
                <a16:creationId xmlns:a16="http://schemas.microsoft.com/office/drawing/2014/main" id="{990415BD-6812-3D09-4FDC-71F535A92418}"/>
              </a:ext>
            </a:extLst>
          </p:cNvPr>
          <p:cNvPicPr>
            <a:picLocks noChangeAspect="1"/>
          </p:cNvPicPr>
          <p:nvPr/>
        </p:nvPicPr>
        <p:blipFill>
          <a:blip r:embed="rId3"/>
          <a:stretch>
            <a:fillRect/>
          </a:stretch>
        </p:blipFill>
        <p:spPr>
          <a:xfrm>
            <a:off x="207961" y="5473678"/>
            <a:ext cx="707867" cy="724329"/>
          </a:xfrm>
          <a:prstGeom prst="rect">
            <a:avLst/>
          </a:prstGeom>
        </p:spPr>
      </p:pic>
      <p:sp>
        <p:nvSpPr>
          <p:cNvPr id="41" name="ZoneTexte 40">
            <a:extLst>
              <a:ext uri="{FF2B5EF4-FFF2-40B4-BE49-F238E27FC236}">
                <a16:creationId xmlns:a16="http://schemas.microsoft.com/office/drawing/2014/main" id="{365F37B2-D21D-6678-0DA9-6EA3D1E78E70}"/>
              </a:ext>
            </a:extLst>
          </p:cNvPr>
          <p:cNvSpPr txBox="1"/>
          <p:nvPr/>
        </p:nvSpPr>
        <p:spPr>
          <a:xfrm>
            <a:off x="799478" y="5635787"/>
            <a:ext cx="5829300" cy="400110"/>
          </a:xfrm>
          <a:prstGeom prst="rect">
            <a:avLst/>
          </a:prstGeom>
          <a:noFill/>
        </p:spPr>
        <p:txBody>
          <a:bodyPr wrap="square" rtlCol="0">
            <a:spAutoFit/>
          </a:bodyPr>
          <a:lstStyle/>
          <a:p>
            <a:r>
              <a:rPr lang="fr-FR" sz="2000" dirty="0">
                <a:solidFill>
                  <a:srgbClr val="545859"/>
                </a:solidFill>
                <a:latin typeface="Arial" panose="020B0604020202020204"/>
                <a:cs typeface="Arial" panose="020B0604020202020204" pitchFamily="34" charset="0"/>
              </a:rPr>
              <a:t>Des </a:t>
            </a:r>
            <a:r>
              <a:rPr lang="fr-FR" sz="2000" b="1" dirty="0">
                <a:solidFill>
                  <a:srgbClr val="007FAD"/>
                </a:solidFill>
                <a:latin typeface="Arial" panose="020B0604020202020204"/>
                <a:cs typeface="Arial" panose="020B0604020202020204" pitchFamily="34" charset="0"/>
              </a:rPr>
              <a:t>notifications</a:t>
            </a:r>
            <a:r>
              <a:rPr lang="fr-FR" sz="2000" dirty="0">
                <a:solidFill>
                  <a:srgbClr val="545859"/>
                </a:solidFill>
                <a:latin typeface="Arial" panose="020B0604020202020204"/>
                <a:cs typeface="Arial" panose="020B0604020202020204" pitchFamily="34" charset="0"/>
              </a:rPr>
              <a:t> des derniers évènements</a:t>
            </a:r>
          </a:p>
        </p:txBody>
      </p:sp>
    </p:spTree>
    <p:extLst>
      <p:ext uri="{BB962C8B-B14F-4D97-AF65-F5344CB8AC3E}">
        <p14:creationId xmlns:p14="http://schemas.microsoft.com/office/powerpoint/2010/main" val="4192036477"/>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BB07D2A-9384-4309-AF3C-28D05BFAEE13}"/>
              </a:ext>
            </a:extLst>
          </p:cNvPr>
          <p:cNvSpPr>
            <a:spLocks noGrp="1"/>
          </p:cNvSpPr>
          <p:nvPr>
            <p:ph type="title"/>
          </p:nvPr>
        </p:nvSpPr>
        <p:spPr/>
        <p:txBody>
          <a:bodyPr>
            <a:normAutofit/>
          </a:bodyPr>
          <a:lstStyle/>
          <a:p>
            <a:r>
              <a:rPr lang="fr-FR" sz="3500" b="1" spc="-70" dirty="0">
                <a:solidFill>
                  <a:srgbClr val="005C9B"/>
                </a:solidFill>
                <a:latin typeface="Arial" panose="020B0604020202020204" pitchFamily="34" charset="0"/>
                <a:cs typeface="Arial" panose="020B0604020202020204" pitchFamily="34" charset="0"/>
              </a:rPr>
              <a:t>Paramètres</a:t>
            </a:r>
          </a:p>
        </p:txBody>
      </p:sp>
      <p:sp>
        <p:nvSpPr>
          <p:cNvPr id="11" name="ZoneTexte 10">
            <a:extLst>
              <a:ext uri="{FF2B5EF4-FFF2-40B4-BE49-F238E27FC236}">
                <a16:creationId xmlns:a16="http://schemas.microsoft.com/office/drawing/2014/main" id="{916C9895-ABEF-49C0-B4F2-85F775798CBF}"/>
              </a:ext>
            </a:extLst>
          </p:cNvPr>
          <p:cNvSpPr txBox="1"/>
          <p:nvPr/>
        </p:nvSpPr>
        <p:spPr>
          <a:xfrm>
            <a:off x="5127413" y="2163429"/>
            <a:ext cx="6741674" cy="369332"/>
          </a:xfrm>
          <a:prstGeom prst="rect">
            <a:avLst/>
          </a:prstGeom>
          <a:noFill/>
        </p:spPr>
        <p:txBody>
          <a:bodyPr wrap="square" rtlCol="0">
            <a:spAutoFit/>
          </a:bodyPr>
          <a:lstStyle/>
          <a:p>
            <a:r>
              <a:rPr lang="fr-FR" dirty="0">
                <a:solidFill>
                  <a:srgbClr val="007FAD"/>
                </a:solidFill>
                <a:latin typeface="Arial" panose="020B0604020202020204"/>
              </a:rPr>
              <a:t>Identifiants, coordonnées de contact, appareils mobiles associés</a:t>
            </a:r>
          </a:p>
        </p:txBody>
      </p:sp>
      <p:pic>
        <p:nvPicPr>
          <p:cNvPr id="4" name="Image 3">
            <a:extLst>
              <a:ext uri="{FF2B5EF4-FFF2-40B4-BE49-F238E27FC236}">
                <a16:creationId xmlns:a16="http://schemas.microsoft.com/office/drawing/2014/main" id="{AB05523D-01D1-F6E3-D2B4-CF232286ABD1}"/>
              </a:ext>
            </a:extLst>
          </p:cNvPr>
          <p:cNvPicPr>
            <a:picLocks noChangeAspect="1"/>
          </p:cNvPicPr>
          <p:nvPr/>
        </p:nvPicPr>
        <p:blipFill>
          <a:blip r:embed="rId2"/>
          <a:stretch>
            <a:fillRect/>
          </a:stretch>
        </p:blipFill>
        <p:spPr>
          <a:xfrm>
            <a:off x="8968322" y="3915555"/>
            <a:ext cx="2055849" cy="2070639"/>
          </a:xfrm>
          <a:prstGeom prst="rect">
            <a:avLst/>
          </a:prstGeom>
        </p:spPr>
      </p:pic>
      <p:pic>
        <p:nvPicPr>
          <p:cNvPr id="6" name="Image 5">
            <a:extLst>
              <a:ext uri="{FF2B5EF4-FFF2-40B4-BE49-F238E27FC236}">
                <a16:creationId xmlns:a16="http://schemas.microsoft.com/office/drawing/2014/main" id="{031D9A01-4E20-62C6-E16E-DA8E67A42C5D}"/>
              </a:ext>
            </a:extLst>
          </p:cNvPr>
          <p:cNvPicPr>
            <a:picLocks noChangeAspect="1"/>
          </p:cNvPicPr>
          <p:nvPr/>
        </p:nvPicPr>
        <p:blipFill>
          <a:blip r:embed="rId3"/>
          <a:stretch>
            <a:fillRect/>
          </a:stretch>
        </p:blipFill>
        <p:spPr>
          <a:xfrm>
            <a:off x="322913" y="1937780"/>
            <a:ext cx="4636000" cy="3955549"/>
          </a:xfrm>
          <a:prstGeom prst="rect">
            <a:avLst/>
          </a:prstGeom>
        </p:spPr>
      </p:pic>
      <p:sp>
        <p:nvSpPr>
          <p:cNvPr id="7" name="ZoneTexte 6">
            <a:extLst>
              <a:ext uri="{FF2B5EF4-FFF2-40B4-BE49-F238E27FC236}">
                <a16:creationId xmlns:a16="http://schemas.microsoft.com/office/drawing/2014/main" id="{63C2AFA6-A120-9860-8BAD-DF8B505F2DAA}"/>
              </a:ext>
            </a:extLst>
          </p:cNvPr>
          <p:cNvSpPr txBox="1"/>
          <p:nvPr/>
        </p:nvSpPr>
        <p:spPr>
          <a:xfrm>
            <a:off x="5127413" y="2854826"/>
            <a:ext cx="6741674" cy="369332"/>
          </a:xfrm>
          <a:prstGeom prst="rect">
            <a:avLst/>
          </a:prstGeom>
          <a:noFill/>
        </p:spPr>
        <p:txBody>
          <a:bodyPr wrap="square" rtlCol="0">
            <a:spAutoFit/>
          </a:bodyPr>
          <a:lstStyle/>
          <a:p>
            <a:r>
              <a:rPr lang="fr-FR" dirty="0">
                <a:solidFill>
                  <a:srgbClr val="007FAD"/>
                </a:solidFill>
                <a:latin typeface="Arial" panose="020B0604020202020204"/>
              </a:rPr>
              <a:t>Accès PS, confidentialité informations, accès d’urgence</a:t>
            </a:r>
          </a:p>
        </p:txBody>
      </p:sp>
      <p:sp>
        <p:nvSpPr>
          <p:cNvPr id="8" name="ZoneTexte 7">
            <a:extLst>
              <a:ext uri="{FF2B5EF4-FFF2-40B4-BE49-F238E27FC236}">
                <a16:creationId xmlns:a16="http://schemas.microsoft.com/office/drawing/2014/main" id="{8EC2E463-1C23-738B-4401-C6B92F8BC4BD}"/>
              </a:ext>
            </a:extLst>
          </p:cNvPr>
          <p:cNvSpPr txBox="1"/>
          <p:nvPr/>
        </p:nvSpPr>
        <p:spPr>
          <a:xfrm>
            <a:off x="5127413" y="3546223"/>
            <a:ext cx="6741674" cy="369332"/>
          </a:xfrm>
          <a:prstGeom prst="rect">
            <a:avLst/>
          </a:prstGeom>
          <a:noFill/>
        </p:spPr>
        <p:txBody>
          <a:bodyPr wrap="square" rtlCol="0">
            <a:spAutoFit/>
          </a:bodyPr>
          <a:lstStyle/>
          <a:p>
            <a:r>
              <a:rPr lang="fr-FR" dirty="0">
                <a:solidFill>
                  <a:srgbClr val="007FAD"/>
                </a:solidFill>
                <a:latin typeface="Arial" panose="020B0604020202020204"/>
              </a:rPr>
              <a:t>Messagerie, documents, examens, vaccinations, dépistages</a:t>
            </a:r>
          </a:p>
        </p:txBody>
      </p:sp>
      <p:sp>
        <p:nvSpPr>
          <p:cNvPr id="13" name="ZoneTexte 12">
            <a:extLst>
              <a:ext uri="{FF2B5EF4-FFF2-40B4-BE49-F238E27FC236}">
                <a16:creationId xmlns:a16="http://schemas.microsoft.com/office/drawing/2014/main" id="{B7B99B7C-2020-67D6-FF78-26CB124A0FB5}"/>
              </a:ext>
            </a:extLst>
          </p:cNvPr>
          <p:cNvSpPr txBox="1"/>
          <p:nvPr/>
        </p:nvSpPr>
        <p:spPr>
          <a:xfrm>
            <a:off x="5127413" y="4237620"/>
            <a:ext cx="6741674" cy="369332"/>
          </a:xfrm>
          <a:prstGeom prst="rect">
            <a:avLst/>
          </a:prstGeom>
          <a:noFill/>
        </p:spPr>
        <p:txBody>
          <a:bodyPr wrap="square" rtlCol="0">
            <a:spAutoFit/>
          </a:bodyPr>
          <a:lstStyle/>
          <a:p>
            <a:r>
              <a:rPr lang="fr-FR" dirty="0">
                <a:solidFill>
                  <a:srgbClr val="007FAD"/>
                </a:solidFill>
                <a:latin typeface="Arial" panose="020B0604020202020204"/>
              </a:rPr>
              <a:t>Historique et téléchargement</a:t>
            </a:r>
          </a:p>
        </p:txBody>
      </p:sp>
      <p:sp>
        <p:nvSpPr>
          <p:cNvPr id="14" name="ZoneTexte 13">
            <a:extLst>
              <a:ext uri="{FF2B5EF4-FFF2-40B4-BE49-F238E27FC236}">
                <a16:creationId xmlns:a16="http://schemas.microsoft.com/office/drawing/2014/main" id="{540C4AE2-50D5-D8BE-C18B-B51802B48296}"/>
              </a:ext>
            </a:extLst>
          </p:cNvPr>
          <p:cNvSpPr txBox="1"/>
          <p:nvPr/>
        </p:nvSpPr>
        <p:spPr>
          <a:xfrm>
            <a:off x="5127413" y="4944878"/>
            <a:ext cx="6741674" cy="369332"/>
          </a:xfrm>
          <a:prstGeom prst="rect">
            <a:avLst/>
          </a:prstGeom>
          <a:noFill/>
        </p:spPr>
        <p:txBody>
          <a:bodyPr wrap="square" rtlCol="0">
            <a:spAutoFit/>
          </a:bodyPr>
          <a:lstStyle/>
          <a:p>
            <a:r>
              <a:rPr lang="fr-FR" dirty="0">
                <a:solidFill>
                  <a:srgbClr val="007FAD"/>
                </a:solidFill>
                <a:latin typeface="Arial" panose="020B0604020202020204"/>
              </a:rPr>
              <a:t>Clôture et suppression données</a:t>
            </a:r>
          </a:p>
        </p:txBody>
      </p:sp>
    </p:spTree>
    <p:extLst>
      <p:ext uri="{BB962C8B-B14F-4D97-AF65-F5344CB8AC3E}">
        <p14:creationId xmlns:p14="http://schemas.microsoft.com/office/powerpoint/2010/main" val="617872493"/>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2"/>
          </p:nvPr>
        </p:nvSpPr>
        <p:spPr/>
        <p:txBody>
          <a:bodyPr/>
          <a:lstStyle/>
          <a:p>
            <a:fld id="{86CB4B4D-7CA3-9044-876B-883B54F8677D}" type="slidenum">
              <a:rPr lang="fr-FR" smtClean="0"/>
              <a:t>16</a:t>
            </a:fld>
            <a:endParaRPr lang="fr-FR"/>
          </a:p>
        </p:txBody>
      </p:sp>
      <p:sp>
        <p:nvSpPr>
          <p:cNvPr id="4" name="Titre 3"/>
          <p:cNvSpPr>
            <a:spLocks noGrp="1"/>
          </p:cNvSpPr>
          <p:nvPr>
            <p:ph type="title"/>
          </p:nvPr>
        </p:nvSpPr>
        <p:spPr>
          <a:xfrm>
            <a:off x="2313517" y="16625"/>
            <a:ext cx="8793507" cy="1133342"/>
          </a:xfrm>
        </p:spPr>
        <p:txBody>
          <a:bodyPr>
            <a:normAutofit/>
          </a:bodyPr>
          <a:lstStyle/>
          <a:p>
            <a:r>
              <a:rPr lang="fr-FR" sz="3500" b="1" spc="-70">
                <a:solidFill>
                  <a:srgbClr val="005C9B"/>
                </a:solidFill>
                <a:latin typeface="Arial" panose="020B0604020202020204" pitchFamily="34" charset="0"/>
                <a:cs typeface="Arial" panose="020B0604020202020204" pitchFamily="34" charset="0"/>
              </a:rPr>
              <a:t>Les fonctionnalités de Mon espace santé</a:t>
            </a:r>
          </a:p>
        </p:txBody>
      </p:sp>
      <p:sp>
        <p:nvSpPr>
          <p:cNvPr id="28" name="Rectangle 27">
            <a:extLst>
              <a:ext uri="{FF2B5EF4-FFF2-40B4-BE49-F238E27FC236}">
                <a16:creationId xmlns:a16="http://schemas.microsoft.com/office/drawing/2014/main" id="{5A975DAA-5642-4BEE-B609-7FFBA08DB858}"/>
              </a:ext>
            </a:extLst>
          </p:cNvPr>
          <p:cNvSpPr/>
          <p:nvPr/>
        </p:nvSpPr>
        <p:spPr>
          <a:xfrm>
            <a:off x="619668" y="1730413"/>
            <a:ext cx="10028921" cy="379656"/>
          </a:xfrm>
          <a:prstGeom prst="rect">
            <a:avLst/>
          </a:prstGeom>
          <a:noFill/>
        </p:spPr>
        <p:txBody>
          <a:bodyPr wrap="square">
            <a:spAutoFit/>
          </a:bodyPr>
          <a:lstStyle/>
          <a:p>
            <a:pPr marL="0" lvl="1" defTabSz="457189">
              <a:spcBef>
                <a:spcPts val="600"/>
              </a:spcBef>
              <a:buClr>
                <a:srgbClr val="99CC00"/>
              </a:buClr>
              <a:buSzPct val="100000"/>
              <a:defRPr/>
            </a:pPr>
            <a:r>
              <a:rPr lang="fr-FR" sz="1867" b="1" dirty="0">
                <a:solidFill>
                  <a:schemeClr val="tx2"/>
                </a:solidFill>
                <a:latin typeface="Arial" panose="020B0604020202020204"/>
                <a:cs typeface="Arial" panose="020B0604020202020204" pitchFamily="34" charset="0"/>
                <a:sym typeface="Arial"/>
              </a:rPr>
              <a:t>Grâce à Mon espace santé, l’usager aura accès à 5 fonctionnalités majeures :</a:t>
            </a:r>
          </a:p>
        </p:txBody>
      </p:sp>
      <p:grpSp>
        <p:nvGrpSpPr>
          <p:cNvPr id="2" name="Group 1">
            <a:extLst>
              <a:ext uri="{FF2B5EF4-FFF2-40B4-BE49-F238E27FC236}">
                <a16:creationId xmlns:a16="http://schemas.microsoft.com/office/drawing/2014/main" id="{0BCA2924-737D-4CD5-860E-F05CAB87243D}"/>
              </a:ext>
            </a:extLst>
          </p:cNvPr>
          <p:cNvGrpSpPr/>
          <p:nvPr/>
        </p:nvGrpSpPr>
        <p:grpSpPr>
          <a:xfrm>
            <a:off x="3439663" y="2096623"/>
            <a:ext cx="5031606" cy="3731964"/>
            <a:chOff x="3580841" y="2285331"/>
            <a:chExt cx="5031606" cy="3731964"/>
          </a:xfrm>
        </p:grpSpPr>
        <p:graphicFrame>
          <p:nvGraphicFramePr>
            <p:cNvPr id="30" name="Graphique 21">
              <a:extLst>
                <a:ext uri="{FF2B5EF4-FFF2-40B4-BE49-F238E27FC236}">
                  <a16:creationId xmlns:a16="http://schemas.microsoft.com/office/drawing/2014/main" id="{D6765AF6-A6B5-4514-ABF8-669CB803C320}"/>
                </a:ext>
              </a:extLst>
            </p:cNvPr>
            <p:cNvGraphicFramePr/>
            <p:nvPr/>
          </p:nvGraphicFramePr>
          <p:xfrm>
            <a:off x="3580841" y="2285331"/>
            <a:ext cx="5031606" cy="3731964"/>
          </p:xfrm>
          <a:graphic>
            <a:graphicData uri="http://schemas.openxmlformats.org/drawingml/2006/chart">
              <c:chart xmlns:c="http://schemas.openxmlformats.org/drawingml/2006/chart" xmlns:r="http://schemas.openxmlformats.org/officeDocument/2006/relationships" r:id="rId2"/>
            </a:graphicData>
          </a:graphic>
        </p:graphicFrame>
        <p:pic>
          <p:nvPicPr>
            <p:cNvPr id="31" name="Image 26">
              <a:extLst>
                <a:ext uri="{FF2B5EF4-FFF2-40B4-BE49-F238E27FC236}">
                  <a16:creationId xmlns:a16="http://schemas.microsoft.com/office/drawing/2014/main" id="{DF36B7C7-8DAA-4AAE-B28F-0E3303D10387}"/>
                </a:ext>
              </a:extLst>
            </p:cNvPr>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5161269" y="2968031"/>
              <a:ext cx="648000" cy="648000"/>
            </a:xfrm>
            <a:prstGeom prst="rect">
              <a:avLst/>
            </a:prstGeom>
          </p:spPr>
        </p:pic>
        <p:pic>
          <p:nvPicPr>
            <p:cNvPr id="32" name="Image 39">
              <a:extLst>
                <a:ext uri="{FF2B5EF4-FFF2-40B4-BE49-F238E27FC236}">
                  <a16:creationId xmlns:a16="http://schemas.microsoft.com/office/drawing/2014/main" id="{F68843CA-CECD-4EF8-8C47-D3CDD4D528D7}"/>
                </a:ext>
              </a:extLst>
            </p:cNvP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6392652" y="2968031"/>
              <a:ext cx="648000" cy="648000"/>
            </a:xfrm>
            <a:prstGeom prst="rect">
              <a:avLst/>
            </a:prstGeom>
          </p:spPr>
        </p:pic>
        <p:grpSp>
          <p:nvGrpSpPr>
            <p:cNvPr id="33" name="Groupe 40">
              <a:extLst>
                <a:ext uri="{FF2B5EF4-FFF2-40B4-BE49-F238E27FC236}">
                  <a16:creationId xmlns:a16="http://schemas.microsoft.com/office/drawing/2014/main" id="{4B562EA1-4FF1-4EDE-BFCC-ED4B76FDF09F}"/>
                </a:ext>
              </a:extLst>
            </p:cNvPr>
            <p:cNvGrpSpPr/>
            <p:nvPr/>
          </p:nvGrpSpPr>
          <p:grpSpPr>
            <a:xfrm>
              <a:off x="5868113" y="3904063"/>
              <a:ext cx="432000" cy="432048"/>
              <a:chOff x="3421373" y="751325"/>
              <a:chExt cx="5400000" cy="5400000"/>
            </a:xfrm>
          </p:grpSpPr>
          <p:pic>
            <p:nvPicPr>
              <p:cNvPr id="34" name="Image 50">
                <a:extLst>
                  <a:ext uri="{FF2B5EF4-FFF2-40B4-BE49-F238E27FC236}">
                    <a16:creationId xmlns:a16="http://schemas.microsoft.com/office/drawing/2014/main" id="{B33BCE95-7C01-4B07-B08B-CDFEAAD1850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46748" y="773652"/>
                <a:ext cx="5349251" cy="5355347"/>
              </a:xfrm>
              <a:prstGeom prst="rect">
                <a:avLst/>
              </a:prstGeom>
            </p:spPr>
          </p:pic>
          <p:sp>
            <p:nvSpPr>
              <p:cNvPr id="35" name="Rectangle à coins arrondis 51">
                <a:extLst>
                  <a:ext uri="{FF2B5EF4-FFF2-40B4-BE49-F238E27FC236}">
                    <a16:creationId xmlns:a16="http://schemas.microsoft.com/office/drawing/2014/main" id="{38F0124F-08CE-4DDE-94E0-EBF25CB73FCD}"/>
                  </a:ext>
                </a:extLst>
              </p:cNvPr>
              <p:cNvSpPr/>
              <p:nvPr/>
            </p:nvSpPr>
            <p:spPr>
              <a:xfrm>
                <a:off x="3421373" y="751325"/>
                <a:ext cx="5400000" cy="5400000"/>
              </a:xfrm>
              <a:prstGeom prst="roundRect">
                <a:avLst/>
              </a:prstGeom>
              <a:noFill/>
              <a:ln w="28575"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Arial" panose="020B0604020202020204"/>
                  <a:ea typeface="+mn-ea"/>
                  <a:cs typeface="+mn-cs"/>
                </a:endParaRPr>
              </a:p>
            </p:txBody>
          </p:sp>
        </p:grpSp>
        <p:pic>
          <p:nvPicPr>
            <p:cNvPr id="36" name="Image 41">
              <a:extLst>
                <a:ext uri="{FF2B5EF4-FFF2-40B4-BE49-F238E27FC236}">
                  <a16:creationId xmlns:a16="http://schemas.microsoft.com/office/drawing/2014/main" id="{F392FC71-6258-458F-8465-E43478612678}"/>
                </a:ext>
              </a:extLst>
            </p:cNvPr>
            <p:cNvPicPr>
              <a:picLocks noChangeAspect="1"/>
            </p:cNvPicPr>
            <p:nvPr/>
          </p:nvPicPr>
          <p:blipFill>
            <a:blip r:embed="rId8" cstate="screen">
              <a:extLst>
                <a:ext uri="{BEBA8EAE-BF5A-486C-A8C5-ECC9F3942E4B}">
                  <a14:imgProps xmlns:a14="http://schemas.microsoft.com/office/drawing/2010/main">
                    <a14:imgLayer r:embed="rId9">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5775307" y="4842526"/>
              <a:ext cx="648000" cy="648000"/>
            </a:xfrm>
            <a:prstGeom prst="rect">
              <a:avLst/>
            </a:prstGeom>
          </p:spPr>
        </p:pic>
        <p:pic>
          <p:nvPicPr>
            <p:cNvPr id="37" name="Image 42">
              <a:extLst>
                <a:ext uri="{FF2B5EF4-FFF2-40B4-BE49-F238E27FC236}">
                  <a16:creationId xmlns:a16="http://schemas.microsoft.com/office/drawing/2014/main" id="{8FAC6DB3-B049-4FD2-B506-942AC1320B90}"/>
                </a:ext>
              </a:extLst>
            </p:cNvPr>
            <p:cNvPicPr>
              <a:picLocks noChangeAspect="1"/>
            </p:cNvPicPr>
            <p:nvPr/>
          </p:nvPicPr>
          <p:blipFill>
            <a:blip r:embed="rId10" cstate="screen">
              <a:extLst>
                <a:ext uri="{BEBA8EAE-BF5A-486C-A8C5-ECC9F3942E4B}">
                  <a14:imgProps xmlns:a14="http://schemas.microsoft.com/office/drawing/2010/main">
                    <a14:imgLayer r:embed="rId11">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6889092" y="4145639"/>
              <a:ext cx="612000" cy="612000"/>
            </a:xfrm>
            <a:prstGeom prst="rect">
              <a:avLst/>
            </a:prstGeom>
          </p:spPr>
        </p:pic>
        <p:pic>
          <p:nvPicPr>
            <p:cNvPr id="38" name="Image 43">
              <a:extLst>
                <a:ext uri="{FF2B5EF4-FFF2-40B4-BE49-F238E27FC236}">
                  <a16:creationId xmlns:a16="http://schemas.microsoft.com/office/drawing/2014/main" id="{DD135026-91C2-40AE-8441-4896DC47ADB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728852" y="4145639"/>
              <a:ext cx="648000" cy="648000"/>
            </a:xfrm>
            <a:prstGeom prst="rect">
              <a:avLst/>
            </a:prstGeom>
          </p:spPr>
        </p:pic>
      </p:grpSp>
      <p:sp>
        <p:nvSpPr>
          <p:cNvPr id="46" name="Rectangle 45">
            <a:extLst>
              <a:ext uri="{FF2B5EF4-FFF2-40B4-BE49-F238E27FC236}">
                <a16:creationId xmlns:a16="http://schemas.microsoft.com/office/drawing/2014/main" id="{D4872CAF-894D-4D9D-B35B-F52CFFD449BA}"/>
              </a:ext>
            </a:extLst>
          </p:cNvPr>
          <p:cNvSpPr/>
          <p:nvPr/>
        </p:nvSpPr>
        <p:spPr bwMode="auto">
          <a:xfrm>
            <a:off x="4168758" y="5743223"/>
            <a:ext cx="3769982" cy="969496"/>
          </a:xfrm>
          <a:prstGeom prst="rect">
            <a:avLst/>
          </a:prstGeom>
          <a:noFill/>
        </p:spPr>
        <p:txBody>
          <a:bodyPr wrap="square">
            <a:spAutoFit/>
          </a:bodyPr>
          <a:lstStyle/>
          <a:p>
            <a:pPr algn="ctr">
              <a:spcAft>
                <a:spcPts val="600"/>
              </a:spcAft>
              <a:defRPr/>
            </a:pPr>
            <a:r>
              <a:rPr lang="fr-FR" sz="1600" b="1" kern="0" dirty="0">
                <a:solidFill>
                  <a:srgbClr val="007FAD"/>
                </a:solidFill>
                <a:latin typeface="Arial" panose="020B0604020202020204"/>
                <a:cs typeface="Arial" panose="020B0604020202020204" pitchFamily="34" charset="0"/>
              </a:rPr>
              <a:t>Un agenda</a:t>
            </a:r>
            <a:endParaRPr lang="fr-FR" sz="1200" b="1" kern="0" dirty="0">
              <a:solidFill>
                <a:srgbClr val="007FAD"/>
              </a:solidFill>
              <a:latin typeface="Arial" panose="020B0604020202020204"/>
              <a:cs typeface="Arial" panose="020B0604020202020204" pitchFamily="34" charset="0"/>
            </a:endParaRPr>
          </a:p>
          <a:p>
            <a:pPr algn="ctr">
              <a:defRPr/>
            </a:pPr>
            <a:r>
              <a:rPr lang="fr-FR" sz="1200" kern="0" dirty="0">
                <a:solidFill>
                  <a:srgbClr val="545859"/>
                </a:solidFill>
                <a:latin typeface="Arial" panose="020B0604020202020204"/>
                <a:cs typeface="Arial" panose="020B0604020202020204" pitchFamily="34" charset="0"/>
              </a:rPr>
              <a:t>Agrégations des </a:t>
            </a:r>
            <a:r>
              <a:rPr lang="fr-FR" sz="1200" b="1" kern="0" dirty="0">
                <a:solidFill>
                  <a:srgbClr val="007FAD"/>
                </a:solidFill>
                <a:latin typeface="Arial" panose="020B0604020202020204"/>
                <a:cs typeface="Arial" panose="020B0604020202020204" pitchFamily="34" charset="0"/>
              </a:rPr>
              <a:t>évènements</a:t>
            </a:r>
            <a:r>
              <a:rPr lang="fr-FR" sz="1200" kern="0" dirty="0">
                <a:solidFill>
                  <a:srgbClr val="545859"/>
                </a:solidFill>
                <a:latin typeface="Arial" panose="020B0604020202020204"/>
                <a:cs typeface="Arial" panose="020B0604020202020204" pitchFamily="34" charset="0"/>
              </a:rPr>
              <a:t> liés au parcours de soin de l’usager via un agenda. </a:t>
            </a:r>
          </a:p>
          <a:p>
            <a:pPr algn="ctr">
              <a:defRPr/>
            </a:pPr>
            <a:r>
              <a:rPr lang="fr-FR" sz="1200" kern="0" dirty="0">
                <a:solidFill>
                  <a:srgbClr val="545859"/>
                </a:solidFill>
                <a:latin typeface="Arial" panose="020B0604020202020204"/>
                <a:cs typeface="Arial" panose="020B0604020202020204" pitchFamily="34" charset="0"/>
              </a:rPr>
              <a:t>+ outil de prévention : RDV à faire, vaccination</a:t>
            </a:r>
            <a:endParaRPr lang="fr-FR" sz="1200" dirty="0">
              <a:solidFill>
                <a:srgbClr val="545859"/>
              </a:solidFill>
              <a:latin typeface="Arial" panose="020B0604020202020204"/>
              <a:cs typeface="Arial" panose="020B0604020202020204" pitchFamily="34" charset="0"/>
            </a:endParaRPr>
          </a:p>
        </p:txBody>
      </p:sp>
      <p:sp>
        <p:nvSpPr>
          <p:cNvPr id="47" name="Rectangle 46">
            <a:extLst>
              <a:ext uri="{FF2B5EF4-FFF2-40B4-BE49-F238E27FC236}">
                <a16:creationId xmlns:a16="http://schemas.microsoft.com/office/drawing/2014/main" id="{F42BCCE7-25F0-4FB5-AE78-2E794BA1A82E}"/>
              </a:ext>
            </a:extLst>
          </p:cNvPr>
          <p:cNvSpPr/>
          <p:nvPr/>
        </p:nvSpPr>
        <p:spPr bwMode="auto">
          <a:xfrm>
            <a:off x="7741727" y="2227781"/>
            <a:ext cx="3636404" cy="1154162"/>
          </a:xfrm>
          <a:prstGeom prst="rect">
            <a:avLst/>
          </a:prstGeom>
        </p:spPr>
        <p:txBody>
          <a:bodyPr wrap="square">
            <a:spAutoFit/>
          </a:bodyPr>
          <a:lstStyle/>
          <a:p>
            <a:pPr>
              <a:spcAft>
                <a:spcPts val="600"/>
              </a:spcAft>
              <a:defRPr/>
            </a:pPr>
            <a:r>
              <a:rPr lang="fr-FR" sz="1600" b="1" kern="0">
                <a:solidFill>
                  <a:srgbClr val="298478"/>
                </a:solidFill>
                <a:latin typeface="Arial" panose="020B0604020202020204"/>
                <a:cs typeface="Arial" panose="020B0604020202020204" pitchFamily="34" charset="0"/>
              </a:rPr>
              <a:t>Une messagerie</a:t>
            </a:r>
          </a:p>
          <a:p>
            <a:pPr>
              <a:defRPr/>
            </a:pPr>
            <a:r>
              <a:rPr lang="fr-FR" sz="1200" kern="0">
                <a:solidFill>
                  <a:srgbClr val="545859"/>
                </a:solidFill>
                <a:latin typeface="Arial" panose="020B0604020202020204"/>
                <a:cs typeface="Arial" panose="020B0604020202020204" pitchFamily="34" charset="0"/>
              </a:rPr>
              <a:t>Réception en toute sécurité des informations personnelles en provenance de l’équipe de soin de l’usager via un service de </a:t>
            </a:r>
            <a:r>
              <a:rPr lang="fr-FR" sz="1200" b="1" kern="0">
                <a:solidFill>
                  <a:srgbClr val="298478"/>
                </a:solidFill>
                <a:latin typeface="Arial" panose="020B0604020202020204"/>
                <a:cs typeface="Arial" panose="020B0604020202020204" pitchFamily="34" charset="0"/>
              </a:rPr>
              <a:t>messagerie sécurisée </a:t>
            </a:r>
            <a:r>
              <a:rPr lang="fr-FR" sz="1200" kern="0">
                <a:solidFill>
                  <a:srgbClr val="545859"/>
                </a:solidFill>
                <a:latin typeface="Arial" panose="020B0604020202020204"/>
                <a:cs typeface="Arial" panose="020B0604020202020204" pitchFamily="34" charset="0"/>
              </a:rPr>
              <a:t>de santé.</a:t>
            </a:r>
            <a:endParaRPr lang="fr-FR" sz="1200">
              <a:solidFill>
                <a:srgbClr val="545859"/>
              </a:solidFill>
              <a:latin typeface="Arial" panose="020B0604020202020204"/>
              <a:cs typeface="Arial" panose="020B0604020202020204" pitchFamily="34" charset="0"/>
            </a:endParaRPr>
          </a:p>
        </p:txBody>
      </p:sp>
      <p:sp>
        <p:nvSpPr>
          <p:cNvPr id="48" name="Rectangle 47">
            <a:extLst>
              <a:ext uri="{FF2B5EF4-FFF2-40B4-BE49-F238E27FC236}">
                <a16:creationId xmlns:a16="http://schemas.microsoft.com/office/drawing/2014/main" id="{6A3F42CC-EFE6-4781-843E-46D059429357}"/>
              </a:ext>
            </a:extLst>
          </p:cNvPr>
          <p:cNvSpPr/>
          <p:nvPr/>
        </p:nvSpPr>
        <p:spPr bwMode="auto">
          <a:xfrm>
            <a:off x="7907410" y="3935517"/>
            <a:ext cx="3564396" cy="1338828"/>
          </a:xfrm>
          <a:prstGeom prst="rect">
            <a:avLst/>
          </a:prstGeom>
        </p:spPr>
        <p:txBody>
          <a:bodyPr wrap="square" lIns="91440" tIns="45720" rIns="91440" bIns="45720" anchor="t">
            <a:spAutoFit/>
          </a:bodyPr>
          <a:lstStyle/>
          <a:p>
            <a:pPr>
              <a:spcAft>
                <a:spcPts val="600"/>
              </a:spcAft>
              <a:defRPr/>
            </a:pPr>
            <a:r>
              <a:rPr lang="fr-FR" sz="1600" b="1" kern="0" dirty="0">
                <a:solidFill>
                  <a:srgbClr val="5E74B8"/>
                </a:solidFill>
                <a:latin typeface="Arial" panose="020B0604020202020204"/>
                <a:cs typeface="Arial"/>
              </a:rPr>
              <a:t>Un catalogue de service</a:t>
            </a:r>
          </a:p>
          <a:p>
            <a:pPr>
              <a:defRPr/>
            </a:pPr>
            <a:r>
              <a:rPr lang="fr-FR" sz="1200" kern="0" dirty="0">
                <a:solidFill>
                  <a:srgbClr val="545859"/>
                </a:solidFill>
                <a:latin typeface="Arial" panose="020B0604020202020204"/>
                <a:cs typeface="Arial"/>
              </a:rPr>
              <a:t>Accès à des applications de santé référencées par l’État via un</a:t>
            </a:r>
            <a:r>
              <a:rPr lang="fr-FR" sz="1200" b="1" kern="0" dirty="0">
                <a:solidFill>
                  <a:srgbClr val="5E74B8"/>
                </a:solidFill>
                <a:latin typeface="Arial" panose="020B0604020202020204"/>
                <a:cs typeface="Arial"/>
              </a:rPr>
              <a:t> catalogue réunissant la diversité des services utiles à la santé </a:t>
            </a:r>
            <a:r>
              <a:rPr lang="fr-FR" sz="1200" kern="0" dirty="0">
                <a:solidFill>
                  <a:srgbClr val="545859"/>
                </a:solidFill>
                <a:latin typeface="Arial" panose="020B0604020202020204"/>
                <a:cs typeface="Arial"/>
              </a:rPr>
              <a:t>(portails patients, applications et objets connectés référencés..). </a:t>
            </a:r>
            <a:endParaRPr lang="fr-FR" sz="1200" kern="0" dirty="0">
              <a:solidFill>
                <a:srgbClr val="545859"/>
              </a:solidFill>
              <a:latin typeface="Arial" panose="020B0604020202020204"/>
              <a:cs typeface="Arial" panose="020B0604020202020204" pitchFamily="34" charset="0"/>
            </a:endParaRPr>
          </a:p>
        </p:txBody>
      </p:sp>
      <p:grpSp>
        <p:nvGrpSpPr>
          <p:cNvPr id="51" name="Group 50">
            <a:extLst>
              <a:ext uri="{FF2B5EF4-FFF2-40B4-BE49-F238E27FC236}">
                <a16:creationId xmlns:a16="http://schemas.microsoft.com/office/drawing/2014/main" id="{1540C1C7-96EB-4D72-861E-1649F236E10C}"/>
              </a:ext>
            </a:extLst>
          </p:cNvPr>
          <p:cNvGrpSpPr/>
          <p:nvPr/>
        </p:nvGrpSpPr>
        <p:grpSpPr>
          <a:xfrm>
            <a:off x="391134" y="2227781"/>
            <a:ext cx="3822962" cy="1778547"/>
            <a:chOff x="638582" y="2238997"/>
            <a:chExt cx="3822962" cy="1778547"/>
          </a:xfrm>
        </p:grpSpPr>
        <p:sp>
          <p:nvSpPr>
            <p:cNvPr id="45" name="Rectangle 44">
              <a:extLst>
                <a:ext uri="{FF2B5EF4-FFF2-40B4-BE49-F238E27FC236}">
                  <a16:creationId xmlns:a16="http://schemas.microsoft.com/office/drawing/2014/main" id="{BEF580BB-8AC9-45AA-AE45-4C0BDAF3AEA8}"/>
                </a:ext>
              </a:extLst>
            </p:cNvPr>
            <p:cNvSpPr/>
            <p:nvPr/>
          </p:nvSpPr>
          <p:spPr bwMode="auto">
            <a:xfrm>
              <a:off x="655398" y="2238997"/>
              <a:ext cx="3806146" cy="1154162"/>
            </a:xfrm>
            <a:prstGeom prst="rect">
              <a:avLst/>
            </a:prstGeom>
          </p:spPr>
          <p:txBody>
            <a:bodyPr wrap="square">
              <a:spAutoFit/>
            </a:bodyPr>
            <a:lstStyle/>
            <a:p>
              <a:pPr>
                <a:spcAft>
                  <a:spcPts val="600"/>
                </a:spcAft>
                <a:defRPr/>
              </a:pPr>
              <a:r>
                <a:rPr lang="fr-FR" sz="1600" b="1" kern="0" dirty="0">
                  <a:solidFill>
                    <a:srgbClr val="C74E5A"/>
                  </a:solidFill>
                  <a:latin typeface="Arial" panose="020B0604020202020204"/>
                  <a:cs typeface="Arial" panose="020B0604020202020204" pitchFamily="34" charset="0"/>
                </a:rPr>
                <a:t>Un dossier médical</a:t>
              </a:r>
            </a:p>
            <a:p>
              <a:pPr>
                <a:defRPr/>
              </a:pPr>
              <a:r>
                <a:rPr lang="fr-FR" sz="1200" kern="0" dirty="0">
                  <a:solidFill>
                    <a:srgbClr val="545859"/>
                  </a:solidFill>
                  <a:latin typeface="Arial" panose="020B0604020202020204"/>
                  <a:cs typeface="Arial" panose="020B0604020202020204" pitchFamily="34" charset="0"/>
                </a:rPr>
                <a:t>Consultation et alimentation des </a:t>
              </a:r>
              <a:r>
                <a:rPr lang="fr-FR" sz="1200" b="1" kern="0" dirty="0">
                  <a:solidFill>
                    <a:srgbClr val="C74E5A"/>
                  </a:solidFill>
                  <a:latin typeface="Arial" panose="020B0604020202020204"/>
                  <a:cs typeface="Arial" panose="020B0604020202020204" pitchFamily="34" charset="0"/>
                </a:rPr>
                <a:t>documents</a:t>
              </a:r>
              <a:r>
                <a:rPr lang="fr-FR" sz="1200" kern="0" dirty="0">
                  <a:solidFill>
                    <a:srgbClr val="C74E5A"/>
                  </a:solidFill>
                  <a:latin typeface="Arial" panose="020B0604020202020204"/>
                  <a:cs typeface="Arial" panose="020B0604020202020204" pitchFamily="34" charset="0"/>
                </a:rPr>
                <a:t> </a:t>
              </a:r>
              <a:r>
                <a:rPr lang="fr-FR" sz="1200" kern="0" dirty="0">
                  <a:solidFill>
                    <a:srgbClr val="545859"/>
                  </a:solidFill>
                  <a:latin typeface="Arial" panose="020B0604020202020204"/>
                  <a:cs typeface="Arial" panose="020B0604020202020204" pitchFamily="34" charset="0"/>
                </a:rPr>
                <a:t>ajoutés par l’usager ou ses professionnels de santé (ordonnance, compte rendu d’hospitalisation, biologies…)</a:t>
              </a:r>
            </a:p>
          </p:txBody>
        </p:sp>
        <p:sp>
          <p:nvSpPr>
            <p:cNvPr id="50" name="Rectangle 49">
              <a:extLst>
                <a:ext uri="{FF2B5EF4-FFF2-40B4-BE49-F238E27FC236}">
                  <a16:creationId xmlns:a16="http://schemas.microsoft.com/office/drawing/2014/main" id="{23CB7A16-6930-4C13-93D5-8452059CE00A}"/>
                </a:ext>
              </a:extLst>
            </p:cNvPr>
            <p:cNvSpPr/>
            <p:nvPr/>
          </p:nvSpPr>
          <p:spPr>
            <a:xfrm>
              <a:off x="638582" y="3371213"/>
              <a:ext cx="3429836" cy="646331"/>
            </a:xfrm>
            <a:prstGeom prst="rect">
              <a:avLst/>
            </a:prstGeom>
          </p:spPr>
          <p:txBody>
            <a:bodyPr wrap="square">
              <a:spAutoFit/>
            </a:bodyPr>
            <a:lstStyle/>
            <a:p>
              <a:r>
                <a:rPr lang="fr-FR" sz="1200" kern="0" dirty="0">
                  <a:solidFill>
                    <a:srgbClr val="545859"/>
                  </a:solidFill>
                  <a:latin typeface="Arial" panose="020B0604020202020204"/>
                  <a:cs typeface="Arial" panose="020B0604020202020204" pitchFamily="34" charset="0"/>
                </a:rPr>
                <a:t>Cette brique s’appuie sur l’actuel</a:t>
              </a:r>
              <a:r>
                <a:rPr lang="fr-FR" sz="1200" b="1" kern="0" dirty="0">
                  <a:solidFill>
                    <a:srgbClr val="545859"/>
                  </a:solidFill>
                  <a:latin typeface="Arial" panose="020B0604020202020204"/>
                  <a:cs typeface="Arial" panose="020B0604020202020204" pitchFamily="34" charset="0"/>
                </a:rPr>
                <a:t> </a:t>
              </a:r>
              <a:r>
                <a:rPr lang="fr-FR" sz="1200" b="1" kern="0" dirty="0">
                  <a:solidFill>
                    <a:srgbClr val="C74E5A"/>
                  </a:solidFill>
                  <a:latin typeface="Arial" panose="020B0604020202020204"/>
                  <a:cs typeface="Arial" panose="020B0604020202020204" pitchFamily="34" charset="0"/>
                </a:rPr>
                <a:t>Dossier Médical Partagé ( DMP) </a:t>
              </a:r>
              <a:r>
                <a:rPr lang="fr-FR" sz="1200" kern="0" dirty="0">
                  <a:solidFill>
                    <a:srgbClr val="545859"/>
                  </a:solidFill>
                  <a:latin typeface="Arial" panose="020B0604020202020204"/>
                  <a:cs typeface="Arial" panose="020B0604020202020204" pitchFamily="34" charset="0"/>
                </a:rPr>
                <a:t>dont l’historique est repris pour les anciens utilisateurs.</a:t>
              </a:r>
            </a:p>
          </p:txBody>
        </p:sp>
      </p:grpSp>
      <p:sp>
        <p:nvSpPr>
          <p:cNvPr id="5" name="Rectangle 4">
            <a:extLst>
              <a:ext uri="{FF2B5EF4-FFF2-40B4-BE49-F238E27FC236}">
                <a16:creationId xmlns:a16="http://schemas.microsoft.com/office/drawing/2014/main" id="{6453EBD2-5108-B8DD-6E38-0C141FB25C88}"/>
              </a:ext>
            </a:extLst>
          </p:cNvPr>
          <p:cNvSpPr/>
          <p:nvPr/>
        </p:nvSpPr>
        <p:spPr bwMode="auto">
          <a:xfrm>
            <a:off x="407796" y="4372538"/>
            <a:ext cx="3601052" cy="892552"/>
          </a:xfrm>
          <a:prstGeom prst="rect">
            <a:avLst/>
          </a:prstGeom>
        </p:spPr>
        <p:txBody>
          <a:bodyPr wrap="square">
            <a:spAutoFit/>
          </a:bodyPr>
          <a:lstStyle/>
          <a:p>
            <a:pPr>
              <a:defRPr/>
            </a:pPr>
            <a:r>
              <a:rPr lang="fr-FR" sz="1600" b="1" kern="0" dirty="0">
                <a:solidFill>
                  <a:srgbClr val="C74E5A"/>
                </a:solidFill>
                <a:latin typeface="Arial" panose="020B0604020202020204"/>
                <a:cs typeface="Arial" panose="020B0604020202020204" pitchFamily="34" charset="0"/>
              </a:rPr>
              <a:t>Le profil médical</a:t>
            </a:r>
          </a:p>
          <a:p>
            <a:pPr>
              <a:defRPr/>
            </a:pPr>
            <a:r>
              <a:rPr lang="fr-FR" sz="1200" kern="0" dirty="0">
                <a:solidFill>
                  <a:srgbClr val="545859"/>
                </a:solidFill>
                <a:latin typeface="Arial" panose="020B0604020202020204"/>
                <a:cs typeface="Arial" panose="020B0604020202020204" pitchFamily="34" charset="0"/>
              </a:rPr>
              <a:t>Alimentation et consultation par l’usager de son </a:t>
            </a:r>
            <a:r>
              <a:rPr lang="fr-FR" sz="1200" b="1" kern="0" dirty="0">
                <a:solidFill>
                  <a:srgbClr val="C74E5A"/>
                </a:solidFill>
                <a:latin typeface="Arial" panose="020B0604020202020204"/>
                <a:cs typeface="Arial" panose="020B0604020202020204" pitchFamily="34" charset="0"/>
              </a:rPr>
              <a:t>profil médical </a:t>
            </a:r>
            <a:r>
              <a:rPr lang="fr-FR" sz="1200" kern="0" dirty="0">
                <a:solidFill>
                  <a:srgbClr val="545859"/>
                </a:solidFill>
                <a:latin typeface="Arial" panose="020B0604020202020204"/>
                <a:cs typeface="Arial" panose="020B0604020202020204" pitchFamily="34" charset="0"/>
              </a:rPr>
              <a:t>: antécédents médicaux, vaccinations, allergies, mesures de santé, …</a:t>
            </a:r>
            <a:endParaRPr lang="fr-FR" sz="1200" dirty="0">
              <a:solidFill>
                <a:srgbClr val="545859"/>
              </a:solidFill>
              <a:latin typeface="Arial" panose="020B0604020202020204"/>
              <a:cs typeface="Arial" panose="020B0604020202020204" pitchFamily="34" charset="0"/>
            </a:endParaRPr>
          </a:p>
        </p:txBody>
      </p:sp>
    </p:spTree>
    <p:extLst>
      <p:ext uri="{BB962C8B-B14F-4D97-AF65-F5344CB8AC3E}">
        <p14:creationId xmlns:p14="http://schemas.microsoft.com/office/powerpoint/2010/main" val="3860160863"/>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074051AE-3FB0-42A0-9E67-BC4161D45144}"/>
              </a:ext>
            </a:extLst>
          </p:cNvPr>
          <p:cNvSpPr>
            <a:spLocks noGrp="1"/>
          </p:cNvSpPr>
          <p:nvPr>
            <p:ph type="title"/>
          </p:nvPr>
        </p:nvSpPr>
        <p:spPr/>
        <p:txBody>
          <a:bodyPr>
            <a:normAutofit/>
          </a:bodyPr>
          <a:lstStyle/>
          <a:p>
            <a:r>
              <a:rPr lang="fr-FR" sz="3500" b="1" spc="-70">
                <a:solidFill>
                  <a:srgbClr val="005C9B"/>
                </a:solidFill>
                <a:latin typeface="Arial" panose="020B0604020202020204" pitchFamily="34" charset="0"/>
                <a:cs typeface="Arial" panose="020B0604020202020204" pitchFamily="34" charset="0"/>
              </a:rPr>
              <a:t>Le dossier médical </a:t>
            </a:r>
          </a:p>
        </p:txBody>
      </p:sp>
      <p:pic>
        <p:nvPicPr>
          <p:cNvPr id="5" name="Picture 35">
            <a:extLst>
              <a:ext uri="{FF2B5EF4-FFF2-40B4-BE49-F238E27FC236}">
                <a16:creationId xmlns:a16="http://schemas.microsoft.com/office/drawing/2014/main" id="{40644C79-AB5C-496E-AA3E-79CB533F4332}"/>
              </a:ext>
            </a:extLst>
          </p:cNvPr>
          <p:cNvPicPr>
            <a:picLocks noChangeAspect="1"/>
          </p:cNvPicPr>
          <p:nvPr/>
        </p:nvPicPr>
        <p:blipFill>
          <a:blip r:embed="rId2"/>
          <a:stretch>
            <a:fillRect/>
          </a:stretch>
        </p:blipFill>
        <p:spPr>
          <a:xfrm>
            <a:off x="8172690" y="2020050"/>
            <a:ext cx="1595718" cy="4468010"/>
          </a:xfrm>
          <a:prstGeom prst="rect">
            <a:avLst/>
          </a:prstGeom>
          <a:solidFill>
            <a:schemeClr val="bg1">
              <a:lumMod val="95000"/>
            </a:schemeClr>
          </a:solidFill>
          <a:ln w="76200">
            <a:solidFill>
              <a:schemeClr val="bg2"/>
            </a:solidFill>
          </a:ln>
        </p:spPr>
      </p:pic>
      <p:pic>
        <p:nvPicPr>
          <p:cNvPr id="6" name="Picture 5">
            <a:extLst>
              <a:ext uri="{FF2B5EF4-FFF2-40B4-BE49-F238E27FC236}">
                <a16:creationId xmlns:a16="http://schemas.microsoft.com/office/drawing/2014/main" id="{48F5932D-B395-4579-A8E6-A584F8A254A8}"/>
              </a:ext>
            </a:extLst>
          </p:cNvPr>
          <p:cNvPicPr>
            <a:picLocks noChangeAspect="1"/>
          </p:cNvPicPr>
          <p:nvPr/>
        </p:nvPicPr>
        <p:blipFill>
          <a:blip r:embed="rId3"/>
          <a:stretch>
            <a:fillRect/>
          </a:stretch>
        </p:blipFill>
        <p:spPr>
          <a:xfrm>
            <a:off x="9840416" y="2025908"/>
            <a:ext cx="1428655" cy="4456612"/>
          </a:xfrm>
          <a:prstGeom prst="rect">
            <a:avLst/>
          </a:prstGeom>
          <a:solidFill>
            <a:schemeClr val="bg1">
              <a:lumMod val="95000"/>
            </a:schemeClr>
          </a:solidFill>
          <a:ln w="76200">
            <a:solidFill>
              <a:schemeClr val="bg2"/>
            </a:solidFill>
          </a:ln>
        </p:spPr>
      </p:pic>
      <p:sp>
        <p:nvSpPr>
          <p:cNvPr id="7" name="TextBox 37">
            <a:extLst>
              <a:ext uri="{FF2B5EF4-FFF2-40B4-BE49-F238E27FC236}">
                <a16:creationId xmlns:a16="http://schemas.microsoft.com/office/drawing/2014/main" id="{D6EC2D1A-1163-433F-BC38-12B5516E0D2C}"/>
              </a:ext>
            </a:extLst>
          </p:cNvPr>
          <p:cNvSpPr txBox="1"/>
          <p:nvPr/>
        </p:nvSpPr>
        <p:spPr>
          <a:xfrm>
            <a:off x="987860" y="1988840"/>
            <a:ext cx="6093910" cy="523220"/>
          </a:xfrm>
          <a:prstGeom prst="rect">
            <a:avLst/>
          </a:prstGeom>
          <a:noFill/>
        </p:spPr>
        <p:txBody>
          <a:bodyPr wrap="square" rtlCol="0">
            <a:spAutoFit/>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Arial" panose="020B0604020202020204" pitchFamily="34" charset="0"/>
              </a:rPr>
              <a:t>Le</a:t>
            </a:r>
            <a:r>
              <a:rPr kumimoji="0" lang="fr-FR" sz="1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 </a:t>
            </a:r>
            <a:r>
              <a:rPr kumimoji="0" lang="fr-FR" sz="1400" b="1" i="0" u="none" strike="noStrike" kern="1200" cap="none" spc="0" normalizeH="0" baseline="0" noProof="0">
                <a:ln>
                  <a:noFill/>
                </a:ln>
                <a:solidFill>
                  <a:srgbClr val="007FAD"/>
                </a:solidFill>
                <a:effectLst/>
                <a:uLnTx/>
                <a:uFillTx/>
                <a:latin typeface="Arial" panose="020B0604020202020204"/>
                <a:ea typeface="+mn-ea"/>
                <a:cs typeface="Arial" panose="020B0604020202020204" pitchFamily="34" charset="0"/>
              </a:rPr>
              <a:t>Dossier médical </a:t>
            </a:r>
            <a:r>
              <a:rPr kumimoji="0" lang="fr-FR" sz="1400" b="0" i="0" u="none" strike="noStrike" kern="1200" cap="none" spc="0" normalizeH="0" baseline="0" noProof="0">
                <a:ln>
                  <a:noFill/>
                </a:ln>
                <a:solidFill>
                  <a:srgbClr val="545859"/>
                </a:solidFill>
                <a:effectLst/>
                <a:uLnTx/>
                <a:uFillTx/>
                <a:latin typeface="Arial" panose="020B0604020202020204"/>
                <a:ea typeface="+mn-ea"/>
                <a:cs typeface="Arial" panose="020B0604020202020204" pitchFamily="34" charset="0"/>
              </a:rPr>
              <a:t>vise à contenir l’ensemble des </a:t>
            </a:r>
            <a:r>
              <a:rPr kumimoji="0" lang="fr-FR" sz="1400" b="1" i="0" u="none" strike="noStrike" kern="1200" cap="none" spc="0" normalizeH="0" baseline="0" noProof="0">
                <a:ln>
                  <a:noFill/>
                </a:ln>
                <a:solidFill>
                  <a:srgbClr val="007FAD"/>
                </a:solidFill>
                <a:effectLst/>
                <a:uLnTx/>
                <a:uFillTx/>
                <a:latin typeface="Arial" panose="020B0604020202020204"/>
                <a:ea typeface="+mn-ea"/>
                <a:cs typeface="Arial" panose="020B0604020202020204" pitchFamily="34" charset="0"/>
              </a:rPr>
              <a:t>informations de santé</a:t>
            </a:r>
            <a:r>
              <a:rPr kumimoji="0" lang="fr-FR" sz="1400" b="0" i="0" u="none" strike="noStrike" kern="1200" cap="none" spc="0" normalizeH="0" baseline="0" noProof="0">
                <a:ln>
                  <a:noFill/>
                </a:ln>
                <a:solidFill>
                  <a:srgbClr val="333333"/>
                </a:solidFill>
                <a:effectLst/>
                <a:uLnTx/>
                <a:uFillTx/>
                <a:latin typeface="Arial" panose="020B0604020202020204"/>
                <a:ea typeface="+mn-ea"/>
                <a:cs typeface="Arial" panose="020B0604020202020204" pitchFamily="34" charset="0"/>
              </a:rPr>
              <a:t>. </a:t>
            </a:r>
            <a:r>
              <a:rPr kumimoji="0" lang="fr-FR" sz="1400" b="0" i="0" u="none" strike="noStrike" kern="1200" cap="none" spc="0" normalizeH="0" baseline="0" noProof="0">
                <a:ln>
                  <a:noFill/>
                </a:ln>
                <a:solidFill>
                  <a:srgbClr val="545859"/>
                </a:solidFill>
                <a:effectLst/>
                <a:uLnTx/>
                <a:uFillTx/>
                <a:latin typeface="Arial" panose="020B0604020202020204"/>
                <a:ea typeface="+mn-ea"/>
                <a:cs typeface="Arial" panose="020B0604020202020204" pitchFamily="34" charset="0"/>
              </a:rPr>
              <a:t>Ce dossier pourra à terme être alimenté par : </a:t>
            </a:r>
          </a:p>
        </p:txBody>
      </p:sp>
      <p:grpSp>
        <p:nvGrpSpPr>
          <p:cNvPr id="8" name="Group 2">
            <a:extLst>
              <a:ext uri="{FF2B5EF4-FFF2-40B4-BE49-F238E27FC236}">
                <a16:creationId xmlns:a16="http://schemas.microsoft.com/office/drawing/2014/main" id="{3F38F888-FB9A-43E6-BE00-E8D5313EAFD4}"/>
              </a:ext>
            </a:extLst>
          </p:cNvPr>
          <p:cNvGrpSpPr/>
          <p:nvPr/>
        </p:nvGrpSpPr>
        <p:grpSpPr>
          <a:xfrm>
            <a:off x="1135229" y="2743546"/>
            <a:ext cx="6460064" cy="1177929"/>
            <a:chOff x="1162293" y="2351814"/>
            <a:chExt cx="6460064" cy="1177929"/>
          </a:xfrm>
        </p:grpSpPr>
        <p:sp>
          <p:nvSpPr>
            <p:cNvPr id="9" name="TextBox 39">
              <a:extLst>
                <a:ext uri="{FF2B5EF4-FFF2-40B4-BE49-F238E27FC236}">
                  <a16:creationId xmlns:a16="http://schemas.microsoft.com/office/drawing/2014/main" id="{C6C553AB-20E4-420F-A368-D96269A2B883}"/>
                </a:ext>
              </a:extLst>
            </p:cNvPr>
            <p:cNvSpPr txBox="1"/>
            <p:nvPr/>
          </p:nvSpPr>
          <p:spPr>
            <a:xfrm>
              <a:off x="1710988" y="3097244"/>
              <a:ext cx="2460258"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Arial" panose="020B0604020202020204" pitchFamily="34" charset="0"/>
                </a:rPr>
                <a:t>Professionnel de santé</a:t>
              </a:r>
            </a:p>
          </p:txBody>
        </p:sp>
        <p:sp>
          <p:nvSpPr>
            <p:cNvPr id="10" name="TextBox 42">
              <a:extLst>
                <a:ext uri="{FF2B5EF4-FFF2-40B4-BE49-F238E27FC236}">
                  <a16:creationId xmlns:a16="http://schemas.microsoft.com/office/drawing/2014/main" id="{2FDB718B-1762-48EA-AF14-ADAFF7A6F50E}"/>
                </a:ext>
              </a:extLst>
            </p:cNvPr>
            <p:cNvSpPr txBox="1"/>
            <p:nvPr/>
          </p:nvSpPr>
          <p:spPr>
            <a:xfrm>
              <a:off x="4874498" y="2445269"/>
              <a:ext cx="2460258" cy="52322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Arial" panose="020B0604020202020204" pitchFamily="34" charset="0"/>
                </a:rPr>
                <a:t>Applications du catalogue de services</a:t>
              </a:r>
            </a:p>
          </p:txBody>
        </p:sp>
        <p:sp>
          <p:nvSpPr>
            <p:cNvPr id="11" name="TextBox 43">
              <a:extLst>
                <a:ext uri="{FF2B5EF4-FFF2-40B4-BE49-F238E27FC236}">
                  <a16:creationId xmlns:a16="http://schemas.microsoft.com/office/drawing/2014/main" id="{169A122D-8B51-4960-939D-3E3F74D2FD7C}"/>
                </a:ext>
              </a:extLst>
            </p:cNvPr>
            <p:cNvSpPr txBox="1"/>
            <p:nvPr/>
          </p:nvSpPr>
          <p:spPr>
            <a:xfrm>
              <a:off x="1710988" y="2445269"/>
              <a:ext cx="2248280"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Arial" panose="020B0604020202020204" pitchFamily="34" charset="0"/>
                </a:rPr>
                <a:t>Patient ou ses aidants</a:t>
              </a:r>
            </a:p>
          </p:txBody>
        </p:sp>
        <p:sp>
          <p:nvSpPr>
            <p:cNvPr id="12" name="TextBox 44">
              <a:extLst>
                <a:ext uri="{FF2B5EF4-FFF2-40B4-BE49-F238E27FC236}">
                  <a16:creationId xmlns:a16="http://schemas.microsoft.com/office/drawing/2014/main" id="{281EF992-8189-4780-AFEB-4F653FD05E8F}"/>
                </a:ext>
              </a:extLst>
            </p:cNvPr>
            <p:cNvSpPr txBox="1"/>
            <p:nvPr/>
          </p:nvSpPr>
          <p:spPr>
            <a:xfrm>
              <a:off x="4874067" y="3097244"/>
              <a:ext cx="2748290"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Arial" panose="020B0604020202020204" pitchFamily="34" charset="0"/>
                </a:rPr>
                <a:t>Messages reçus</a:t>
              </a:r>
            </a:p>
          </p:txBody>
        </p:sp>
        <p:sp>
          <p:nvSpPr>
            <p:cNvPr id="13" name="Ellipse 12">
              <a:extLst>
                <a:ext uri="{FF2B5EF4-FFF2-40B4-BE49-F238E27FC236}">
                  <a16:creationId xmlns:a16="http://schemas.microsoft.com/office/drawing/2014/main" id="{79D725F4-9B27-4BD2-B058-AB9E6991F024}"/>
                </a:ext>
              </a:extLst>
            </p:cNvPr>
            <p:cNvSpPr/>
            <p:nvPr/>
          </p:nvSpPr>
          <p:spPr>
            <a:xfrm>
              <a:off x="1162293" y="2351814"/>
              <a:ext cx="522126" cy="490194"/>
            </a:xfrm>
            <a:prstGeom prst="ellipse">
              <a:avLst/>
            </a:prstGeom>
            <a:solidFill>
              <a:srgbClr val="DF26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DF2680"/>
                </a:solidFill>
                <a:effectLst/>
                <a:uLnTx/>
                <a:uFillTx/>
                <a:latin typeface="Arial" panose="020B0604020202020204"/>
                <a:ea typeface="+mn-ea"/>
                <a:cs typeface="+mn-cs"/>
              </a:endParaRPr>
            </a:p>
          </p:txBody>
        </p:sp>
        <p:pic>
          <p:nvPicPr>
            <p:cNvPr id="14" name="Graphic 47">
              <a:extLst>
                <a:ext uri="{FF2B5EF4-FFF2-40B4-BE49-F238E27FC236}">
                  <a16:creationId xmlns:a16="http://schemas.microsoft.com/office/drawing/2014/main" id="{A2337F05-55D3-4549-B507-C53BBA99899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6198" y="2399753"/>
              <a:ext cx="394316" cy="394316"/>
            </a:xfrm>
            <a:prstGeom prst="rect">
              <a:avLst/>
            </a:prstGeom>
          </p:spPr>
        </p:pic>
        <p:sp>
          <p:nvSpPr>
            <p:cNvPr id="15" name="Ellipse 14">
              <a:extLst>
                <a:ext uri="{FF2B5EF4-FFF2-40B4-BE49-F238E27FC236}">
                  <a16:creationId xmlns:a16="http://schemas.microsoft.com/office/drawing/2014/main" id="{84710BBF-62C8-45DA-8776-D4A7841149AC}"/>
                </a:ext>
              </a:extLst>
            </p:cNvPr>
            <p:cNvSpPr/>
            <p:nvPr/>
          </p:nvSpPr>
          <p:spPr>
            <a:xfrm>
              <a:off x="4295989" y="2351814"/>
              <a:ext cx="522126" cy="490194"/>
            </a:xfrm>
            <a:prstGeom prst="ellipse">
              <a:avLst/>
            </a:prstGeom>
            <a:solidFill>
              <a:srgbClr val="DF26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545859"/>
                </a:solidFill>
                <a:effectLst/>
                <a:uLnTx/>
                <a:uFillTx/>
                <a:latin typeface="Arial" panose="020B0604020202020204"/>
                <a:ea typeface="+mn-ea"/>
                <a:cs typeface="+mn-cs"/>
              </a:endParaRPr>
            </a:p>
          </p:txBody>
        </p:sp>
        <p:pic>
          <p:nvPicPr>
            <p:cNvPr id="16" name="Graphic 49">
              <a:extLst>
                <a:ext uri="{FF2B5EF4-FFF2-40B4-BE49-F238E27FC236}">
                  <a16:creationId xmlns:a16="http://schemas.microsoft.com/office/drawing/2014/main" id="{3A33F736-BB02-4506-94B3-3F1A93194BC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352372" y="2392242"/>
              <a:ext cx="392246" cy="392246"/>
            </a:xfrm>
            <a:prstGeom prst="rect">
              <a:avLst/>
            </a:prstGeom>
          </p:spPr>
        </p:pic>
        <p:sp>
          <p:nvSpPr>
            <p:cNvPr id="17" name="Ellipse 16">
              <a:extLst>
                <a:ext uri="{FF2B5EF4-FFF2-40B4-BE49-F238E27FC236}">
                  <a16:creationId xmlns:a16="http://schemas.microsoft.com/office/drawing/2014/main" id="{8D9C44C8-6F82-4687-B3B3-02C1BA007EF8}"/>
                </a:ext>
              </a:extLst>
            </p:cNvPr>
            <p:cNvSpPr/>
            <p:nvPr/>
          </p:nvSpPr>
          <p:spPr>
            <a:xfrm>
              <a:off x="1162293" y="3026694"/>
              <a:ext cx="522126" cy="490194"/>
            </a:xfrm>
            <a:prstGeom prst="ellipse">
              <a:avLst/>
            </a:prstGeom>
            <a:solidFill>
              <a:srgbClr val="DF26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545859"/>
                </a:solidFill>
                <a:effectLst/>
                <a:uLnTx/>
                <a:uFillTx/>
                <a:latin typeface="Arial" panose="020B0604020202020204"/>
                <a:ea typeface="+mn-ea"/>
                <a:cs typeface="+mn-cs"/>
              </a:endParaRPr>
            </a:p>
          </p:txBody>
        </p:sp>
        <p:pic>
          <p:nvPicPr>
            <p:cNvPr id="18" name="Graphic 51">
              <a:extLst>
                <a:ext uri="{FF2B5EF4-FFF2-40B4-BE49-F238E27FC236}">
                  <a16:creationId xmlns:a16="http://schemas.microsoft.com/office/drawing/2014/main" id="{3E8D4B88-5050-4899-A689-F3C270EDE222}"/>
                </a:ext>
              </a:extLst>
            </p:cNvPr>
            <p:cNvPicPr>
              <a:picLocks noChangeAspect="1"/>
            </p:cNvPicPr>
            <p:nvPr/>
          </p:nvPicPr>
          <p:blipFill>
            <a:blip r:embed="rId8" cstate="email">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62434" y="3117902"/>
              <a:ext cx="307777" cy="307777"/>
            </a:xfrm>
            <a:prstGeom prst="rect">
              <a:avLst/>
            </a:prstGeom>
          </p:spPr>
        </p:pic>
        <p:sp>
          <p:nvSpPr>
            <p:cNvPr id="19" name="Ellipse 18">
              <a:extLst>
                <a:ext uri="{FF2B5EF4-FFF2-40B4-BE49-F238E27FC236}">
                  <a16:creationId xmlns:a16="http://schemas.microsoft.com/office/drawing/2014/main" id="{051E632A-37B9-4D0C-8C42-4D15456CB5E0}"/>
                </a:ext>
              </a:extLst>
            </p:cNvPr>
            <p:cNvSpPr/>
            <p:nvPr/>
          </p:nvSpPr>
          <p:spPr>
            <a:xfrm>
              <a:off x="4296496" y="3039549"/>
              <a:ext cx="522126" cy="490194"/>
            </a:xfrm>
            <a:prstGeom prst="ellipse">
              <a:avLst/>
            </a:prstGeom>
            <a:solidFill>
              <a:srgbClr val="DF26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545859"/>
                </a:solidFill>
                <a:effectLst/>
                <a:uLnTx/>
                <a:uFillTx/>
                <a:latin typeface="Arial" panose="020B0604020202020204"/>
                <a:ea typeface="+mn-ea"/>
                <a:cs typeface="+mn-cs"/>
              </a:endParaRPr>
            </a:p>
          </p:txBody>
        </p:sp>
        <p:pic>
          <p:nvPicPr>
            <p:cNvPr id="20" name="Graphic 60">
              <a:extLst>
                <a:ext uri="{FF2B5EF4-FFF2-40B4-BE49-F238E27FC236}">
                  <a16:creationId xmlns:a16="http://schemas.microsoft.com/office/drawing/2014/main" id="{1BCC9E26-5A41-462C-8E30-384F11377A8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361747" y="3095984"/>
              <a:ext cx="373496" cy="373496"/>
            </a:xfrm>
            <a:prstGeom prst="rect">
              <a:avLst/>
            </a:prstGeom>
          </p:spPr>
        </p:pic>
      </p:grpSp>
      <p:sp>
        <p:nvSpPr>
          <p:cNvPr id="21" name="TextBox 61">
            <a:extLst>
              <a:ext uri="{FF2B5EF4-FFF2-40B4-BE49-F238E27FC236}">
                <a16:creationId xmlns:a16="http://schemas.microsoft.com/office/drawing/2014/main" id="{BC2D4938-A734-4A78-967C-79E698010861}"/>
              </a:ext>
            </a:extLst>
          </p:cNvPr>
          <p:cNvSpPr txBox="1"/>
          <p:nvPr/>
        </p:nvSpPr>
        <p:spPr>
          <a:xfrm>
            <a:off x="987860" y="4476740"/>
            <a:ext cx="5995361" cy="307777"/>
          </a:xfrm>
          <a:prstGeom prst="rect">
            <a:avLst/>
          </a:prstGeom>
          <a:noFill/>
        </p:spPr>
        <p:txBody>
          <a:bodyPr wrap="square" rtlCol="0">
            <a:spAutoFit/>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Arial" panose="020B0604020202020204" pitchFamily="34" charset="0"/>
              </a:rPr>
              <a:t>Le Dossier médical  permet à l’usager de </a:t>
            </a:r>
            <a:r>
              <a:rPr kumimoji="0" lang="fr-FR" sz="1400" b="1" i="0" u="none" strike="noStrike" kern="1200" cap="none" spc="0" normalizeH="0" baseline="0" noProof="0">
                <a:ln>
                  <a:noFill/>
                </a:ln>
                <a:solidFill>
                  <a:srgbClr val="007FAD"/>
                </a:solidFill>
                <a:effectLst/>
                <a:uLnTx/>
                <a:uFillTx/>
                <a:latin typeface="Arial" panose="020B0604020202020204"/>
                <a:ea typeface="+mn-ea"/>
                <a:cs typeface="Arial" panose="020B0604020202020204" pitchFamily="34" charset="0"/>
              </a:rPr>
              <a:t>stocker, classer, consulter </a:t>
            </a:r>
            <a:r>
              <a:rPr kumimoji="0" lang="fr-FR" sz="1400" b="0" i="0" u="none" strike="noStrike" kern="1200" cap="none" spc="0" normalizeH="0" baseline="0" noProof="0">
                <a:ln>
                  <a:noFill/>
                </a:ln>
                <a:solidFill>
                  <a:srgbClr val="333333"/>
                </a:solidFill>
                <a:effectLst/>
                <a:uLnTx/>
                <a:uFillTx/>
                <a:latin typeface="Arial" panose="020B0604020202020204"/>
                <a:ea typeface="+mn-ea"/>
                <a:cs typeface="Arial" panose="020B0604020202020204" pitchFamily="34" charset="0"/>
              </a:rPr>
              <a:t>:</a:t>
            </a:r>
          </a:p>
        </p:txBody>
      </p:sp>
      <p:grpSp>
        <p:nvGrpSpPr>
          <p:cNvPr id="22" name="Group 1">
            <a:extLst>
              <a:ext uri="{FF2B5EF4-FFF2-40B4-BE49-F238E27FC236}">
                <a16:creationId xmlns:a16="http://schemas.microsoft.com/office/drawing/2014/main" id="{8B1616A2-5AD7-4090-89FC-B327A5B6E569}"/>
              </a:ext>
            </a:extLst>
          </p:cNvPr>
          <p:cNvGrpSpPr/>
          <p:nvPr/>
        </p:nvGrpSpPr>
        <p:grpSpPr>
          <a:xfrm>
            <a:off x="1420178" y="4987668"/>
            <a:ext cx="5033562" cy="1326327"/>
            <a:chOff x="1218781" y="4935822"/>
            <a:chExt cx="5033562" cy="1326327"/>
          </a:xfrm>
        </p:grpSpPr>
        <p:grpSp>
          <p:nvGrpSpPr>
            <p:cNvPr id="23" name="Group 62">
              <a:extLst>
                <a:ext uri="{FF2B5EF4-FFF2-40B4-BE49-F238E27FC236}">
                  <a16:creationId xmlns:a16="http://schemas.microsoft.com/office/drawing/2014/main" id="{0459C76B-7D3C-4ABE-B569-B95820DBB1C0}"/>
                </a:ext>
              </a:extLst>
            </p:cNvPr>
            <p:cNvGrpSpPr/>
            <p:nvPr/>
          </p:nvGrpSpPr>
          <p:grpSpPr>
            <a:xfrm>
              <a:off x="1551939" y="4935823"/>
              <a:ext cx="754169" cy="753333"/>
              <a:chOff x="310996" y="4437112"/>
              <a:chExt cx="754169" cy="753333"/>
            </a:xfrm>
            <a:solidFill>
              <a:srgbClr val="F2F2F2"/>
            </a:solidFill>
          </p:grpSpPr>
          <p:sp>
            <p:nvSpPr>
              <p:cNvPr id="37" name="Oval 65">
                <a:extLst>
                  <a:ext uri="{FF2B5EF4-FFF2-40B4-BE49-F238E27FC236}">
                    <a16:creationId xmlns:a16="http://schemas.microsoft.com/office/drawing/2014/main" id="{B56A50B0-892F-42DB-90C5-12A1DA7171A8}"/>
                  </a:ext>
                </a:extLst>
              </p:cNvPr>
              <p:cNvSpPr/>
              <p:nvPr/>
            </p:nvSpPr>
            <p:spPr>
              <a:xfrm>
                <a:off x="310996" y="4437112"/>
                <a:ext cx="754169" cy="753333"/>
              </a:xfrm>
              <a:prstGeom prst="ellipse">
                <a:avLst/>
              </a:prstGeom>
              <a:grpFill/>
              <a:ln w="25400" cap="flat" cmpd="sng" algn="ctr">
                <a:no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FR" sz="1800" b="1" i="0" u="none" strike="noStrike" kern="0" cap="none" spc="0" normalizeH="0" baseline="0" noProof="0">
                  <a:ln>
                    <a:noFill/>
                  </a:ln>
                  <a:solidFill>
                    <a:srgbClr val="545859"/>
                  </a:solidFill>
                  <a:effectLst/>
                  <a:uLnTx/>
                  <a:uFillTx/>
                  <a:latin typeface="Arial" panose="020B0604020202020204"/>
                  <a:ea typeface="+mn-ea"/>
                  <a:cs typeface="+mn-cs"/>
                </a:endParaRPr>
              </a:p>
            </p:txBody>
          </p:sp>
          <p:pic>
            <p:nvPicPr>
              <p:cNvPr id="38" name="Picture 66">
                <a:extLst>
                  <a:ext uri="{FF2B5EF4-FFF2-40B4-BE49-F238E27FC236}">
                    <a16:creationId xmlns:a16="http://schemas.microsoft.com/office/drawing/2014/main" id="{73D729FD-4727-40DD-A8EE-91E40E97064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29217" y="4576370"/>
                <a:ext cx="480520" cy="433483"/>
              </a:xfrm>
              <a:prstGeom prst="rect">
                <a:avLst/>
              </a:prstGeom>
              <a:grpFill/>
            </p:spPr>
          </p:pic>
        </p:grpSp>
        <p:sp>
          <p:nvSpPr>
            <p:cNvPr id="24" name="TextBox 68">
              <a:extLst>
                <a:ext uri="{FF2B5EF4-FFF2-40B4-BE49-F238E27FC236}">
                  <a16:creationId xmlns:a16="http://schemas.microsoft.com/office/drawing/2014/main" id="{4D30EA15-9241-4EB5-9CC4-B051766B4F20}"/>
                </a:ext>
              </a:extLst>
            </p:cNvPr>
            <p:cNvSpPr txBox="1"/>
            <p:nvPr/>
          </p:nvSpPr>
          <p:spPr>
            <a:xfrm>
              <a:off x="1218781" y="5738929"/>
              <a:ext cx="1420483" cy="52322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Arial" panose="020B0604020202020204" pitchFamily="34" charset="0"/>
                </a:rPr>
                <a:t>Documents de santé</a:t>
              </a:r>
            </a:p>
          </p:txBody>
        </p:sp>
        <p:grpSp>
          <p:nvGrpSpPr>
            <p:cNvPr id="25" name="Group 69">
              <a:extLst>
                <a:ext uri="{FF2B5EF4-FFF2-40B4-BE49-F238E27FC236}">
                  <a16:creationId xmlns:a16="http://schemas.microsoft.com/office/drawing/2014/main" id="{FE9FB3E3-5A8C-4E09-99BC-957E0002A854}"/>
                </a:ext>
              </a:extLst>
            </p:cNvPr>
            <p:cNvGrpSpPr/>
            <p:nvPr/>
          </p:nvGrpSpPr>
          <p:grpSpPr>
            <a:xfrm>
              <a:off x="2747178" y="4935823"/>
              <a:ext cx="754169" cy="753333"/>
              <a:chOff x="1455668" y="4437112"/>
              <a:chExt cx="754169" cy="753333"/>
            </a:xfrm>
          </p:grpSpPr>
          <p:sp>
            <p:nvSpPr>
              <p:cNvPr id="35" name="Oval 70">
                <a:extLst>
                  <a:ext uri="{FF2B5EF4-FFF2-40B4-BE49-F238E27FC236}">
                    <a16:creationId xmlns:a16="http://schemas.microsoft.com/office/drawing/2014/main" id="{0E1B2A8D-72C7-482B-9392-4F8280781AEB}"/>
                  </a:ext>
                </a:extLst>
              </p:cNvPr>
              <p:cNvSpPr/>
              <p:nvPr/>
            </p:nvSpPr>
            <p:spPr>
              <a:xfrm>
                <a:off x="1455668" y="4437112"/>
                <a:ext cx="754169" cy="753333"/>
              </a:xfrm>
              <a:prstGeom prst="ellipse">
                <a:avLst/>
              </a:prstGeom>
              <a:solidFill>
                <a:sysClr val="window" lastClr="FFFFFF">
                  <a:lumMod val="95000"/>
                </a:sysClr>
              </a:solidFill>
              <a:ln w="25400" cap="flat" cmpd="sng" algn="ctr">
                <a:no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0" cap="none" spc="0" normalizeH="0" baseline="0" noProof="0">
                  <a:ln>
                    <a:noFill/>
                  </a:ln>
                  <a:solidFill>
                    <a:srgbClr val="545859"/>
                  </a:solidFill>
                  <a:effectLst/>
                  <a:uLnTx/>
                  <a:uFillTx/>
                  <a:latin typeface="Arial" panose="020B0604020202020204"/>
                  <a:ea typeface="+mn-ea"/>
                  <a:cs typeface="+mn-cs"/>
                </a:endParaRPr>
              </a:p>
            </p:txBody>
          </p:sp>
          <p:pic>
            <p:nvPicPr>
              <p:cNvPr id="36" name="Picture 71">
                <a:extLst>
                  <a:ext uri="{FF2B5EF4-FFF2-40B4-BE49-F238E27FC236}">
                    <a16:creationId xmlns:a16="http://schemas.microsoft.com/office/drawing/2014/main" id="{938FBFB1-2062-4073-9229-2D02E4635CEC}"/>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593682" y="4559340"/>
                <a:ext cx="478138" cy="431333"/>
              </a:xfrm>
              <a:prstGeom prst="rect">
                <a:avLst/>
              </a:prstGeom>
              <a:ln>
                <a:noFill/>
              </a:ln>
            </p:spPr>
          </p:pic>
        </p:grpSp>
        <p:sp>
          <p:nvSpPr>
            <p:cNvPr id="26" name="TextBox 72">
              <a:extLst>
                <a:ext uri="{FF2B5EF4-FFF2-40B4-BE49-F238E27FC236}">
                  <a16:creationId xmlns:a16="http://schemas.microsoft.com/office/drawing/2014/main" id="{17126A9A-BDC6-4B01-AFE6-15F60FC918A3}"/>
                </a:ext>
              </a:extLst>
            </p:cNvPr>
            <p:cNvSpPr txBox="1"/>
            <p:nvPr/>
          </p:nvSpPr>
          <p:spPr>
            <a:xfrm>
              <a:off x="2618676" y="5738929"/>
              <a:ext cx="1019030" cy="52322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Arial" panose="020B0604020202020204" pitchFamily="34" charset="0"/>
                </a:rPr>
                <a:t>Mesures de santé</a:t>
              </a:r>
            </a:p>
          </p:txBody>
        </p:sp>
        <p:grpSp>
          <p:nvGrpSpPr>
            <p:cNvPr id="27" name="Group 74">
              <a:extLst>
                <a:ext uri="{FF2B5EF4-FFF2-40B4-BE49-F238E27FC236}">
                  <a16:creationId xmlns:a16="http://schemas.microsoft.com/office/drawing/2014/main" id="{26DCE846-90C7-4908-9298-C1C2A2B9E7E0}"/>
                </a:ext>
              </a:extLst>
            </p:cNvPr>
            <p:cNvGrpSpPr/>
            <p:nvPr/>
          </p:nvGrpSpPr>
          <p:grpSpPr>
            <a:xfrm>
              <a:off x="3942417" y="4935823"/>
              <a:ext cx="754169" cy="753333"/>
              <a:chOff x="2598991" y="4437112"/>
              <a:chExt cx="754169" cy="753333"/>
            </a:xfrm>
          </p:grpSpPr>
          <p:sp>
            <p:nvSpPr>
              <p:cNvPr id="33" name="Oval 75">
                <a:extLst>
                  <a:ext uri="{FF2B5EF4-FFF2-40B4-BE49-F238E27FC236}">
                    <a16:creationId xmlns:a16="http://schemas.microsoft.com/office/drawing/2014/main" id="{78B4B74B-460F-41BE-B46E-296AFC55C404}"/>
                  </a:ext>
                </a:extLst>
              </p:cNvPr>
              <p:cNvSpPr/>
              <p:nvPr/>
            </p:nvSpPr>
            <p:spPr>
              <a:xfrm>
                <a:off x="2598991" y="4437112"/>
                <a:ext cx="754169" cy="753333"/>
              </a:xfrm>
              <a:prstGeom prst="ellipse">
                <a:avLst/>
              </a:prstGeom>
              <a:solidFill>
                <a:sysClr val="window" lastClr="FFFFFF">
                  <a:lumMod val="95000"/>
                </a:sysClr>
              </a:solidFill>
              <a:ln w="25400" cap="flat" cmpd="sng" algn="ctr">
                <a:no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0" cap="none" spc="0" normalizeH="0" baseline="0" noProof="0">
                  <a:ln>
                    <a:noFill/>
                  </a:ln>
                  <a:solidFill>
                    <a:srgbClr val="545859"/>
                  </a:solidFill>
                  <a:effectLst/>
                  <a:uLnTx/>
                  <a:uFillTx/>
                  <a:latin typeface="Arial" panose="020B0604020202020204"/>
                  <a:ea typeface="+mn-ea"/>
                  <a:cs typeface="+mn-cs"/>
                </a:endParaRPr>
              </a:p>
            </p:txBody>
          </p:sp>
          <p:pic>
            <p:nvPicPr>
              <p:cNvPr id="34" name="Picture 78">
                <a:extLst>
                  <a:ext uri="{FF2B5EF4-FFF2-40B4-BE49-F238E27FC236}">
                    <a16:creationId xmlns:a16="http://schemas.microsoft.com/office/drawing/2014/main" id="{9D171721-8089-4E93-A749-9B78DCA3502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695518" y="4540611"/>
                <a:ext cx="539431" cy="486624"/>
              </a:xfrm>
              <a:prstGeom prst="rect">
                <a:avLst/>
              </a:prstGeom>
            </p:spPr>
          </p:pic>
        </p:grpSp>
        <p:sp>
          <p:nvSpPr>
            <p:cNvPr id="28" name="TextBox 79">
              <a:extLst>
                <a:ext uri="{FF2B5EF4-FFF2-40B4-BE49-F238E27FC236}">
                  <a16:creationId xmlns:a16="http://schemas.microsoft.com/office/drawing/2014/main" id="{C9EFA7B8-789E-457B-A048-50BE68A3CD3E}"/>
                </a:ext>
              </a:extLst>
            </p:cNvPr>
            <p:cNvSpPr txBox="1"/>
            <p:nvPr/>
          </p:nvSpPr>
          <p:spPr>
            <a:xfrm>
              <a:off x="3688262" y="5738929"/>
              <a:ext cx="1171687" cy="52322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Arial" panose="020B0604020202020204" pitchFamily="34" charset="0"/>
                </a:rPr>
                <a:t>Profil Médical</a:t>
              </a:r>
            </a:p>
          </p:txBody>
        </p:sp>
        <p:grpSp>
          <p:nvGrpSpPr>
            <p:cNvPr id="29" name="Group 80">
              <a:extLst>
                <a:ext uri="{FF2B5EF4-FFF2-40B4-BE49-F238E27FC236}">
                  <a16:creationId xmlns:a16="http://schemas.microsoft.com/office/drawing/2014/main" id="{7D9709E1-D47B-4C55-A821-2A02D4589DBB}"/>
                </a:ext>
              </a:extLst>
            </p:cNvPr>
            <p:cNvGrpSpPr/>
            <p:nvPr/>
          </p:nvGrpSpPr>
          <p:grpSpPr>
            <a:xfrm>
              <a:off x="5137656" y="4935822"/>
              <a:ext cx="754169" cy="753333"/>
              <a:chOff x="4225688" y="5466103"/>
              <a:chExt cx="754169" cy="753333"/>
            </a:xfrm>
          </p:grpSpPr>
          <p:sp>
            <p:nvSpPr>
              <p:cNvPr id="31" name="Oval 81">
                <a:extLst>
                  <a:ext uri="{FF2B5EF4-FFF2-40B4-BE49-F238E27FC236}">
                    <a16:creationId xmlns:a16="http://schemas.microsoft.com/office/drawing/2014/main" id="{29799B1F-3567-4BF8-8243-44F68622D626}"/>
                  </a:ext>
                </a:extLst>
              </p:cNvPr>
              <p:cNvSpPr/>
              <p:nvPr/>
            </p:nvSpPr>
            <p:spPr>
              <a:xfrm>
                <a:off x="4225688" y="5466103"/>
                <a:ext cx="754169" cy="753333"/>
              </a:xfrm>
              <a:prstGeom prst="ellipse">
                <a:avLst/>
              </a:prstGeom>
              <a:solidFill>
                <a:sysClr val="window" lastClr="FFFFFF">
                  <a:lumMod val="95000"/>
                </a:sysClr>
              </a:solidFill>
              <a:ln w="25400" cap="flat" cmpd="sng" algn="ctr">
                <a:no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0" cap="none" spc="0" normalizeH="0" baseline="0" noProof="0">
                  <a:ln>
                    <a:noFill/>
                  </a:ln>
                  <a:solidFill>
                    <a:srgbClr val="545859"/>
                  </a:solidFill>
                  <a:effectLst/>
                  <a:uLnTx/>
                  <a:uFillTx/>
                  <a:latin typeface="Arial" panose="020B0604020202020204"/>
                  <a:ea typeface="+mn-ea"/>
                  <a:cs typeface="+mn-cs"/>
                </a:endParaRPr>
              </a:p>
            </p:txBody>
          </p:sp>
          <p:pic>
            <p:nvPicPr>
              <p:cNvPr id="32" name="Picture 82">
                <a:extLst>
                  <a:ext uri="{FF2B5EF4-FFF2-40B4-BE49-F238E27FC236}">
                    <a16:creationId xmlns:a16="http://schemas.microsoft.com/office/drawing/2014/main" id="{7C68A18A-25F4-4D7A-A698-E1DC5DE2A59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386320" y="5633462"/>
                <a:ext cx="432777" cy="422764"/>
              </a:xfrm>
              <a:prstGeom prst="rect">
                <a:avLst/>
              </a:prstGeom>
            </p:spPr>
          </p:pic>
        </p:grpSp>
        <p:sp>
          <p:nvSpPr>
            <p:cNvPr id="30" name="TextBox 83">
              <a:extLst>
                <a:ext uri="{FF2B5EF4-FFF2-40B4-BE49-F238E27FC236}">
                  <a16:creationId xmlns:a16="http://schemas.microsoft.com/office/drawing/2014/main" id="{890F802F-BD1E-4F7B-BEB7-5476DEFBA732}"/>
                </a:ext>
              </a:extLst>
            </p:cNvPr>
            <p:cNvSpPr txBox="1"/>
            <p:nvPr/>
          </p:nvSpPr>
          <p:spPr>
            <a:xfrm>
              <a:off x="4777008" y="5738928"/>
              <a:ext cx="1475335" cy="52322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Arial" panose="020B0604020202020204" pitchFamily="34" charset="0"/>
                </a:rPr>
                <a:t>Carnet de vaccination</a:t>
              </a:r>
            </a:p>
          </p:txBody>
        </p:sp>
      </p:grpSp>
    </p:spTree>
    <p:extLst>
      <p:ext uri="{BB962C8B-B14F-4D97-AF65-F5344CB8AC3E}">
        <p14:creationId xmlns:p14="http://schemas.microsoft.com/office/powerpoint/2010/main" val="3298937478"/>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074051AE-3FB0-42A0-9E67-BC4161D45144}"/>
              </a:ext>
            </a:extLst>
          </p:cNvPr>
          <p:cNvSpPr>
            <a:spLocks noGrp="1"/>
          </p:cNvSpPr>
          <p:nvPr>
            <p:ph type="title"/>
          </p:nvPr>
        </p:nvSpPr>
        <p:spPr/>
        <p:txBody>
          <a:bodyPr>
            <a:normAutofit/>
          </a:bodyPr>
          <a:lstStyle/>
          <a:p>
            <a:r>
              <a:rPr lang="fr-FR" sz="3500" b="1" spc="-70">
                <a:solidFill>
                  <a:srgbClr val="005C9B"/>
                </a:solidFill>
                <a:latin typeface="Arial" panose="020B0604020202020204" pitchFamily="34" charset="0"/>
                <a:cs typeface="Arial" panose="020B0604020202020204" pitchFamily="34" charset="0"/>
              </a:rPr>
              <a:t>Le dossier médical : </a:t>
            </a:r>
            <a:br>
              <a:rPr lang="fr-FR" sz="3500" b="1" spc="-70">
                <a:solidFill>
                  <a:srgbClr val="005C9B"/>
                </a:solidFill>
                <a:latin typeface="Arial" panose="020B0604020202020204" pitchFamily="34" charset="0"/>
                <a:cs typeface="Arial" panose="020B0604020202020204" pitchFamily="34" charset="0"/>
              </a:rPr>
            </a:br>
            <a:r>
              <a:rPr lang="fr-FR" sz="3500" b="1" spc="-70">
                <a:solidFill>
                  <a:srgbClr val="005C9B"/>
                </a:solidFill>
                <a:latin typeface="Arial" panose="020B0604020202020204" pitchFamily="34" charset="0"/>
                <a:cs typeface="Arial" panose="020B0604020202020204" pitchFamily="34" charset="0"/>
              </a:rPr>
              <a:t>Mon profil médical</a:t>
            </a:r>
          </a:p>
        </p:txBody>
      </p:sp>
      <p:sp>
        <p:nvSpPr>
          <p:cNvPr id="48" name="TextBox 47">
            <a:extLst>
              <a:ext uri="{FF2B5EF4-FFF2-40B4-BE49-F238E27FC236}">
                <a16:creationId xmlns:a16="http://schemas.microsoft.com/office/drawing/2014/main" id="{2C0B23F2-BA54-46A4-985F-F7F707335ACF}"/>
              </a:ext>
            </a:extLst>
          </p:cNvPr>
          <p:cNvSpPr txBox="1"/>
          <p:nvPr/>
        </p:nvSpPr>
        <p:spPr>
          <a:xfrm>
            <a:off x="462456" y="1701382"/>
            <a:ext cx="6904116" cy="2308324"/>
          </a:xfrm>
          <a:prstGeom prst="rect">
            <a:avLst/>
          </a:prstGeom>
          <a:noFill/>
          <a:ln w="12700" cap="flat">
            <a:noFill/>
            <a:miter lim="400000"/>
          </a:ln>
          <a:effectLst/>
          <a:sp3d/>
        </p:spPr>
        <p:txBody>
          <a:bodyPr wrap="square">
            <a:spAutoFit/>
          </a:bodyPr>
          <a:lstStyle/>
          <a:p>
            <a:pPr marL="0" marR="0" lvl="0" indent="0" algn="just" defTabSz="914400" eaLnBrk="0" fontAlgn="base" latinLnBrk="0" hangingPunct="0">
              <a:lnSpc>
                <a:spcPct val="100000"/>
              </a:lnSpc>
              <a:spcBef>
                <a:spcPct val="0"/>
              </a:spcBef>
              <a:spcAft>
                <a:spcPct val="0"/>
              </a:spcAft>
              <a:buClrTx/>
              <a:buSzTx/>
              <a:buFontTx/>
              <a:buNone/>
              <a:tabLst/>
              <a:defRPr/>
            </a:pPr>
            <a:r>
              <a:rPr kumimoji="0" lang="fr-FR" sz="1800" b="0" i="0" u="none" strike="noStrike" kern="0" cap="none" spc="0" normalizeH="0" baseline="0" noProof="0" dirty="0">
                <a:ln>
                  <a:noFill/>
                </a:ln>
                <a:solidFill>
                  <a:srgbClr val="5E5E5E"/>
                </a:solidFill>
                <a:effectLst/>
                <a:uLnTx/>
                <a:uFillTx/>
                <a:latin typeface="Arial" panose="020B0604020202020204"/>
                <a:cs typeface="Arial" panose="020B0604020202020204" pitchFamily="34" charset="0"/>
              </a:rPr>
              <a:t>Le profil médical me permet de </a:t>
            </a:r>
            <a:r>
              <a:rPr kumimoji="0" lang="fr-FR" sz="1800" b="1" i="0" u="none" strike="noStrike" kern="0" cap="none" spc="0" normalizeH="0" baseline="0" noProof="0" dirty="0">
                <a:ln>
                  <a:noFill/>
                </a:ln>
                <a:solidFill>
                  <a:srgbClr val="DF2680"/>
                </a:solidFill>
                <a:effectLst/>
                <a:uLnTx/>
                <a:uFillTx/>
                <a:latin typeface="Arial" panose="020B0604020202020204"/>
                <a:cs typeface="Arial" panose="020B0604020202020204" pitchFamily="34" charset="0"/>
              </a:rPr>
              <a:t>renseigner des informations sur mon état de santé </a:t>
            </a:r>
            <a:r>
              <a:rPr kumimoji="0" lang="fr-FR" sz="1800" b="0" i="0" u="none" strike="noStrike" kern="0" cap="none" spc="0" normalizeH="0" baseline="0" noProof="0" dirty="0">
                <a:ln>
                  <a:noFill/>
                </a:ln>
                <a:solidFill>
                  <a:srgbClr val="5E5E5E"/>
                </a:solidFill>
                <a:effectLst/>
                <a:uLnTx/>
                <a:uFillTx/>
                <a:latin typeface="Arial" panose="020B0604020202020204"/>
                <a:cs typeface="Arial" panose="020B0604020202020204" pitchFamily="34" charset="0"/>
              </a:rPr>
              <a:t>de manière globale (Maladies, traitements en cours ou passés, allergies, antécédents familiaux, habitudes de vie, mesures de santé, etc.) pour en assurer le suivi.</a:t>
            </a:r>
          </a:p>
          <a:p>
            <a:pPr marL="0" marR="0" lvl="0" indent="0" algn="just" defTabSz="914400" eaLnBrk="0" fontAlgn="base" latinLnBrk="0" hangingPunct="0">
              <a:lnSpc>
                <a:spcPct val="100000"/>
              </a:lnSpc>
              <a:spcBef>
                <a:spcPct val="0"/>
              </a:spcBef>
              <a:spcAft>
                <a:spcPct val="0"/>
              </a:spcAft>
              <a:buClrTx/>
              <a:buSzTx/>
              <a:buFontTx/>
              <a:buNone/>
              <a:tabLst/>
              <a:defRPr/>
            </a:pPr>
            <a:endParaRPr kumimoji="0" lang="fr-FR" sz="1800" b="1" i="0" u="none" strike="noStrike" kern="0" cap="none" spc="0" normalizeH="0" baseline="0" noProof="0" dirty="0">
              <a:ln>
                <a:noFill/>
              </a:ln>
              <a:solidFill>
                <a:srgbClr val="5E5E5E"/>
              </a:solidFill>
              <a:effectLst/>
              <a:uLnTx/>
              <a:uFillTx/>
              <a:latin typeface="Arial" panose="020B0604020202020204"/>
              <a:cs typeface="Arial" panose="020B0604020202020204" pitchFamily="34" charset="0"/>
            </a:endParaRPr>
          </a:p>
          <a:p>
            <a:pPr marL="0" marR="0" lvl="0" indent="0" algn="just" defTabSz="914400" eaLnBrk="0" fontAlgn="base" latinLnBrk="0" hangingPunct="0">
              <a:lnSpc>
                <a:spcPct val="100000"/>
              </a:lnSpc>
              <a:spcBef>
                <a:spcPct val="0"/>
              </a:spcBef>
              <a:spcAft>
                <a:spcPct val="0"/>
              </a:spcAft>
              <a:buClrTx/>
              <a:buSzTx/>
              <a:buFontTx/>
              <a:buNone/>
              <a:tabLst/>
              <a:defRPr/>
            </a:pPr>
            <a:r>
              <a:rPr kumimoji="0" lang="fr-FR" sz="1800" b="0" i="0" u="none" strike="noStrike" kern="0" cap="none" spc="0" normalizeH="0" baseline="0" noProof="0" dirty="0">
                <a:ln>
                  <a:noFill/>
                </a:ln>
                <a:solidFill>
                  <a:srgbClr val="5E5E5E"/>
                </a:solidFill>
                <a:effectLst/>
                <a:uLnTx/>
                <a:uFillTx/>
                <a:latin typeface="Arial" panose="020B0604020202020204"/>
                <a:cs typeface="Arial" panose="020B0604020202020204" pitchFamily="34" charset="0"/>
              </a:rPr>
              <a:t>Je peux choisir de </a:t>
            </a:r>
            <a:r>
              <a:rPr kumimoji="0" lang="fr-FR" sz="1800" b="1" i="0" u="none" strike="noStrike" kern="0" cap="none" spc="0" normalizeH="0" baseline="0" noProof="0" dirty="0">
                <a:ln>
                  <a:noFill/>
                </a:ln>
                <a:solidFill>
                  <a:srgbClr val="DF2680"/>
                </a:solidFill>
                <a:effectLst/>
                <a:uLnTx/>
                <a:uFillTx/>
                <a:latin typeface="Arial" panose="020B0604020202020204"/>
                <a:cs typeface="Arial" panose="020B0604020202020204" pitchFamily="34" charset="0"/>
              </a:rPr>
              <a:t>partager une synthèse de mon profil médical avec les professionnels de santé de mon équipe de soin.</a:t>
            </a:r>
            <a:endParaRPr kumimoji="0" lang="fr-FR" sz="1800" b="1" i="0" u="none" strike="noStrike" kern="0" cap="none" spc="0" normalizeH="0" baseline="0" noProof="0" dirty="0">
              <a:ln>
                <a:noFill/>
              </a:ln>
              <a:solidFill>
                <a:srgbClr val="5E5E5E"/>
              </a:solidFill>
              <a:effectLst/>
              <a:uLnTx/>
              <a:uFillTx/>
              <a:latin typeface="Arial" panose="020B0604020202020204"/>
              <a:cs typeface="Arial" panose="020B0604020202020204" pitchFamily="34" charset="0"/>
            </a:endParaRPr>
          </a:p>
        </p:txBody>
      </p:sp>
      <p:sp>
        <p:nvSpPr>
          <p:cNvPr id="50" name="TextBox 49">
            <a:extLst>
              <a:ext uri="{FF2B5EF4-FFF2-40B4-BE49-F238E27FC236}">
                <a16:creationId xmlns:a16="http://schemas.microsoft.com/office/drawing/2014/main" id="{425D4660-C20E-4D90-9113-D4BADB2BB46C}"/>
              </a:ext>
            </a:extLst>
          </p:cNvPr>
          <p:cNvSpPr txBox="1"/>
          <p:nvPr/>
        </p:nvSpPr>
        <p:spPr>
          <a:xfrm>
            <a:off x="3118104" y="5948717"/>
            <a:ext cx="4928615" cy="646331"/>
          </a:xfrm>
          <a:prstGeom prst="rect">
            <a:avLst/>
          </a:prstGeom>
          <a:noFill/>
          <a:ln w="12700" cap="flat">
            <a:noFill/>
            <a:miter lim="400000"/>
          </a:ln>
          <a:effectLst/>
          <a:sp3d/>
        </p:spPr>
        <p:txBody>
          <a:bodyPr wrap="square">
            <a:spAutoFit/>
          </a:bodyPr>
          <a:lstStyle/>
          <a:p>
            <a:pPr marL="0" marR="0" lvl="0" indent="0" algn="just" defTabSz="914400" eaLnBrk="0" fontAlgn="base" latinLnBrk="0" hangingPunct="0">
              <a:lnSpc>
                <a:spcPct val="100000"/>
              </a:lnSpc>
              <a:spcBef>
                <a:spcPct val="0"/>
              </a:spcBef>
              <a:spcAft>
                <a:spcPct val="0"/>
              </a:spcAft>
              <a:buClrTx/>
              <a:buSzTx/>
              <a:buFontTx/>
              <a:buNone/>
              <a:tabLst/>
              <a:defRPr/>
            </a:pPr>
            <a:r>
              <a:rPr lang="fr-FR" kern="0" dirty="0">
                <a:solidFill>
                  <a:srgbClr val="5E5E5E"/>
                </a:solidFill>
                <a:latin typeface="Arial" panose="020B0604020202020204"/>
                <a:cs typeface="Arial" panose="020B0604020202020204" pitchFamily="34" charset="0"/>
              </a:rPr>
              <a:t>Directives anticipées : Volontés sur les conditions de fin de vie</a:t>
            </a:r>
          </a:p>
        </p:txBody>
      </p:sp>
      <p:pic>
        <p:nvPicPr>
          <p:cNvPr id="4" name="Image 3">
            <a:extLst>
              <a:ext uri="{FF2B5EF4-FFF2-40B4-BE49-F238E27FC236}">
                <a16:creationId xmlns:a16="http://schemas.microsoft.com/office/drawing/2014/main" id="{8B9F43C1-0649-8D34-BE87-4D4221A364D3}"/>
              </a:ext>
            </a:extLst>
          </p:cNvPr>
          <p:cNvPicPr>
            <a:picLocks noChangeAspect="1"/>
          </p:cNvPicPr>
          <p:nvPr/>
        </p:nvPicPr>
        <p:blipFill>
          <a:blip r:embed="rId2"/>
          <a:stretch>
            <a:fillRect/>
          </a:stretch>
        </p:blipFill>
        <p:spPr>
          <a:xfrm>
            <a:off x="645255" y="4345786"/>
            <a:ext cx="1820544" cy="1710762"/>
          </a:xfrm>
          <a:prstGeom prst="rect">
            <a:avLst/>
          </a:prstGeom>
        </p:spPr>
      </p:pic>
      <p:pic>
        <p:nvPicPr>
          <p:cNvPr id="5" name="Image 4">
            <a:extLst>
              <a:ext uri="{FF2B5EF4-FFF2-40B4-BE49-F238E27FC236}">
                <a16:creationId xmlns:a16="http://schemas.microsoft.com/office/drawing/2014/main" id="{8FC862A4-C4AA-0DC1-7595-A1C27E416805}"/>
              </a:ext>
            </a:extLst>
          </p:cNvPr>
          <p:cNvPicPr>
            <a:picLocks noChangeAspect="1"/>
          </p:cNvPicPr>
          <p:nvPr/>
        </p:nvPicPr>
        <p:blipFill>
          <a:blip r:embed="rId3"/>
          <a:stretch>
            <a:fillRect/>
          </a:stretch>
        </p:blipFill>
        <p:spPr>
          <a:xfrm>
            <a:off x="8206447" y="1701382"/>
            <a:ext cx="3853471" cy="4964594"/>
          </a:xfrm>
          <a:prstGeom prst="rect">
            <a:avLst/>
          </a:prstGeom>
        </p:spPr>
      </p:pic>
      <p:sp>
        <p:nvSpPr>
          <p:cNvPr id="7" name="TextBox 49">
            <a:extLst>
              <a:ext uri="{FF2B5EF4-FFF2-40B4-BE49-F238E27FC236}">
                <a16:creationId xmlns:a16="http://schemas.microsoft.com/office/drawing/2014/main" id="{52F346DC-1ABF-7C4F-162C-01477FBB3145}"/>
              </a:ext>
            </a:extLst>
          </p:cNvPr>
          <p:cNvSpPr txBox="1"/>
          <p:nvPr/>
        </p:nvSpPr>
        <p:spPr>
          <a:xfrm>
            <a:off x="3197968" y="4539469"/>
            <a:ext cx="4928615" cy="646331"/>
          </a:xfrm>
          <a:prstGeom prst="rect">
            <a:avLst/>
          </a:prstGeom>
          <a:noFill/>
          <a:ln w="12700" cap="flat">
            <a:noFill/>
            <a:miter lim="400000"/>
          </a:ln>
          <a:effectLst/>
          <a:sp3d/>
        </p:spPr>
        <p:txBody>
          <a:bodyPr wrap="square">
            <a:spAutoFit/>
          </a:bodyPr>
          <a:lstStyle/>
          <a:p>
            <a:pPr marL="0" marR="0" lvl="0" indent="0" algn="just" defTabSz="914400" eaLnBrk="0" fontAlgn="base" latinLnBrk="0" hangingPunct="0">
              <a:lnSpc>
                <a:spcPct val="100000"/>
              </a:lnSpc>
              <a:spcBef>
                <a:spcPct val="0"/>
              </a:spcBef>
              <a:spcAft>
                <a:spcPct val="0"/>
              </a:spcAft>
              <a:buClrTx/>
              <a:buSzTx/>
              <a:buFontTx/>
              <a:buNone/>
              <a:tabLst/>
              <a:defRPr/>
            </a:pPr>
            <a:r>
              <a:rPr lang="fr-FR" kern="0" dirty="0">
                <a:solidFill>
                  <a:srgbClr val="5E5E5E"/>
                </a:solidFill>
                <a:latin typeface="Arial" panose="020B0604020202020204"/>
                <a:cs typeface="Arial" panose="020B0604020202020204" pitchFamily="34" charset="0"/>
              </a:rPr>
              <a:t>Questionnaire pour préparer ce RDV avec un pro pour faire le point sur ma santé</a:t>
            </a:r>
          </a:p>
        </p:txBody>
      </p:sp>
    </p:spTree>
    <p:extLst>
      <p:ext uri="{BB962C8B-B14F-4D97-AF65-F5344CB8AC3E}">
        <p14:creationId xmlns:p14="http://schemas.microsoft.com/office/powerpoint/2010/main" val="3794666700"/>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074051AE-3FB0-42A0-9E67-BC4161D45144}"/>
              </a:ext>
            </a:extLst>
          </p:cNvPr>
          <p:cNvSpPr>
            <a:spLocks noGrp="1"/>
          </p:cNvSpPr>
          <p:nvPr>
            <p:ph type="title"/>
          </p:nvPr>
        </p:nvSpPr>
        <p:spPr/>
        <p:txBody>
          <a:bodyPr>
            <a:normAutofit/>
          </a:bodyPr>
          <a:lstStyle/>
          <a:p>
            <a:r>
              <a:rPr lang="fr-FR" sz="3500" b="1" spc="-70" dirty="0">
                <a:solidFill>
                  <a:srgbClr val="005C9B"/>
                </a:solidFill>
                <a:latin typeface="Arial" panose="020B0604020202020204" pitchFamily="34" charset="0"/>
                <a:cs typeface="Arial" panose="020B0604020202020204" pitchFamily="34" charset="0"/>
              </a:rPr>
              <a:t>Le dossier médical : </a:t>
            </a:r>
            <a:br>
              <a:rPr lang="fr-FR" sz="3500" b="1" spc="-70" dirty="0">
                <a:solidFill>
                  <a:srgbClr val="005C9B"/>
                </a:solidFill>
                <a:latin typeface="Arial" panose="020B0604020202020204" pitchFamily="34" charset="0"/>
                <a:cs typeface="Arial" panose="020B0604020202020204" pitchFamily="34" charset="0"/>
              </a:rPr>
            </a:br>
            <a:r>
              <a:rPr lang="fr-FR" sz="3500" b="1" spc="-70" dirty="0">
                <a:solidFill>
                  <a:srgbClr val="005C9B"/>
                </a:solidFill>
                <a:latin typeface="Arial" panose="020B0604020202020204" pitchFamily="34" charset="0"/>
                <a:cs typeface="Arial" panose="020B0604020202020204" pitchFamily="34" charset="0"/>
              </a:rPr>
              <a:t>Vaccinations</a:t>
            </a:r>
          </a:p>
        </p:txBody>
      </p:sp>
      <p:sp>
        <p:nvSpPr>
          <p:cNvPr id="48" name="TextBox 47">
            <a:extLst>
              <a:ext uri="{FF2B5EF4-FFF2-40B4-BE49-F238E27FC236}">
                <a16:creationId xmlns:a16="http://schemas.microsoft.com/office/drawing/2014/main" id="{2C0B23F2-BA54-46A4-985F-F7F707335ACF}"/>
              </a:ext>
            </a:extLst>
          </p:cNvPr>
          <p:cNvSpPr txBox="1"/>
          <p:nvPr/>
        </p:nvSpPr>
        <p:spPr>
          <a:xfrm>
            <a:off x="2734056" y="2231136"/>
            <a:ext cx="8893620" cy="3416320"/>
          </a:xfrm>
          <a:prstGeom prst="rect">
            <a:avLst/>
          </a:prstGeom>
          <a:noFill/>
          <a:ln w="12700" cap="flat">
            <a:noFill/>
            <a:miter lim="400000"/>
          </a:ln>
          <a:effectLst/>
          <a:sp3d/>
        </p:spPr>
        <p:txBody>
          <a:bodyPr wrap="square">
            <a:spAutoFit/>
          </a:bodyPr>
          <a:lstStyle/>
          <a:p>
            <a:pPr marL="0" marR="0" lvl="0" indent="0" algn="just" defTabSz="914400" eaLnBrk="0" fontAlgn="base" latinLnBrk="0" hangingPunct="0">
              <a:lnSpc>
                <a:spcPct val="100000"/>
              </a:lnSpc>
              <a:spcBef>
                <a:spcPct val="0"/>
              </a:spcBef>
              <a:spcAft>
                <a:spcPct val="0"/>
              </a:spcAft>
              <a:buClrTx/>
              <a:buSzTx/>
              <a:buFontTx/>
              <a:buNone/>
              <a:tabLst/>
              <a:defRPr/>
            </a:pPr>
            <a:r>
              <a:rPr kumimoji="0" lang="fr-FR" sz="1800" b="0" i="0" u="none" strike="noStrike" kern="0" cap="none" spc="0" normalizeH="0" baseline="0" noProof="0" dirty="0">
                <a:ln>
                  <a:noFill/>
                </a:ln>
                <a:solidFill>
                  <a:srgbClr val="5E5E5E"/>
                </a:solidFill>
                <a:effectLst/>
                <a:uLnTx/>
                <a:uFillTx/>
                <a:latin typeface="Arial" panose="020B0604020202020204"/>
                <a:cs typeface="Arial" panose="020B0604020202020204" pitchFamily="34" charset="0"/>
              </a:rPr>
              <a:t>Je peux voir mes vaccinations à venir et renseigner celles déjà réalisées. Je retrouve également les vaccinations ajoutées par mes professionnels de santé.</a:t>
            </a:r>
          </a:p>
          <a:p>
            <a:pPr marL="0" marR="0" lvl="0" indent="0" algn="just" defTabSz="914400" eaLnBrk="0" fontAlgn="base" latinLnBrk="0" hangingPunct="0">
              <a:lnSpc>
                <a:spcPct val="100000"/>
              </a:lnSpc>
              <a:spcBef>
                <a:spcPct val="0"/>
              </a:spcBef>
              <a:spcAft>
                <a:spcPct val="0"/>
              </a:spcAft>
              <a:buClrTx/>
              <a:buSzTx/>
              <a:buFontTx/>
              <a:buNone/>
              <a:tabLst/>
              <a:defRPr/>
            </a:pPr>
            <a:endParaRPr kumimoji="0" lang="fr-FR" sz="1800" b="1" i="0" u="none" strike="noStrike" kern="0" cap="none" spc="0" normalizeH="0" baseline="0" noProof="0" dirty="0">
              <a:ln>
                <a:noFill/>
              </a:ln>
              <a:solidFill>
                <a:srgbClr val="5E5E5E"/>
              </a:solidFill>
              <a:effectLst/>
              <a:uLnTx/>
              <a:uFillTx/>
              <a:latin typeface="Arial" panose="020B0604020202020204"/>
              <a:cs typeface="Arial" panose="020B0604020202020204" pitchFamily="34" charset="0"/>
            </a:endParaRPr>
          </a:p>
          <a:p>
            <a:pPr marL="0" marR="0" lvl="0" indent="0" algn="just" defTabSz="914400" eaLnBrk="0" fontAlgn="base" latinLnBrk="0" hangingPunct="0">
              <a:lnSpc>
                <a:spcPct val="100000"/>
              </a:lnSpc>
              <a:spcBef>
                <a:spcPct val="0"/>
              </a:spcBef>
              <a:spcAft>
                <a:spcPct val="0"/>
              </a:spcAft>
              <a:buClrTx/>
              <a:buSzTx/>
              <a:buFontTx/>
              <a:buNone/>
              <a:tabLst/>
              <a:defRPr/>
            </a:pPr>
            <a:r>
              <a:rPr kumimoji="0" lang="fr-FR" sz="1800" b="0" i="0" u="none" strike="noStrike" kern="0" cap="none" spc="0" normalizeH="0" baseline="0" noProof="0" dirty="0">
                <a:ln>
                  <a:noFill/>
                </a:ln>
                <a:solidFill>
                  <a:srgbClr val="5E5E5E"/>
                </a:solidFill>
                <a:effectLst/>
                <a:uLnTx/>
                <a:uFillTx/>
                <a:latin typeface="Arial" panose="020B0604020202020204"/>
                <a:cs typeface="Arial" panose="020B0604020202020204" pitchFamily="34" charset="0"/>
              </a:rPr>
              <a:t>Je retrouve les vaccinations </a:t>
            </a:r>
            <a:r>
              <a:rPr lang="fr-FR" b="1" kern="0" dirty="0">
                <a:solidFill>
                  <a:srgbClr val="DF2680"/>
                </a:solidFill>
                <a:latin typeface="Arial" panose="020B0604020202020204"/>
                <a:cs typeface="Arial" panose="020B0604020202020204" pitchFamily="34" charset="0"/>
              </a:rPr>
              <a:t>recommandées</a:t>
            </a:r>
            <a:r>
              <a:rPr kumimoji="0" lang="fr-FR" sz="1800" b="0" i="0" u="none" strike="noStrike" kern="0" cap="none" spc="0" normalizeH="0" baseline="0" noProof="0" dirty="0">
                <a:ln>
                  <a:noFill/>
                </a:ln>
                <a:solidFill>
                  <a:srgbClr val="5E5E5E"/>
                </a:solidFill>
                <a:effectLst/>
                <a:uLnTx/>
                <a:uFillTx/>
                <a:latin typeface="Arial" panose="020B0604020202020204"/>
                <a:cs typeface="Arial" panose="020B0604020202020204" pitchFamily="34" charset="0"/>
              </a:rPr>
              <a:t> ou </a:t>
            </a:r>
            <a:r>
              <a:rPr lang="fr-FR" b="1" kern="0" dirty="0">
                <a:solidFill>
                  <a:srgbClr val="DF2680"/>
                </a:solidFill>
                <a:latin typeface="Arial" panose="020B0604020202020204"/>
                <a:cs typeface="Arial" panose="020B0604020202020204" pitchFamily="34" charset="0"/>
              </a:rPr>
              <a:t>obligatoires</a:t>
            </a:r>
            <a:r>
              <a:rPr kumimoji="0" lang="fr-FR" sz="1800" b="0" i="0" u="none" strike="noStrike" kern="0" cap="none" spc="0" normalizeH="0" baseline="0" noProof="0" dirty="0">
                <a:ln>
                  <a:noFill/>
                </a:ln>
                <a:solidFill>
                  <a:srgbClr val="5E5E5E"/>
                </a:solidFill>
                <a:effectLst/>
                <a:uLnTx/>
                <a:uFillTx/>
                <a:latin typeface="Arial" panose="020B0604020202020204"/>
                <a:cs typeface="Arial" panose="020B0604020202020204" pitchFamily="34" charset="0"/>
              </a:rPr>
              <a:t> à réaliser prochainement. </a:t>
            </a:r>
          </a:p>
          <a:p>
            <a:pPr marL="0" marR="0" lvl="0" indent="0" algn="just" defTabSz="914400" eaLnBrk="0" fontAlgn="base" latinLnBrk="0" hangingPunct="0">
              <a:lnSpc>
                <a:spcPct val="100000"/>
              </a:lnSpc>
              <a:spcBef>
                <a:spcPct val="0"/>
              </a:spcBef>
              <a:spcAft>
                <a:spcPct val="0"/>
              </a:spcAft>
              <a:buClrTx/>
              <a:buSzTx/>
              <a:buFontTx/>
              <a:buNone/>
              <a:tabLst/>
              <a:defRPr/>
            </a:pPr>
            <a:endParaRPr lang="fr-FR" kern="0" dirty="0">
              <a:solidFill>
                <a:srgbClr val="5E5E5E"/>
              </a:solidFill>
              <a:latin typeface="Arial" panose="020B0604020202020204"/>
              <a:cs typeface="Arial" panose="020B0604020202020204" pitchFamily="34" charset="0"/>
            </a:endParaRPr>
          </a:p>
          <a:p>
            <a:pPr algn="just" eaLnBrk="0" fontAlgn="base" hangingPunct="0">
              <a:spcBef>
                <a:spcPct val="0"/>
              </a:spcBef>
              <a:spcAft>
                <a:spcPct val="0"/>
              </a:spcAft>
              <a:defRPr/>
            </a:pPr>
            <a:r>
              <a:rPr lang="fr-FR" kern="0" dirty="0">
                <a:solidFill>
                  <a:srgbClr val="5E5E5E"/>
                </a:solidFill>
                <a:latin typeface="Arial" panose="020B0604020202020204"/>
                <a:cs typeface="Arial" panose="020B0604020202020204" pitchFamily="34" charset="0"/>
              </a:rPr>
              <a:t>Je retrouve également dans mes vaccinations, mon attestation de vaccination Covid19 si j’ai un schéma vaccinal complet.</a:t>
            </a:r>
          </a:p>
          <a:p>
            <a:pPr marL="0" marR="0" lvl="0" indent="0" algn="just" defTabSz="914400" eaLnBrk="0" fontAlgn="base" latinLnBrk="0" hangingPunct="0">
              <a:lnSpc>
                <a:spcPct val="100000"/>
              </a:lnSpc>
              <a:spcBef>
                <a:spcPct val="0"/>
              </a:spcBef>
              <a:spcAft>
                <a:spcPct val="0"/>
              </a:spcAft>
              <a:buClrTx/>
              <a:buSzTx/>
              <a:buFontTx/>
              <a:buNone/>
              <a:tabLst/>
              <a:defRPr/>
            </a:pPr>
            <a:endParaRPr kumimoji="0" lang="fr-FR" sz="1800" b="0" i="0" u="none" strike="noStrike" kern="0" cap="none" spc="0" normalizeH="0" baseline="0" noProof="0" dirty="0">
              <a:ln>
                <a:noFill/>
              </a:ln>
              <a:solidFill>
                <a:srgbClr val="5E5E5E"/>
              </a:solidFill>
              <a:effectLst/>
              <a:uLnTx/>
              <a:uFillTx/>
              <a:latin typeface="Arial" panose="020B0604020202020204"/>
              <a:cs typeface="Arial" panose="020B0604020202020204" pitchFamily="34" charset="0"/>
            </a:endParaRPr>
          </a:p>
          <a:p>
            <a:pPr marL="0" marR="0" lvl="0" indent="0" algn="just" defTabSz="914400" eaLnBrk="0" fontAlgn="base" latinLnBrk="0" hangingPunct="0">
              <a:lnSpc>
                <a:spcPct val="100000"/>
              </a:lnSpc>
              <a:spcBef>
                <a:spcPct val="0"/>
              </a:spcBef>
              <a:spcAft>
                <a:spcPct val="0"/>
              </a:spcAft>
              <a:buClrTx/>
              <a:buSzTx/>
              <a:buFontTx/>
              <a:buNone/>
              <a:tabLst/>
              <a:defRPr/>
            </a:pPr>
            <a:endParaRPr lang="fr-FR" kern="0" dirty="0">
              <a:solidFill>
                <a:srgbClr val="5E5E5E"/>
              </a:solidFill>
              <a:latin typeface="Arial" panose="020B0604020202020204"/>
              <a:cs typeface="Arial" panose="020B0604020202020204" pitchFamily="34" charset="0"/>
            </a:endParaRPr>
          </a:p>
          <a:p>
            <a:pPr marL="0" marR="0" lvl="0" indent="0" algn="just" defTabSz="914400" eaLnBrk="0" fontAlgn="base" latinLnBrk="0" hangingPunct="0">
              <a:lnSpc>
                <a:spcPct val="100000"/>
              </a:lnSpc>
              <a:spcBef>
                <a:spcPct val="0"/>
              </a:spcBef>
              <a:spcAft>
                <a:spcPct val="0"/>
              </a:spcAft>
              <a:buClrTx/>
              <a:buSzTx/>
              <a:buFontTx/>
              <a:buNone/>
              <a:tabLst/>
              <a:defRPr/>
            </a:pPr>
            <a:r>
              <a:rPr kumimoji="0" lang="fr-FR" sz="1800" b="1" i="0" u="none" strike="noStrike" kern="0" cap="none" spc="0" normalizeH="0" baseline="0" noProof="0" dirty="0">
                <a:ln>
                  <a:noFill/>
                </a:ln>
                <a:solidFill>
                  <a:srgbClr val="5E5E5E"/>
                </a:solidFill>
                <a:effectLst/>
                <a:uLnTx/>
                <a:uFillTx/>
                <a:latin typeface="Arial" panose="020B0604020202020204"/>
                <a:cs typeface="Arial" panose="020B0604020202020204" pitchFamily="34" charset="0"/>
              </a:rPr>
              <a:t>Je peux télécharger et partager l’historique de mes vaccinations réalisées sous un format proche du carnet de santé papier</a:t>
            </a:r>
          </a:p>
        </p:txBody>
      </p:sp>
      <p:pic>
        <p:nvPicPr>
          <p:cNvPr id="6" name="Image 5">
            <a:extLst>
              <a:ext uri="{FF2B5EF4-FFF2-40B4-BE49-F238E27FC236}">
                <a16:creationId xmlns:a16="http://schemas.microsoft.com/office/drawing/2014/main" id="{B247055A-5325-CEF6-CC10-138C3B94E072}"/>
              </a:ext>
            </a:extLst>
          </p:cNvPr>
          <p:cNvPicPr>
            <a:picLocks noChangeAspect="1"/>
          </p:cNvPicPr>
          <p:nvPr/>
        </p:nvPicPr>
        <p:blipFill>
          <a:blip r:embed="rId2"/>
          <a:stretch>
            <a:fillRect/>
          </a:stretch>
        </p:blipFill>
        <p:spPr>
          <a:xfrm>
            <a:off x="398448" y="3036405"/>
            <a:ext cx="1549224" cy="1487255"/>
          </a:xfrm>
          <a:prstGeom prst="rect">
            <a:avLst/>
          </a:prstGeom>
        </p:spPr>
      </p:pic>
    </p:spTree>
    <p:extLst>
      <p:ext uri="{BB962C8B-B14F-4D97-AF65-F5344CB8AC3E}">
        <p14:creationId xmlns:p14="http://schemas.microsoft.com/office/powerpoint/2010/main" val="3066624717"/>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a:extLst>
              <a:ext uri="{FF2B5EF4-FFF2-40B4-BE49-F238E27FC236}">
                <a16:creationId xmlns:a16="http://schemas.microsoft.com/office/drawing/2014/main" id="{9F396323-7A89-7442-94E9-7DF91CA2A4B3}"/>
              </a:ext>
            </a:extLst>
          </p:cNvPr>
          <p:cNvSpPr>
            <a:spLocks noGrp="1"/>
          </p:cNvSpPr>
          <p:nvPr>
            <p:ph type="title"/>
          </p:nvPr>
        </p:nvSpPr>
        <p:spPr>
          <a:xfrm>
            <a:off x="3404302" y="2705100"/>
            <a:ext cx="8617122" cy="2324100"/>
          </a:xfrm>
        </p:spPr>
        <p:txBody>
          <a:bodyPr/>
          <a:lstStyle/>
          <a:p>
            <a:r>
              <a:rPr lang="fr-FR" dirty="0"/>
              <a:t>Introduction</a:t>
            </a:r>
            <a:br>
              <a:rPr lang="fr-FR" dirty="0"/>
            </a:br>
            <a:endParaRPr lang="fr-FR" dirty="0"/>
          </a:p>
        </p:txBody>
      </p:sp>
      <p:sp>
        <p:nvSpPr>
          <p:cNvPr id="6" name="1.">
            <a:extLst>
              <a:ext uri="{FF2B5EF4-FFF2-40B4-BE49-F238E27FC236}">
                <a16:creationId xmlns:a16="http://schemas.microsoft.com/office/drawing/2014/main" id="{A022ABC0-7EE1-1E4D-A697-D33BE5E70E50}"/>
              </a:ext>
            </a:extLst>
          </p:cNvPr>
          <p:cNvSpPr txBox="1"/>
          <p:nvPr/>
        </p:nvSpPr>
        <p:spPr>
          <a:xfrm>
            <a:off x="9287728" y="2809674"/>
            <a:ext cx="2483535" cy="20518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nchor="ctr">
            <a:spAutoFit/>
          </a:bodyPr>
          <a:lstStyle>
            <a:lvl1pPr algn="l">
              <a:defRPr sz="20000" cap="all">
                <a:solidFill>
                  <a:srgbClr val="DB3080"/>
                </a:solidFill>
                <a:latin typeface="+mj-lt"/>
                <a:ea typeface="+mj-ea"/>
                <a:cs typeface="+mj-cs"/>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000" b="0" i="0" u="none" strike="noStrike" kern="1200" cap="all" spc="-300" normalizeH="0" baseline="0" noProof="0">
              <a:ln>
                <a:noFill/>
              </a:ln>
              <a:solidFill>
                <a:srgbClr val="DB3080"/>
              </a:solidFill>
              <a:effectLst/>
              <a:uLnTx/>
              <a:uFillTx/>
              <a:latin typeface="Arial"/>
              <a:cs typeface="Arial"/>
              <a:sym typeface="Arial"/>
            </a:endParaRPr>
          </a:p>
        </p:txBody>
      </p:sp>
    </p:spTree>
    <p:extLst>
      <p:ext uri="{BB962C8B-B14F-4D97-AF65-F5344CB8AC3E}">
        <p14:creationId xmlns:p14="http://schemas.microsoft.com/office/powerpoint/2010/main" val="1684066239"/>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074051AE-3FB0-42A0-9E67-BC4161D45144}"/>
              </a:ext>
            </a:extLst>
          </p:cNvPr>
          <p:cNvSpPr>
            <a:spLocks noGrp="1"/>
          </p:cNvSpPr>
          <p:nvPr>
            <p:ph type="title"/>
          </p:nvPr>
        </p:nvSpPr>
        <p:spPr/>
        <p:txBody>
          <a:bodyPr>
            <a:normAutofit/>
          </a:bodyPr>
          <a:lstStyle/>
          <a:p>
            <a:r>
              <a:rPr lang="fr-FR" sz="3500" b="1" spc="-70">
                <a:solidFill>
                  <a:srgbClr val="005C9B"/>
                </a:solidFill>
                <a:latin typeface="Arial" panose="020B0604020202020204" pitchFamily="34" charset="0"/>
                <a:cs typeface="Arial" panose="020B0604020202020204" pitchFamily="34" charset="0"/>
              </a:rPr>
              <a:t>Le dossier médical : </a:t>
            </a:r>
            <a:br>
              <a:rPr lang="fr-FR" sz="3500" b="1" spc="-70">
                <a:solidFill>
                  <a:srgbClr val="005C9B"/>
                </a:solidFill>
                <a:latin typeface="Arial" panose="020B0604020202020204" pitchFamily="34" charset="0"/>
                <a:cs typeface="Arial" panose="020B0604020202020204" pitchFamily="34" charset="0"/>
              </a:rPr>
            </a:br>
            <a:r>
              <a:rPr lang="fr-FR" sz="3500" b="1" spc="-70">
                <a:solidFill>
                  <a:srgbClr val="005C9B"/>
                </a:solidFill>
                <a:latin typeface="Arial" panose="020B0604020202020204" pitchFamily="34" charset="0"/>
                <a:cs typeface="Arial" panose="020B0604020202020204" pitchFamily="34" charset="0"/>
              </a:rPr>
              <a:t>Mes documents de santé </a:t>
            </a:r>
          </a:p>
        </p:txBody>
      </p:sp>
      <p:sp>
        <p:nvSpPr>
          <p:cNvPr id="43" name="TextBox 42">
            <a:extLst>
              <a:ext uri="{FF2B5EF4-FFF2-40B4-BE49-F238E27FC236}">
                <a16:creationId xmlns:a16="http://schemas.microsoft.com/office/drawing/2014/main" id="{BB6B606F-4B6C-4D5D-BB9F-0E3E0F49A243}"/>
              </a:ext>
            </a:extLst>
          </p:cNvPr>
          <p:cNvSpPr txBox="1"/>
          <p:nvPr/>
        </p:nvSpPr>
        <p:spPr>
          <a:xfrm>
            <a:off x="472965" y="2195549"/>
            <a:ext cx="9369359" cy="3247043"/>
          </a:xfrm>
          <a:prstGeom prst="rect">
            <a:avLst/>
          </a:prstGeom>
          <a:noFill/>
          <a:ln w="12700" cap="flat">
            <a:noFill/>
            <a:miter lim="400000"/>
          </a:ln>
          <a:effectLst/>
          <a:sp3d/>
        </p:spPr>
        <p:txBody>
          <a:bodyPr wrap="square">
            <a:spAutoFit/>
          </a:bodyPr>
          <a:lstStyle/>
          <a:p>
            <a:pPr marL="285750" marR="0" lvl="0" indent="-285750" algn="just" defTabSz="914400" eaLnBrk="0" fontAlgn="base" latinLnBrk="0" hangingPunct="0">
              <a:lnSpc>
                <a:spcPct val="100000"/>
              </a:lnSpc>
              <a:spcBef>
                <a:spcPct val="0"/>
              </a:spcBef>
              <a:spcAft>
                <a:spcPct val="0"/>
              </a:spcAft>
              <a:buClrTx/>
              <a:buSzTx/>
              <a:buFont typeface="Arial" panose="020B0604020202020204" pitchFamily="34" charset="0"/>
              <a:buChar char="•"/>
              <a:tabLst/>
              <a:defRPr/>
            </a:pPr>
            <a:r>
              <a:rPr lang="fr-FR" b="1" u="sng" kern="0" dirty="0">
                <a:solidFill>
                  <a:srgbClr val="5E5E5E"/>
                </a:solidFill>
                <a:latin typeface="Arial" panose="020B0604020202020204"/>
                <a:cs typeface="Arial" panose="020B0604020202020204" pitchFamily="34" charset="0"/>
              </a:rPr>
              <a:t>Je peux désormais : </a:t>
            </a:r>
          </a:p>
          <a:p>
            <a:pPr marL="285750" marR="0" lvl="0" indent="-285750" algn="just" defTabSz="914400" eaLnBrk="0" fontAlgn="base" latinLnBrk="0" hangingPunct="0">
              <a:lnSpc>
                <a:spcPct val="100000"/>
              </a:lnSpc>
              <a:spcBef>
                <a:spcPts val="600"/>
              </a:spcBef>
              <a:spcAft>
                <a:spcPct val="0"/>
              </a:spcAft>
              <a:buClrTx/>
              <a:buSzTx/>
              <a:buFont typeface="Arial" panose="020B0604020202020204" pitchFamily="34" charset="0"/>
              <a:buChar char="•"/>
              <a:tabLst/>
              <a:defRPr/>
            </a:pPr>
            <a:r>
              <a:rPr lang="fr-FR" b="1" kern="0" dirty="0">
                <a:solidFill>
                  <a:srgbClr val="DF2680"/>
                </a:solidFill>
                <a:latin typeface="Arial" panose="020B0604020202020204"/>
                <a:cs typeface="Arial" panose="020B0604020202020204" pitchFamily="34" charset="0"/>
              </a:rPr>
              <a:t>St</a:t>
            </a:r>
            <a:r>
              <a:rPr kumimoji="0" lang="fr-FR" b="1" i="0" u="none" strike="noStrike" kern="0" cap="none" spc="0" normalizeH="0" baseline="0" noProof="0" dirty="0" err="1">
                <a:ln>
                  <a:noFill/>
                </a:ln>
                <a:solidFill>
                  <a:srgbClr val="DF2680"/>
                </a:solidFill>
                <a:effectLst/>
                <a:uLnTx/>
                <a:uFillTx/>
                <a:latin typeface="Arial" panose="020B0604020202020204"/>
                <a:cs typeface="Arial" panose="020B0604020202020204" pitchFamily="34" charset="0"/>
              </a:rPr>
              <a:t>ocker</a:t>
            </a:r>
            <a:r>
              <a:rPr kumimoji="0" lang="fr-FR" b="1" i="0" u="none" strike="noStrike" kern="0" cap="none" spc="0" normalizeH="0" baseline="0" noProof="0" dirty="0">
                <a:ln>
                  <a:noFill/>
                </a:ln>
                <a:solidFill>
                  <a:srgbClr val="DF2680"/>
                </a:solidFill>
                <a:effectLst/>
                <a:uLnTx/>
                <a:uFillTx/>
                <a:latin typeface="Arial" panose="020B0604020202020204"/>
                <a:cs typeface="Arial" panose="020B0604020202020204" pitchFamily="34" charset="0"/>
              </a:rPr>
              <a:t> : </a:t>
            </a:r>
            <a:r>
              <a:rPr lang="fr-FR" kern="0" dirty="0">
                <a:solidFill>
                  <a:srgbClr val="5E5E5E"/>
                </a:solidFill>
                <a:latin typeface="Arial" panose="020B0604020202020204"/>
                <a:cs typeface="Arial" panose="020B0604020202020204" pitchFamily="34" charset="0"/>
              </a:rPr>
              <a:t>Ajouter un document manuellement ou par un PS</a:t>
            </a:r>
          </a:p>
          <a:p>
            <a:pPr marL="285750" marR="0" lvl="0" indent="-285750" algn="just" defTabSz="914400" eaLnBrk="0" fontAlgn="base" latinLnBrk="0" hangingPunct="0">
              <a:lnSpc>
                <a:spcPct val="100000"/>
              </a:lnSpc>
              <a:spcBef>
                <a:spcPts val="600"/>
              </a:spcBef>
              <a:spcAft>
                <a:spcPct val="0"/>
              </a:spcAft>
              <a:buClrTx/>
              <a:buSzTx/>
              <a:buFont typeface="Arial" panose="020B0604020202020204" pitchFamily="34" charset="0"/>
              <a:buChar char="•"/>
              <a:tabLst/>
              <a:defRPr/>
            </a:pPr>
            <a:r>
              <a:rPr lang="fr-FR" b="1" kern="0" dirty="0">
                <a:solidFill>
                  <a:srgbClr val="DF2680"/>
                </a:solidFill>
                <a:latin typeface="Arial" panose="020B0604020202020204"/>
                <a:cs typeface="Arial" panose="020B0604020202020204" pitchFamily="34" charset="0"/>
              </a:rPr>
              <a:t>C</a:t>
            </a:r>
            <a:r>
              <a:rPr kumimoji="0" lang="fr-FR" b="1" i="0" u="none" strike="noStrike" kern="0" cap="none" spc="0" normalizeH="0" baseline="0" noProof="0" dirty="0">
                <a:ln>
                  <a:noFill/>
                </a:ln>
                <a:solidFill>
                  <a:srgbClr val="DF2680"/>
                </a:solidFill>
                <a:effectLst/>
                <a:uLnTx/>
                <a:uFillTx/>
                <a:latin typeface="Arial" panose="020B0604020202020204"/>
                <a:cs typeface="Arial" panose="020B0604020202020204" pitchFamily="34" charset="0"/>
              </a:rPr>
              <a:t>lasser : </a:t>
            </a:r>
            <a:r>
              <a:rPr lang="fr-FR" kern="0" dirty="0">
                <a:solidFill>
                  <a:srgbClr val="5E5E5E"/>
                </a:solidFill>
                <a:latin typeface="Arial" panose="020B0604020202020204"/>
                <a:cs typeface="Arial" panose="020B0604020202020204" pitchFamily="34" charset="0"/>
              </a:rPr>
              <a:t>Je peux épingler un/des document(s), je peux filtrer les résultats ou classer les documents par catégorie, date ou par nom,</a:t>
            </a:r>
          </a:p>
          <a:p>
            <a:pPr marL="285750" marR="0" lvl="0" indent="-285750" algn="just" defTabSz="91440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fr-FR" b="1" i="0" u="none" strike="noStrike" kern="0" cap="none" spc="0" normalizeH="0" baseline="0" noProof="0" dirty="0">
                <a:ln>
                  <a:noFill/>
                </a:ln>
                <a:solidFill>
                  <a:srgbClr val="DF2680"/>
                </a:solidFill>
                <a:effectLst/>
                <a:uLnTx/>
                <a:uFillTx/>
                <a:latin typeface="Arial" panose="020B0604020202020204"/>
                <a:cs typeface="Arial" panose="020B0604020202020204" pitchFamily="34" charset="0"/>
              </a:rPr>
              <a:t>Consulter l’ensemble de mes documents de santé : </a:t>
            </a:r>
            <a:r>
              <a:rPr lang="fr-FR" kern="0" dirty="0">
                <a:solidFill>
                  <a:srgbClr val="5E5E5E"/>
                </a:solidFill>
                <a:latin typeface="Arial" panose="020B0604020202020204"/>
                <a:cs typeface="Arial" panose="020B0604020202020204" pitchFamily="34" charset="0"/>
              </a:rPr>
              <a:t>ordonnances, radios, scanners, échographies, résultats de biologie, comptes rendus, préventions et dépistages, certificats médicaux, synthèse du profil médical, questionnaires de santé</a:t>
            </a:r>
          </a:p>
          <a:p>
            <a:pPr marL="285750" marR="0" lvl="0" indent="-285750" algn="just" defTabSz="91440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fr-FR" sz="1600" b="1" i="0" u="none" strike="noStrike" kern="0" cap="none" spc="0" normalizeH="0" baseline="0" noProof="0" dirty="0">
              <a:ln>
                <a:noFill/>
              </a:ln>
              <a:solidFill>
                <a:srgbClr val="DF2680"/>
              </a:solidFill>
              <a:effectLst/>
              <a:uLnTx/>
              <a:uFillTx/>
              <a:latin typeface="Arial" panose="020B0604020202020204"/>
              <a:cs typeface="Arial" panose="020B0604020202020204" pitchFamily="34" charset="0"/>
            </a:endParaRPr>
          </a:p>
          <a:p>
            <a:pPr marR="0" lvl="0" algn="just" defTabSz="914400" eaLnBrk="0" fontAlgn="base" latinLnBrk="0" hangingPunct="0">
              <a:lnSpc>
                <a:spcPct val="100000"/>
              </a:lnSpc>
              <a:spcBef>
                <a:spcPct val="0"/>
              </a:spcBef>
              <a:spcAft>
                <a:spcPct val="0"/>
              </a:spcAft>
              <a:buClrTx/>
              <a:buSzTx/>
              <a:tabLst/>
              <a:defRPr/>
            </a:pPr>
            <a:r>
              <a:rPr kumimoji="0" lang="fr-FR" sz="1600" b="1" i="0" u="none" strike="noStrike" kern="0" cap="none" spc="0" normalizeH="0" baseline="0" noProof="0" dirty="0">
                <a:ln>
                  <a:noFill/>
                </a:ln>
                <a:solidFill>
                  <a:srgbClr val="5E5E5E"/>
                </a:solidFill>
                <a:effectLst/>
                <a:uLnTx/>
                <a:uFillTx/>
                <a:latin typeface="Arial" panose="020B0604020202020204"/>
                <a:cs typeface="Arial" panose="020B0604020202020204" pitchFamily="34" charset="0"/>
              </a:rPr>
              <a:t>Je retrouve le contenu de mon Dossier Médical Partagé (DMP) si j’en possédais un.</a:t>
            </a:r>
          </a:p>
          <a:p>
            <a:pPr marR="0" lvl="0" algn="just" defTabSz="914400" eaLnBrk="0" fontAlgn="base" latinLnBrk="0" hangingPunct="0">
              <a:lnSpc>
                <a:spcPct val="100000"/>
              </a:lnSpc>
              <a:spcBef>
                <a:spcPct val="0"/>
              </a:spcBef>
              <a:spcAft>
                <a:spcPct val="0"/>
              </a:spcAft>
              <a:buClrTx/>
              <a:buSzTx/>
              <a:tabLst/>
              <a:defRPr/>
            </a:pPr>
            <a:r>
              <a:rPr kumimoji="0" lang="fr-FR" sz="1600" b="1" i="0" u="none" strike="noStrike" kern="0" cap="none" spc="0" normalizeH="0" baseline="0" noProof="0" dirty="0">
                <a:ln>
                  <a:noFill/>
                </a:ln>
                <a:solidFill>
                  <a:srgbClr val="5E5E5E"/>
                </a:solidFill>
                <a:effectLst/>
                <a:uLnTx/>
                <a:uFillTx/>
                <a:latin typeface="Arial" panose="020B0604020202020204"/>
                <a:cs typeface="Arial" panose="020B0604020202020204" pitchFamily="34" charset="0"/>
              </a:rPr>
              <a:t>Mes professionnels de santé peuvent y déposer des documents relatifs à ma santé.</a:t>
            </a:r>
          </a:p>
          <a:p>
            <a:pPr marL="285750" marR="0" lvl="0" indent="-285750" algn="just" defTabSz="91440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fr-FR" sz="1600" b="1" i="0" u="none" strike="noStrike" kern="0" cap="none" spc="0" normalizeH="0" baseline="0" noProof="0" dirty="0">
              <a:ln>
                <a:noFill/>
              </a:ln>
              <a:solidFill>
                <a:srgbClr val="5E5E5E"/>
              </a:solidFill>
              <a:effectLst/>
              <a:uLnTx/>
              <a:uFillTx/>
              <a:latin typeface="Arial" panose="020B0604020202020204"/>
              <a:cs typeface="Arial" panose="020B0604020202020204" pitchFamily="34" charset="0"/>
            </a:endParaRPr>
          </a:p>
        </p:txBody>
      </p:sp>
      <p:sp>
        <p:nvSpPr>
          <p:cNvPr id="44" name="TextBox 43">
            <a:extLst>
              <a:ext uri="{FF2B5EF4-FFF2-40B4-BE49-F238E27FC236}">
                <a16:creationId xmlns:a16="http://schemas.microsoft.com/office/drawing/2014/main" id="{D4F235DC-AA80-417E-8DE2-133EE959785B}"/>
              </a:ext>
            </a:extLst>
          </p:cNvPr>
          <p:cNvSpPr txBox="1"/>
          <p:nvPr/>
        </p:nvSpPr>
        <p:spPr>
          <a:xfrm>
            <a:off x="462455" y="1721930"/>
            <a:ext cx="11008644" cy="369332"/>
          </a:xfrm>
          <a:prstGeom prst="rect">
            <a:avLst/>
          </a:prstGeom>
          <a:noFill/>
          <a:ln w="12700" cap="flat">
            <a:noFill/>
            <a:miter lim="400000"/>
          </a:ln>
          <a:effectLst/>
          <a:sp3d/>
        </p:spPr>
        <p:txBody>
          <a:bodyPr wrap="square">
            <a:spAutoFit/>
          </a:bodyPr>
          <a:lstStyle/>
          <a:p>
            <a:pPr marL="0" marR="0" lvl="0" indent="0" algn="just" defTabSz="914400" eaLnBrk="0" fontAlgn="base" latinLnBrk="0" hangingPunct="0">
              <a:lnSpc>
                <a:spcPct val="100000"/>
              </a:lnSpc>
              <a:spcBef>
                <a:spcPct val="0"/>
              </a:spcBef>
              <a:spcAft>
                <a:spcPct val="0"/>
              </a:spcAft>
              <a:buClrTx/>
              <a:buSzTx/>
              <a:buFontTx/>
              <a:buNone/>
              <a:tabLst/>
              <a:defRPr/>
            </a:pPr>
            <a:r>
              <a:rPr kumimoji="0" lang="fr-FR" sz="1800" b="0" i="0" u="none" strike="noStrike" kern="0" cap="none" spc="0" normalizeH="0" baseline="0" noProof="0" dirty="0">
                <a:ln>
                  <a:noFill/>
                </a:ln>
                <a:solidFill>
                  <a:srgbClr val="5E5E5E"/>
                </a:solidFill>
                <a:effectLst/>
                <a:uLnTx/>
                <a:uFillTx/>
                <a:latin typeface="Arial" panose="020B0604020202020204"/>
                <a:cs typeface="Arial" panose="020B0604020202020204" pitchFamily="34" charset="0"/>
              </a:rPr>
              <a:t>Dans la rubrique Documents, je retrouve l’ensemble de mes </a:t>
            </a:r>
            <a:r>
              <a:rPr kumimoji="0" lang="fr-FR" sz="1800" b="1" i="0" u="none" strike="noStrike" kern="0" cap="none" spc="0" normalizeH="0" baseline="0" noProof="0" dirty="0">
                <a:ln>
                  <a:noFill/>
                </a:ln>
                <a:solidFill>
                  <a:srgbClr val="DF2680"/>
                </a:solidFill>
                <a:effectLst/>
                <a:uLnTx/>
                <a:uFillTx/>
                <a:latin typeface="Arial" panose="020B0604020202020204"/>
                <a:cs typeface="Arial" panose="020B0604020202020204" pitchFamily="34" charset="0"/>
              </a:rPr>
              <a:t>documents de santé </a:t>
            </a:r>
            <a:r>
              <a:rPr kumimoji="0" lang="fr-FR" sz="1800" b="0" i="0" u="none" strike="noStrike" kern="0" cap="none" spc="0" normalizeH="0" baseline="0" noProof="0" dirty="0">
                <a:ln>
                  <a:noFill/>
                </a:ln>
                <a:solidFill>
                  <a:srgbClr val="5E5E5E"/>
                </a:solidFill>
                <a:effectLst/>
                <a:uLnTx/>
                <a:uFillTx/>
                <a:latin typeface="Arial" panose="020B0604020202020204"/>
                <a:cs typeface="Arial" panose="020B0604020202020204" pitchFamily="34" charset="0"/>
              </a:rPr>
              <a:t>pour ne plus les perdre. </a:t>
            </a:r>
          </a:p>
        </p:txBody>
      </p:sp>
      <p:pic>
        <p:nvPicPr>
          <p:cNvPr id="4" name="Image 3">
            <a:extLst>
              <a:ext uri="{FF2B5EF4-FFF2-40B4-BE49-F238E27FC236}">
                <a16:creationId xmlns:a16="http://schemas.microsoft.com/office/drawing/2014/main" id="{0E60FB8B-D3AB-6CEF-374B-2FB4AC1C2826}"/>
              </a:ext>
            </a:extLst>
          </p:cNvPr>
          <p:cNvPicPr>
            <a:picLocks noChangeAspect="1"/>
          </p:cNvPicPr>
          <p:nvPr/>
        </p:nvPicPr>
        <p:blipFill>
          <a:blip r:embed="rId2"/>
          <a:stretch>
            <a:fillRect/>
          </a:stretch>
        </p:blipFill>
        <p:spPr>
          <a:xfrm>
            <a:off x="10029911" y="4190616"/>
            <a:ext cx="1628775" cy="1724025"/>
          </a:xfrm>
          <a:prstGeom prst="rect">
            <a:avLst/>
          </a:prstGeom>
        </p:spPr>
      </p:pic>
      <p:sp>
        <p:nvSpPr>
          <p:cNvPr id="5" name="ZoneTexte 4">
            <a:extLst>
              <a:ext uri="{FF2B5EF4-FFF2-40B4-BE49-F238E27FC236}">
                <a16:creationId xmlns:a16="http://schemas.microsoft.com/office/drawing/2014/main" id="{77BB3715-C8EF-F69E-D976-EB8ED4F481B5}"/>
              </a:ext>
            </a:extLst>
          </p:cNvPr>
          <p:cNvSpPr txBox="1"/>
          <p:nvPr/>
        </p:nvSpPr>
        <p:spPr>
          <a:xfrm>
            <a:off x="1089255" y="5223713"/>
            <a:ext cx="8136778" cy="646331"/>
          </a:xfrm>
          <a:prstGeom prst="rect">
            <a:avLst/>
          </a:prstGeom>
          <a:noFill/>
        </p:spPr>
        <p:txBody>
          <a:bodyPr wrap="square" rtlCol="0">
            <a:spAutoFit/>
          </a:bodyPr>
          <a:lstStyle/>
          <a:p>
            <a:pPr algn="ctr"/>
            <a:r>
              <a:rPr kumimoji="0" lang="fr-FR" sz="1800" b="0" i="0" u="none" strike="noStrike" kern="0" cap="none" spc="0" normalizeH="0" baseline="0" noProof="0" dirty="0">
                <a:ln>
                  <a:noFill/>
                </a:ln>
                <a:solidFill>
                  <a:srgbClr val="5E5E5E"/>
                </a:solidFill>
                <a:effectLst/>
                <a:uLnTx/>
                <a:uFillTx/>
                <a:latin typeface="Arial" panose="020B0604020202020204"/>
                <a:cs typeface="Arial" panose="020B0604020202020204" pitchFamily="34" charset="0"/>
              </a:rPr>
              <a:t>A terme mes documents pourront être alimentés par un éventuel aidant ou des applications du catalogue de services</a:t>
            </a:r>
          </a:p>
        </p:txBody>
      </p:sp>
      <p:pic>
        <p:nvPicPr>
          <p:cNvPr id="7" name="Image 6">
            <a:extLst>
              <a:ext uri="{FF2B5EF4-FFF2-40B4-BE49-F238E27FC236}">
                <a16:creationId xmlns:a16="http://schemas.microsoft.com/office/drawing/2014/main" id="{5BBF3F61-CA44-92C5-9F55-5C9ADD92D36F}"/>
              </a:ext>
            </a:extLst>
          </p:cNvPr>
          <p:cNvPicPr>
            <a:picLocks noChangeAspect="1"/>
          </p:cNvPicPr>
          <p:nvPr/>
        </p:nvPicPr>
        <p:blipFill>
          <a:blip r:embed="rId3"/>
          <a:stretch>
            <a:fillRect/>
          </a:stretch>
        </p:blipFill>
        <p:spPr>
          <a:xfrm>
            <a:off x="2280602" y="5870044"/>
            <a:ext cx="7372350" cy="742950"/>
          </a:xfrm>
          <a:prstGeom prst="rect">
            <a:avLst/>
          </a:prstGeom>
        </p:spPr>
      </p:pic>
    </p:spTree>
    <p:extLst>
      <p:ext uri="{BB962C8B-B14F-4D97-AF65-F5344CB8AC3E}">
        <p14:creationId xmlns:p14="http://schemas.microsoft.com/office/powerpoint/2010/main" val="1241029991"/>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84DB1D09-9375-4803-86C0-CB0883E4C625}"/>
              </a:ext>
            </a:extLst>
          </p:cNvPr>
          <p:cNvSpPr>
            <a:spLocks noGrp="1"/>
          </p:cNvSpPr>
          <p:nvPr>
            <p:ph type="title"/>
          </p:nvPr>
        </p:nvSpPr>
        <p:spPr/>
        <p:txBody>
          <a:bodyPr>
            <a:normAutofit/>
          </a:bodyPr>
          <a:lstStyle/>
          <a:p>
            <a:r>
              <a:rPr lang="fr-FR" sz="3500" b="1" spc="-70">
                <a:solidFill>
                  <a:srgbClr val="005C9B"/>
                </a:solidFill>
                <a:latin typeface="Arial" panose="020B0604020202020204" pitchFamily="34" charset="0"/>
                <a:cs typeface="Arial" panose="020B0604020202020204" pitchFamily="34" charset="0"/>
              </a:rPr>
              <a:t>La messagerie de santé </a:t>
            </a:r>
          </a:p>
        </p:txBody>
      </p:sp>
      <p:sp>
        <p:nvSpPr>
          <p:cNvPr id="20" name="TextBox 67">
            <a:extLst>
              <a:ext uri="{FF2B5EF4-FFF2-40B4-BE49-F238E27FC236}">
                <a16:creationId xmlns:a16="http://schemas.microsoft.com/office/drawing/2014/main" id="{2B3965DE-FFEA-49E4-96D8-768353112166}"/>
              </a:ext>
            </a:extLst>
          </p:cNvPr>
          <p:cNvSpPr txBox="1"/>
          <p:nvPr/>
        </p:nvSpPr>
        <p:spPr>
          <a:xfrm>
            <a:off x="411363" y="1897681"/>
            <a:ext cx="8979259" cy="400110"/>
          </a:xfrm>
          <a:prstGeom prst="rect">
            <a:avLst/>
          </a:prstGeom>
          <a:noFill/>
        </p:spPr>
        <p:txBody>
          <a:bodyPr wrap="square" rtlCol="0">
            <a:spAutoFit/>
          </a:bodyPr>
          <a:lstStyle/>
          <a:p>
            <a:pPr eaLnBrk="0" fontAlgn="base" hangingPunct="0">
              <a:spcBef>
                <a:spcPct val="0"/>
              </a:spcBef>
              <a:spcAft>
                <a:spcPct val="0"/>
              </a:spcAft>
            </a:pPr>
            <a:r>
              <a:rPr lang="fr-FR" sz="2000" dirty="0">
                <a:solidFill>
                  <a:srgbClr val="545859"/>
                </a:solidFill>
                <a:latin typeface="Arial" panose="020B0604020202020204"/>
                <a:cs typeface="Arial" panose="020B0604020202020204" pitchFamily="34" charset="0"/>
              </a:rPr>
              <a:t>La</a:t>
            </a:r>
            <a:r>
              <a:rPr lang="fr-FR" sz="2000" dirty="0">
                <a:solidFill>
                  <a:srgbClr val="333333"/>
                </a:solidFill>
                <a:latin typeface="Arial" panose="020B0604020202020204"/>
                <a:cs typeface="Arial" panose="020B0604020202020204" pitchFamily="34" charset="0"/>
              </a:rPr>
              <a:t> </a:t>
            </a:r>
            <a:r>
              <a:rPr lang="fr-FR" sz="2000" b="1" dirty="0">
                <a:solidFill>
                  <a:srgbClr val="007FAD"/>
                </a:solidFill>
                <a:latin typeface="Arial" panose="020B0604020202020204"/>
                <a:cs typeface="Arial" panose="020B0604020202020204" pitchFamily="34" charset="0"/>
              </a:rPr>
              <a:t>Messagerie</a:t>
            </a:r>
            <a:r>
              <a:rPr lang="fr-FR" sz="2000" dirty="0">
                <a:solidFill>
                  <a:srgbClr val="333333"/>
                </a:solidFill>
                <a:latin typeface="Arial" panose="020B0604020202020204"/>
                <a:cs typeface="Arial" panose="020B0604020202020204" pitchFamily="34" charset="0"/>
              </a:rPr>
              <a:t> </a:t>
            </a:r>
            <a:r>
              <a:rPr lang="fr-FR" sz="2000" dirty="0">
                <a:solidFill>
                  <a:srgbClr val="545859"/>
                </a:solidFill>
                <a:latin typeface="Arial" panose="020B0604020202020204"/>
                <a:cs typeface="Arial" panose="020B0604020202020204" pitchFamily="34" charset="0"/>
              </a:rPr>
              <a:t>permet à l’usager d’échanger et d’être notifié d’événements :</a:t>
            </a:r>
          </a:p>
        </p:txBody>
      </p:sp>
      <p:grpSp>
        <p:nvGrpSpPr>
          <p:cNvPr id="21" name="Group 1">
            <a:extLst>
              <a:ext uri="{FF2B5EF4-FFF2-40B4-BE49-F238E27FC236}">
                <a16:creationId xmlns:a16="http://schemas.microsoft.com/office/drawing/2014/main" id="{663B7239-8C8A-4CA8-9E57-C779E5961B80}"/>
              </a:ext>
            </a:extLst>
          </p:cNvPr>
          <p:cNvGrpSpPr/>
          <p:nvPr/>
        </p:nvGrpSpPr>
        <p:grpSpPr>
          <a:xfrm>
            <a:off x="1161891" y="2517331"/>
            <a:ext cx="6275344" cy="1211451"/>
            <a:chOff x="1162766" y="2376773"/>
            <a:chExt cx="6275344" cy="1211451"/>
          </a:xfrm>
        </p:grpSpPr>
        <p:sp>
          <p:nvSpPr>
            <p:cNvPr id="22" name="TextBox 25">
              <a:extLst>
                <a:ext uri="{FF2B5EF4-FFF2-40B4-BE49-F238E27FC236}">
                  <a16:creationId xmlns:a16="http://schemas.microsoft.com/office/drawing/2014/main" id="{AE0C2300-2C20-4755-ACE6-60B9627A44A2}"/>
                </a:ext>
              </a:extLst>
            </p:cNvPr>
            <p:cNvSpPr txBox="1"/>
            <p:nvPr/>
          </p:nvSpPr>
          <p:spPr>
            <a:xfrm>
              <a:off x="4901868" y="2376773"/>
              <a:ext cx="2536242" cy="523220"/>
            </a:xfrm>
            <a:prstGeom prst="rect">
              <a:avLst/>
            </a:prstGeom>
            <a:noFill/>
          </p:spPr>
          <p:txBody>
            <a:bodyPr wrap="square" rtlCol="0">
              <a:spAutoFit/>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fr-FR" sz="1400" b="0" i="0" u="none" strike="noStrike" kern="0" cap="none" spc="0" normalizeH="0" baseline="0" noProof="0" dirty="0">
                  <a:ln>
                    <a:noFill/>
                  </a:ln>
                  <a:solidFill>
                    <a:srgbClr val="545859"/>
                  </a:solidFill>
                  <a:effectLst/>
                  <a:uLnTx/>
                  <a:uFillTx/>
                  <a:latin typeface="Arial" panose="020B0604020202020204"/>
                  <a:cs typeface="Arial" panose="020B0604020202020204" pitchFamily="34" charset="0"/>
                </a:rPr>
                <a:t>Des échanges avec son cercle de soin</a:t>
              </a:r>
            </a:p>
          </p:txBody>
        </p:sp>
        <p:sp>
          <p:nvSpPr>
            <p:cNvPr id="23" name="TextBox 26">
              <a:extLst>
                <a:ext uri="{FF2B5EF4-FFF2-40B4-BE49-F238E27FC236}">
                  <a16:creationId xmlns:a16="http://schemas.microsoft.com/office/drawing/2014/main" id="{11962C61-F692-44F4-9946-2D30F2D6F660}"/>
                </a:ext>
              </a:extLst>
            </p:cNvPr>
            <p:cNvSpPr txBox="1"/>
            <p:nvPr/>
          </p:nvSpPr>
          <p:spPr>
            <a:xfrm>
              <a:off x="1711863" y="2390933"/>
              <a:ext cx="2323016" cy="523220"/>
            </a:xfrm>
            <a:prstGeom prst="rect">
              <a:avLst/>
            </a:prstGeom>
            <a:noFill/>
          </p:spPr>
          <p:txBody>
            <a:bodyPr wrap="square" rtlCol="0">
              <a:spAutoFit/>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fr-FR" sz="1400" b="0" i="0" u="none" strike="noStrike" kern="0" cap="none" spc="0" normalizeH="0" baseline="0" noProof="0" dirty="0">
                  <a:ln>
                    <a:noFill/>
                  </a:ln>
                  <a:solidFill>
                    <a:srgbClr val="545859"/>
                  </a:solidFill>
                  <a:effectLst/>
                  <a:uLnTx/>
                  <a:uFillTx/>
                  <a:latin typeface="Arial" panose="020B0604020202020204"/>
                  <a:cs typeface="Arial" panose="020B0604020202020204" pitchFamily="34" charset="0"/>
                </a:rPr>
                <a:t>Une messagerie sécurisée et facile d’usage</a:t>
              </a:r>
            </a:p>
          </p:txBody>
        </p:sp>
        <p:sp>
          <p:nvSpPr>
            <p:cNvPr id="24" name="TextBox 27">
              <a:extLst>
                <a:ext uri="{FF2B5EF4-FFF2-40B4-BE49-F238E27FC236}">
                  <a16:creationId xmlns:a16="http://schemas.microsoft.com/office/drawing/2014/main" id="{BECD99D4-2492-44D1-BAE7-076152C80472}"/>
                </a:ext>
              </a:extLst>
            </p:cNvPr>
            <p:cNvSpPr txBox="1"/>
            <p:nvPr/>
          </p:nvSpPr>
          <p:spPr>
            <a:xfrm>
              <a:off x="1759255" y="3065004"/>
              <a:ext cx="2078771" cy="523220"/>
            </a:xfrm>
            <a:prstGeom prst="rect">
              <a:avLst/>
            </a:prstGeom>
            <a:noFill/>
          </p:spPr>
          <p:txBody>
            <a:bodyPr wrap="square" rtlCol="0">
              <a:spAutoFit/>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fr-FR" sz="1400" b="0" i="0" u="none" strike="noStrike" kern="0" cap="none" spc="0" normalizeH="0" baseline="0" noProof="0">
                  <a:ln>
                    <a:noFill/>
                  </a:ln>
                  <a:solidFill>
                    <a:srgbClr val="545859"/>
                  </a:solidFill>
                  <a:effectLst/>
                  <a:uLnTx/>
                  <a:uFillTx/>
                  <a:latin typeface="Arial" panose="020B0604020202020204"/>
                  <a:cs typeface="Arial" panose="020B0604020202020204" pitchFamily="34" charset="0"/>
                </a:rPr>
                <a:t>Envoi et réception de pièces jointes </a:t>
              </a:r>
            </a:p>
          </p:txBody>
        </p:sp>
        <p:sp>
          <p:nvSpPr>
            <p:cNvPr id="25" name="Ellipse 24">
              <a:extLst>
                <a:ext uri="{FF2B5EF4-FFF2-40B4-BE49-F238E27FC236}">
                  <a16:creationId xmlns:a16="http://schemas.microsoft.com/office/drawing/2014/main" id="{0B9C04ED-9EBB-4981-963A-65B9B72C4DBA}"/>
                </a:ext>
              </a:extLst>
            </p:cNvPr>
            <p:cNvSpPr/>
            <p:nvPr/>
          </p:nvSpPr>
          <p:spPr>
            <a:xfrm>
              <a:off x="1163168" y="2381648"/>
              <a:ext cx="522126" cy="490194"/>
            </a:xfrm>
            <a:prstGeom prst="ellipse">
              <a:avLst/>
            </a:prstGeom>
            <a:solidFill>
              <a:srgbClr val="DF2680"/>
            </a:solidFill>
            <a:ln w="9525" cap="flat" cmpd="sng" algn="ctr">
              <a:no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srgbClr val="545859"/>
                </a:solidFill>
                <a:effectLst/>
                <a:uLnTx/>
                <a:uFillTx/>
                <a:latin typeface="Arial" panose="020B0604020202020204"/>
                <a:ea typeface="+mn-ea"/>
                <a:cs typeface="+mn-cs"/>
              </a:endParaRPr>
            </a:p>
          </p:txBody>
        </p:sp>
        <p:sp>
          <p:nvSpPr>
            <p:cNvPr id="26" name="Ellipse 25">
              <a:extLst>
                <a:ext uri="{FF2B5EF4-FFF2-40B4-BE49-F238E27FC236}">
                  <a16:creationId xmlns:a16="http://schemas.microsoft.com/office/drawing/2014/main" id="{6D468E1E-C755-4C57-BF20-1AE4B8D8BD37}"/>
                </a:ext>
              </a:extLst>
            </p:cNvPr>
            <p:cNvSpPr/>
            <p:nvPr/>
          </p:nvSpPr>
          <p:spPr>
            <a:xfrm>
              <a:off x="4300639" y="2389395"/>
              <a:ext cx="522126" cy="490194"/>
            </a:xfrm>
            <a:prstGeom prst="ellipse">
              <a:avLst/>
            </a:prstGeom>
            <a:solidFill>
              <a:srgbClr val="DF2680"/>
            </a:solidFill>
            <a:ln w="9525" cap="flat" cmpd="sng" algn="ctr">
              <a:no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srgbClr val="E85FEB"/>
                </a:solidFill>
                <a:effectLst/>
                <a:uLnTx/>
                <a:uFillTx/>
                <a:latin typeface="Arial" panose="020B0604020202020204"/>
                <a:ea typeface="+mn-ea"/>
                <a:cs typeface="+mn-cs"/>
              </a:endParaRPr>
            </a:p>
          </p:txBody>
        </p:sp>
        <p:sp>
          <p:nvSpPr>
            <p:cNvPr id="27" name="Ellipse 26">
              <a:extLst>
                <a:ext uri="{FF2B5EF4-FFF2-40B4-BE49-F238E27FC236}">
                  <a16:creationId xmlns:a16="http://schemas.microsoft.com/office/drawing/2014/main" id="{7E6E5225-CA00-4019-9F5D-5015072559C8}"/>
                </a:ext>
              </a:extLst>
            </p:cNvPr>
            <p:cNvSpPr/>
            <p:nvPr/>
          </p:nvSpPr>
          <p:spPr>
            <a:xfrm>
              <a:off x="1162766" y="3081517"/>
              <a:ext cx="522126" cy="490194"/>
            </a:xfrm>
            <a:prstGeom prst="ellipse">
              <a:avLst/>
            </a:prstGeom>
            <a:solidFill>
              <a:srgbClr val="DF2680"/>
            </a:solidFill>
            <a:ln w="9525" cap="flat" cmpd="sng" algn="ctr">
              <a:no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srgbClr val="545859"/>
                </a:solidFill>
                <a:effectLst/>
                <a:uLnTx/>
                <a:uFillTx/>
                <a:latin typeface="Arial" panose="020B0604020202020204"/>
                <a:ea typeface="+mn-ea"/>
                <a:cs typeface="+mn-cs"/>
              </a:endParaRPr>
            </a:p>
          </p:txBody>
        </p:sp>
        <p:pic>
          <p:nvPicPr>
            <p:cNvPr id="28" name="Graphic 68">
              <a:extLst>
                <a:ext uri="{FF2B5EF4-FFF2-40B4-BE49-F238E27FC236}">
                  <a16:creationId xmlns:a16="http://schemas.microsoft.com/office/drawing/2014/main" id="{3DC5CD80-C4D2-49EE-9C2E-BF832A7E22C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5770" y="2458685"/>
              <a:ext cx="356119" cy="356119"/>
            </a:xfrm>
            <a:prstGeom prst="rect">
              <a:avLst/>
            </a:prstGeom>
          </p:spPr>
        </p:pic>
        <p:pic>
          <p:nvPicPr>
            <p:cNvPr id="29" name="Graphic 69">
              <a:extLst>
                <a:ext uri="{FF2B5EF4-FFF2-40B4-BE49-F238E27FC236}">
                  <a16:creationId xmlns:a16="http://schemas.microsoft.com/office/drawing/2014/main" id="{45DA19EB-3947-4904-BD3A-DD222EAA5A24}"/>
                </a:ext>
              </a:extLst>
            </p:cNvPr>
            <p:cNvPicPr>
              <a:picLocks noChangeAspect="1"/>
            </p:cNvPicPr>
            <p:nvPr/>
          </p:nvPicPr>
          <p:blipFill>
            <a:blip r:embed="rId4" cstate="email">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84495" y="2458780"/>
              <a:ext cx="358574" cy="358574"/>
            </a:xfrm>
            <a:prstGeom prst="rect">
              <a:avLst/>
            </a:prstGeom>
          </p:spPr>
        </p:pic>
        <p:sp>
          <p:nvSpPr>
            <p:cNvPr id="30" name="Figure">
              <a:extLst>
                <a:ext uri="{FF2B5EF4-FFF2-40B4-BE49-F238E27FC236}">
                  <a16:creationId xmlns:a16="http://schemas.microsoft.com/office/drawing/2014/main" id="{76A3BC26-6868-4A68-8ADC-32D512221456}"/>
                </a:ext>
              </a:extLst>
            </p:cNvPr>
            <p:cNvSpPr/>
            <p:nvPr/>
          </p:nvSpPr>
          <p:spPr>
            <a:xfrm>
              <a:off x="1294525" y="3138034"/>
              <a:ext cx="239376" cy="338554"/>
            </a:xfrm>
            <a:custGeom>
              <a:avLst/>
              <a:gdLst/>
              <a:ahLst/>
              <a:cxnLst>
                <a:cxn ang="0">
                  <a:pos x="wd2" y="hd2"/>
                </a:cxn>
                <a:cxn ang="5400000">
                  <a:pos x="wd2" y="hd2"/>
                </a:cxn>
                <a:cxn ang="10800000">
                  <a:pos x="wd2" y="hd2"/>
                </a:cxn>
                <a:cxn ang="16200000">
                  <a:pos x="wd2" y="hd2"/>
                </a:cxn>
              </a:cxnLst>
              <a:rect l="0" t="0" r="r" b="b"/>
              <a:pathLst>
                <a:path w="21600" h="21600" extrusionOk="0">
                  <a:moveTo>
                    <a:pt x="5400" y="4909"/>
                  </a:moveTo>
                  <a:cubicBezTo>
                    <a:pt x="5586" y="4909"/>
                    <a:pt x="5755" y="4855"/>
                    <a:pt x="5877" y="4765"/>
                  </a:cubicBezTo>
                  <a:lnTo>
                    <a:pt x="10125" y="1676"/>
                  </a:lnTo>
                  <a:lnTo>
                    <a:pt x="10125" y="17182"/>
                  </a:lnTo>
                  <a:cubicBezTo>
                    <a:pt x="10125" y="17453"/>
                    <a:pt x="10428" y="17673"/>
                    <a:pt x="10800" y="17673"/>
                  </a:cubicBezTo>
                  <a:cubicBezTo>
                    <a:pt x="11172" y="17673"/>
                    <a:pt x="11475" y="17453"/>
                    <a:pt x="11475" y="17182"/>
                  </a:cubicBezTo>
                  <a:lnTo>
                    <a:pt x="11475" y="1676"/>
                  </a:lnTo>
                  <a:lnTo>
                    <a:pt x="15723" y="4765"/>
                  </a:lnTo>
                  <a:cubicBezTo>
                    <a:pt x="15845" y="4855"/>
                    <a:pt x="16014" y="4909"/>
                    <a:pt x="16200" y="4909"/>
                  </a:cubicBezTo>
                  <a:cubicBezTo>
                    <a:pt x="16572" y="4909"/>
                    <a:pt x="16875" y="4690"/>
                    <a:pt x="16875" y="4418"/>
                  </a:cubicBezTo>
                  <a:cubicBezTo>
                    <a:pt x="16875" y="4283"/>
                    <a:pt x="16800" y="4161"/>
                    <a:pt x="16677" y="4071"/>
                  </a:cubicBezTo>
                  <a:lnTo>
                    <a:pt x="11277" y="144"/>
                  </a:lnTo>
                  <a:cubicBezTo>
                    <a:pt x="11155" y="55"/>
                    <a:pt x="10986" y="0"/>
                    <a:pt x="10800" y="0"/>
                  </a:cubicBezTo>
                  <a:cubicBezTo>
                    <a:pt x="10614" y="0"/>
                    <a:pt x="10445" y="55"/>
                    <a:pt x="10323" y="144"/>
                  </a:cubicBezTo>
                  <a:lnTo>
                    <a:pt x="4923" y="4071"/>
                  </a:lnTo>
                  <a:cubicBezTo>
                    <a:pt x="4800" y="4161"/>
                    <a:pt x="4725" y="4283"/>
                    <a:pt x="4725" y="4418"/>
                  </a:cubicBezTo>
                  <a:cubicBezTo>
                    <a:pt x="4725" y="4690"/>
                    <a:pt x="5028" y="4909"/>
                    <a:pt x="5400" y="4909"/>
                  </a:cubicBezTo>
                  <a:moveTo>
                    <a:pt x="20925" y="6873"/>
                  </a:moveTo>
                  <a:lnTo>
                    <a:pt x="13500" y="6873"/>
                  </a:lnTo>
                  <a:cubicBezTo>
                    <a:pt x="13128" y="6873"/>
                    <a:pt x="12825" y="7093"/>
                    <a:pt x="12825" y="7364"/>
                  </a:cubicBezTo>
                  <a:cubicBezTo>
                    <a:pt x="12825" y="7635"/>
                    <a:pt x="13128" y="7855"/>
                    <a:pt x="13500" y="7855"/>
                  </a:cubicBezTo>
                  <a:lnTo>
                    <a:pt x="20250" y="7855"/>
                  </a:lnTo>
                  <a:lnTo>
                    <a:pt x="20250" y="20618"/>
                  </a:lnTo>
                  <a:lnTo>
                    <a:pt x="1350" y="20618"/>
                  </a:lnTo>
                  <a:lnTo>
                    <a:pt x="1350" y="7855"/>
                  </a:lnTo>
                  <a:lnTo>
                    <a:pt x="8100" y="7855"/>
                  </a:lnTo>
                  <a:cubicBezTo>
                    <a:pt x="8472" y="7855"/>
                    <a:pt x="8775" y="7635"/>
                    <a:pt x="8775" y="7364"/>
                  </a:cubicBezTo>
                  <a:cubicBezTo>
                    <a:pt x="8775" y="7093"/>
                    <a:pt x="8472" y="6873"/>
                    <a:pt x="8100" y="6873"/>
                  </a:cubicBezTo>
                  <a:lnTo>
                    <a:pt x="675" y="6873"/>
                  </a:lnTo>
                  <a:cubicBezTo>
                    <a:pt x="303" y="6873"/>
                    <a:pt x="0" y="7093"/>
                    <a:pt x="0" y="7364"/>
                  </a:cubicBezTo>
                  <a:lnTo>
                    <a:pt x="0" y="21109"/>
                  </a:lnTo>
                  <a:cubicBezTo>
                    <a:pt x="0" y="21381"/>
                    <a:pt x="303" y="21600"/>
                    <a:pt x="675" y="21600"/>
                  </a:cubicBezTo>
                  <a:lnTo>
                    <a:pt x="20925" y="21600"/>
                  </a:lnTo>
                  <a:cubicBezTo>
                    <a:pt x="21297" y="21600"/>
                    <a:pt x="21600" y="21381"/>
                    <a:pt x="21600" y="21109"/>
                  </a:cubicBezTo>
                  <a:lnTo>
                    <a:pt x="21600" y="7364"/>
                  </a:lnTo>
                  <a:cubicBezTo>
                    <a:pt x="21600" y="7093"/>
                    <a:pt x="21297" y="6873"/>
                    <a:pt x="20925" y="6873"/>
                  </a:cubicBezTo>
                </a:path>
              </a:pathLst>
            </a:custGeom>
            <a:solidFill>
              <a:sysClr val="window" lastClr="FFFFFF"/>
            </a:solidFill>
            <a:ln w="12700">
              <a:noFill/>
              <a:miter lim="400000"/>
            </a:ln>
          </p:spPr>
          <p:txBody>
            <a:bodyPr lIns="38100" tIns="38100" rIns="38100" bIns="38100" anchor="ctr"/>
            <a:lstStyle/>
            <a:p>
              <a:pPr marL="0" marR="0" lvl="0" indent="0" defTabSz="4572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3000" b="0" i="0" u="none" strike="noStrike" kern="0" cap="none" spc="0" normalizeH="0" baseline="0" noProof="0">
                <a:ln>
                  <a:noFill/>
                </a:ln>
                <a:solidFill>
                  <a:srgbClr val="545859"/>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sp>
        <p:nvSpPr>
          <p:cNvPr id="31" name="TextBox 72">
            <a:extLst>
              <a:ext uri="{FF2B5EF4-FFF2-40B4-BE49-F238E27FC236}">
                <a16:creationId xmlns:a16="http://schemas.microsoft.com/office/drawing/2014/main" id="{3CBFAD09-D9A2-4E16-886F-FDF498DE8578}"/>
              </a:ext>
            </a:extLst>
          </p:cNvPr>
          <p:cNvSpPr txBox="1"/>
          <p:nvPr/>
        </p:nvSpPr>
        <p:spPr>
          <a:xfrm>
            <a:off x="267128" y="3837854"/>
            <a:ext cx="7541231" cy="2308324"/>
          </a:xfrm>
          <a:prstGeom prst="rect">
            <a:avLst/>
          </a:prstGeom>
          <a:noFill/>
        </p:spPr>
        <p:txBody>
          <a:bodyPr wrap="square" rtlCol="0">
            <a:spAutoFit/>
          </a:bodyPr>
          <a:lstStyle/>
          <a:p>
            <a:pPr algn="just" eaLnBrk="0" fontAlgn="base" hangingPunct="0">
              <a:spcBef>
                <a:spcPct val="0"/>
              </a:spcBef>
              <a:spcAft>
                <a:spcPct val="0"/>
              </a:spcAft>
            </a:pPr>
            <a:r>
              <a:rPr lang="fr-FR" dirty="0">
                <a:solidFill>
                  <a:srgbClr val="545859"/>
                </a:solidFill>
                <a:latin typeface="Arial" panose="020B0604020202020204"/>
                <a:cs typeface="Arial" panose="020B0604020202020204" pitchFamily="34" charset="0"/>
              </a:rPr>
              <a:t>La messagerie permet à l’usager d</a:t>
            </a:r>
            <a:r>
              <a:rPr lang="fr-FR" dirty="0">
                <a:solidFill>
                  <a:srgbClr val="333333"/>
                </a:solidFill>
                <a:latin typeface="Arial" panose="020B0604020202020204"/>
                <a:cs typeface="Arial" panose="020B0604020202020204" pitchFamily="34" charset="0"/>
              </a:rPr>
              <a:t>’</a:t>
            </a:r>
            <a:r>
              <a:rPr lang="fr-FR" b="1" dirty="0">
                <a:solidFill>
                  <a:srgbClr val="007FAD"/>
                </a:solidFill>
                <a:latin typeface="Arial" panose="020B0604020202020204"/>
                <a:cs typeface="Arial" panose="020B0604020202020204" pitchFamily="34" charset="0"/>
              </a:rPr>
              <a:t>échanger</a:t>
            </a:r>
            <a:r>
              <a:rPr lang="fr-FR" dirty="0">
                <a:solidFill>
                  <a:srgbClr val="333333"/>
                </a:solidFill>
                <a:latin typeface="Arial" panose="020B0604020202020204"/>
                <a:cs typeface="Arial" panose="020B0604020202020204" pitchFamily="34" charset="0"/>
              </a:rPr>
              <a:t> </a:t>
            </a:r>
            <a:r>
              <a:rPr lang="fr-FR" dirty="0">
                <a:solidFill>
                  <a:srgbClr val="545859"/>
                </a:solidFill>
                <a:latin typeface="Arial" panose="020B0604020202020204"/>
                <a:cs typeface="Arial" panose="020B0604020202020204" pitchFamily="34" charset="0"/>
              </a:rPr>
              <a:t>avec ses professionnels de santé.</a:t>
            </a:r>
          </a:p>
          <a:p>
            <a:pPr algn="just" eaLnBrk="0" fontAlgn="base" hangingPunct="0">
              <a:spcBef>
                <a:spcPct val="0"/>
              </a:spcBef>
              <a:spcAft>
                <a:spcPct val="0"/>
              </a:spcAft>
            </a:pPr>
            <a:endParaRPr lang="fr-FR" dirty="0">
              <a:solidFill>
                <a:srgbClr val="545859"/>
              </a:solidFill>
              <a:latin typeface="Arial" panose="020B0604020202020204"/>
              <a:cs typeface="Arial" panose="020B0604020202020204" pitchFamily="34" charset="0"/>
            </a:endParaRPr>
          </a:p>
          <a:p>
            <a:pPr algn="just" eaLnBrk="0" fontAlgn="base" hangingPunct="0">
              <a:spcBef>
                <a:spcPct val="0"/>
              </a:spcBef>
              <a:spcAft>
                <a:spcPct val="0"/>
              </a:spcAft>
            </a:pPr>
            <a:r>
              <a:rPr lang="fr-FR" dirty="0">
                <a:solidFill>
                  <a:srgbClr val="545859"/>
                </a:solidFill>
                <a:latin typeface="Arial" panose="020B0604020202020204"/>
                <a:cs typeface="Arial" panose="020B0604020202020204" pitchFamily="34" charset="0"/>
              </a:rPr>
              <a:t>L’usager peut uniquement contacter les professionnels qui lui ont déjà écrit sauf les pharmacies avec lesquelles il peut initier un échange.</a:t>
            </a:r>
          </a:p>
          <a:p>
            <a:pPr algn="just" eaLnBrk="0" fontAlgn="base" hangingPunct="0">
              <a:spcBef>
                <a:spcPct val="0"/>
              </a:spcBef>
              <a:spcAft>
                <a:spcPct val="0"/>
              </a:spcAft>
            </a:pPr>
            <a:endParaRPr lang="fr-FR" dirty="0">
              <a:solidFill>
                <a:srgbClr val="545859"/>
              </a:solidFill>
              <a:latin typeface="Arial" panose="020B0604020202020204"/>
              <a:cs typeface="Arial" panose="020B0604020202020204" pitchFamily="34" charset="0"/>
            </a:endParaRPr>
          </a:p>
          <a:p>
            <a:pPr algn="just" eaLnBrk="0" fontAlgn="base" hangingPunct="0">
              <a:spcBef>
                <a:spcPct val="0"/>
              </a:spcBef>
              <a:spcAft>
                <a:spcPct val="0"/>
              </a:spcAft>
            </a:pPr>
            <a:r>
              <a:rPr lang="fr-FR" dirty="0">
                <a:solidFill>
                  <a:srgbClr val="545859"/>
                </a:solidFill>
                <a:latin typeface="Arial" panose="020B0604020202020204"/>
                <a:cs typeface="Arial" panose="020B0604020202020204" pitchFamily="34" charset="0"/>
              </a:rPr>
              <a:t>Les documents reçus via la messagerie peuvent être directement enregistrés dans le dossier médical de Mon espace santé.</a:t>
            </a:r>
          </a:p>
        </p:txBody>
      </p:sp>
      <p:sp>
        <p:nvSpPr>
          <p:cNvPr id="33" name="Rectangle 32">
            <a:extLst>
              <a:ext uri="{FF2B5EF4-FFF2-40B4-BE49-F238E27FC236}">
                <a16:creationId xmlns:a16="http://schemas.microsoft.com/office/drawing/2014/main" id="{C9039BF3-2B91-4346-9A9A-27170C717935}"/>
              </a:ext>
            </a:extLst>
          </p:cNvPr>
          <p:cNvSpPr/>
          <p:nvPr/>
        </p:nvSpPr>
        <p:spPr>
          <a:xfrm>
            <a:off x="7841983" y="4561403"/>
            <a:ext cx="4165166" cy="1754326"/>
          </a:xfrm>
          <a:prstGeom prst="rect">
            <a:avLst/>
          </a:prstGeom>
          <a:solidFill>
            <a:sysClr val="window" lastClr="FFFFFF">
              <a:lumMod val="95000"/>
            </a:sysClr>
          </a:solid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a:ln>
                  <a:noFill/>
                </a:ln>
                <a:solidFill>
                  <a:srgbClr val="545859"/>
                </a:solidFill>
                <a:effectLst/>
                <a:uLnTx/>
                <a:uFillTx/>
                <a:latin typeface="Arial" panose="020B0604020202020204"/>
              </a:rPr>
              <a:t>Les professionnels de santé habilités à utiliser la messagerie sont les professionnels équipés de la </a:t>
            </a:r>
            <a:r>
              <a:rPr kumimoji="0" lang="fr-FR" sz="1200" b="1" i="0" u="none" strike="noStrike" kern="0" cap="none" spc="0" normalizeH="0" baseline="0" noProof="0" dirty="0">
                <a:ln>
                  <a:noFill/>
                </a:ln>
                <a:solidFill>
                  <a:srgbClr val="007FAD"/>
                </a:solidFill>
                <a:effectLst/>
                <a:uLnTx/>
                <a:uFillTx/>
                <a:latin typeface="Arial" panose="020B0604020202020204"/>
              </a:rPr>
              <a:t>Messagerie Sécurisée en Santé</a:t>
            </a:r>
            <a:r>
              <a:rPr kumimoji="0" lang="fr-FR" sz="1200" b="0" i="0" u="none" strike="noStrike" kern="0" cap="none" spc="0" normalizeH="0" baseline="0" noProof="0" dirty="0">
                <a:ln>
                  <a:noFill/>
                </a:ln>
                <a:solidFill>
                  <a:srgbClr val="545859"/>
                </a:solidFill>
                <a:effectLst/>
                <a:uLnTx/>
                <a:uFillTx/>
                <a:latin typeface="Arial" panose="020B0604020202020204"/>
              </a:rPr>
              <a:t>. </a:t>
            </a:r>
          </a:p>
          <a:p>
            <a:pPr marL="0" marR="0" lvl="0" indent="0" defTabSz="91440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dirty="0">
              <a:ln>
                <a:noFill/>
              </a:ln>
              <a:solidFill>
                <a:srgbClr val="545859"/>
              </a:solidFill>
              <a:effectLst/>
              <a:uLnTx/>
              <a:uFillTx/>
              <a:latin typeface="Arial" panose="020B0604020202020204"/>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a:ln>
                  <a:noFill/>
                </a:ln>
                <a:solidFill>
                  <a:srgbClr val="545859"/>
                </a:solidFill>
                <a:effectLst/>
                <a:uLnTx/>
                <a:uFillTx/>
                <a:latin typeface="Arial" panose="020B0604020202020204"/>
              </a:rPr>
              <a:t>Il s'agit d'un espace de confiance national permettant à des </a:t>
            </a:r>
            <a:r>
              <a:rPr kumimoji="0" lang="fr-FR" sz="1200" b="1" i="0" u="none" strike="noStrike" kern="0" cap="none" spc="0" normalizeH="0" baseline="0" noProof="0" dirty="0">
                <a:ln>
                  <a:noFill/>
                </a:ln>
                <a:solidFill>
                  <a:srgbClr val="007FAD"/>
                </a:solidFill>
                <a:effectLst/>
                <a:uLnTx/>
                <a:uFillTx/>
                <a:latin typeface="Arial" panose="020B0604020202020204"/>
              </a:rPr>
              <a:t>professionnels de santé référencés auprès de l'Agence du Numérique en Santé </a:t>
            </a:r>
            <a:r>
              <a:rPr kumimoji="0" lang="fr-FR" sz="1200" b="0" i="0" u="none" strike="noStrike" kern="0" cap="none" spc="0" normalizeH="0" baseline="0" noProof="0" dirty="0">
                <a:ln>
                  <a:noFill/>
                </a:ln>
                <a:solidFill>
                  <a:srgbClr val="545859"/>
                </a:solidFill>
                <a:effectLst/>
                <a:uLnTx/>
                <a:uFillTx/>
                <a:latin typeface="Arial" panose="020B0604020202020204"/>
              </a:rPr>
              <a:t>d'échanger par email dans un environnement informatique garantissant la sécurité et la confidentialité des données échangées.</a:t>
            </a:r>
          </a:p>
        </p:txBody>
      </p:sp>
      <p:pic>
        <p:nvPicPr>
          <p:cNvPr id="34" name="Picture 2" descr="C:\Users\ROSAYE-09813\Downloads\symbole-dinterface-de-cadenas-de-verrouillage.png">
            <a:extLst>
              <a:ext uri="{FF2B5EF4-FFF2-40B4-BE49-F238E27FC236}">
                <a16:creationId xmlns:a16="http://schemas.microsoft.com/office/drawing/2014/main" id="{16C203FD-1DBE-43A9-8F08-4E5827017634}"/>
              </a:ext>
            </a:extLst>
          </p:cNvPr>
          <p:cNvPicPr>
            <a:picLocks noChangeAspect="1" noChangeArrowheads="1"/>
          </p:cNvPicPr>
          <p:nvPr/>
        </p:nvPicPr>
        <p:blipFill>
          <a:blip r:embed="rId6">
            <a:duotone>
              <a:srgbClr val="007FAD">
                <a:shade val="45000"/>
                <a:satMod val="135000"/>
              </a:srgbClr>
              <a:prstClr val="white"/>
            </a:duotone>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9619189" y="3948320"/>
            <a:ext cx="482600" cy="447812"/>
          </a:xfrm>
          <a:prstGeom prst="rect">
            <a:avLst/>
          </a:prstGeom>
          <a:noFill/>
          <a:extLst>
            <a:ext uri="{909E8E84-426E-40DD-AFC4-6F175D3DCCD1}">
              <a14:hiddenFill xmlns:a14="http://schemas.microsoft.com/office/drawing/2010/main">
                <a:solidFill>
                  <a:srgbClr val="FFFFFF"/>
                </a:solidFill>
              </a14:hiddenFill>
            </a:ext>
          </a:extLst>
        </p:spPr>
      </p:pic>
      <p:sp>
        <p:nvSpPr>
          <p:cNvPr id="2" name="ZoneTexte 1">
            <a:extLst>
              <a:ext uri="{FF2B5EF4-FFF2-40B4-BE49-F238E27FC236}">
                <a16:creationId xmlns:a16="http://schemas.microsoft.com/office/drawing/2014/main" id="{D635702B-9498-DE02-8C77-F3852824656A}"/>
              </a:ext>
            </a:extLst>
          </p:cNvPr>
          <p:cNvSpPr txBox="1"/>
          <p:nvPr/>
        </p:nvSpPr>
        <p:spPr>
          <a:xfrm>
            <a:off x="2968189" y="6255250"/>
            <a:ext cx="3548009" cy="369332"/>
          </a:xfrm>
          <a:prstGeom prst="rect">
            <a:avLst/>
          </a:prstGeom>
          <a:noFill/>
        </p:spPr>
        <p:txBody>
          <a:bodyPr wrap="square" rtlCol="0">
            <a:spAutoFit/>
          </a:bodyPr>
          <a:lstStyle/>
          <a:p>
            <a:r>
              <a:rPr lang="fr-FR" b="1" dirty="0">
                <a:solidFill>
                  <a:srgbClr val="007FAD"/>
                </a:solidFill>
                <a:latin typeface="Arial" panose="020B0604020202020204"/>
                <a:cs typeface="Arial" panose="020B0604020202020204" pitchFamily="34" charset="0"/>
              </a:rPr>
              <a:t>Mail : INS@patient.mssante.fr</a:t>
            </a:r>
          </a:p>
        </p:txBody>
      </p:sp>
      <p:pic>
        <p:nvPicPr>
          <p:cNvPr id="5" name="Image 4">
            <a:extLst>
              <a:ext uri="{FF2B5EF4-FFF2-40B4-BE49-F238E27FC236}">
                <a16:creationId xmlns:a16="http://schemas.microsoft.com/office/drawing/2014/main" id="{99A815F5-DC60-B779-EC1D-88E3EA83763D}"/>
              </a:ext>
            </a:extLst>
          </p:cNvPr>
          <p:cNvPicPr>
            <a:picLocks noChangeAspect="1"/>
          </p:cNvPicPr>
          <p:nvPr/>
        </p:nvPicPr>
        <p:blipFill>
          <a:blip r:embed="rId8"/>
          <a:stretch>
            <a:fillRect/>
          </a:stretch>
        </p:blipFill>
        <p:spPr>
          <a:xfrm>
            <a:off x="9607626" y="2186888"/>
            <a:ext cx="1626342" cy="1430258"/>
          </a:xfrm>
          <a:prstGeom prst="rect">
            <a:avLst/>
          </a:prstGeom>
        </p:spPr>
      </p:pic>
    </p:spTree>
    <p:extLst>
      <p:ext uri="{BB962C8B-B14F-4D97-AF65-F5344CB8AC3E}">
        <p14:creationId xmlns:p14="http://schemas.microsoft.com/office/powerpoint/2010/main" val="3093554032"/>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7511816C-C8D1-4A8C-B8FD-C364AAE9A1B7}"/>
              </a:ext>
            </a:extLst>
          </p:cNvPr>
          <p:cNvSpPr>
            <a:spLocks noGrp="1"/>
          </p:cNvSpPr>
          <p:nvPr>
            <p:ph type="title"/>
          </p:nvPr>
        </p:nvSpPr>
        <p:spPr/>
        <p:txBody>
          <a:bodyPr>
            <a:normAutofit/>
          </a:bodyPr>
          <a:lstStyle/>
          <a:p>
            <a:r>
              <a:rPr lang="fr-FR" sz="3500" b="1" spc="-70" dirty="0">
                <a:solidFill>
                  <a:srgbClr val="005C9B"/>
                </a:solidFill>
                <a:latin typeface="Arial" panose="020B0604020202020204" pitchFamily="34" charset="0"/>
                <a:cs typeface="Arial" panose="020B0604020202020204" pitchFamily="34" charset="0"/>
              </a:rPr>
              <a:t>L’agenda</a:t>
            </a:r>
          </a:p>
        </p:txBody>
      </p:sp>
      <p:sp>
        <p:nvSpPr>
          <p:cNvPr id="2" name="ZoneTexte 20">
            <a:extLst>
              <a:ext uri="{FF2B5EF4-FFF2-40B4-BE49-F238E27FC236}">
                <a16:creationId xmlns:a16="http://schemas.microsoft.com/office/drawing/2014/main" id="{6668DA21-F41D-EC9D-D13E-3E5DE7EDC87F}"/>
              </a:ext>
            </a:extLst>
          </p:cNvPr>
          <p:cNvSpPr txBox="1"/>
          <p:nvPr/>
        </p:nvSpPr>
        <p:spPr>
          <a:xfrm>
            <a:off x="482886" y="2758053"/>
            <a:ext cx="11065267" cy="2554545"/>
          </a:xfrm>
          <a:prstGeom prst="rect">
            <a:avLst/>
          </a:prstGeom>
          <a:noFill/>
        </p:spPr>
        <p:txBody>
          <a:bodyPr wrap="square" lIns="91440" tIns="45720" rIns="91440" bIns="45720" rtlCol="0" anchor="t">
            <a:spAutoFit/>
          </a:bodyPr>
          <a:lstStyle/>
          <a:p>
            <a:pPr marL="342900" indent="-342900" defTabSz="914377">
              <a:buFont typeface="Arial" panose="020B0604020202020204" pitchFamily="34" charset="0"/>
              <a:buChar char="•"/>
            </a:pPr>
            <a:r>
              <a:rPr lang="fr-FR" sz="2000" dirty="0">
                <a:solidFill>
                  <a:srgbClr val="5E5E5E"/>
                </a:solidFill>
                <a:latin typeface="Arial" panose="020B0604020202020204"/>
                <a:cs typeface="Arial"/>
              </a:rPr>
              <a:t>Une </a:t>
            </a:r>
            <a:r>
              <a:rPr lang="fr-FR" sz="2000" b="1" dirty="0">
                <a:solidFill>
                  <a:srgbClr val="DF2680"/>
                </a:solidFill>
                <a:latin typeface="Arial" panose="020B0604020202020204"/>
                <a:cs typeface="Arial"/>
              </a:rPr>
              <a:t>vue d’ensemble </a:t>
            </a:r>
            <a:r>
              <a:rPr lang="fr-FR" sz="2000" dirty="0">
                <a:solidFill>
                  <a:srgbClr val="5E5E5E"/>
                </a:solidFill>
                <a:latin typeface="Arial" panose="020B0604020202020204"/>
                <a:cs typeface="Arial"/>
              </a:rPr>
              <a:t>des RDV à venir </a:t>
            </a:r>
          </a:p>
          <a:p>
            <a:pPr marL="342900" indent="-342900" defTabSz="914377">
              <a:buFont typeface="Arial" panose="020B0604020202020204" pitchFamily="34" charset="0"/>
              <a:buChar char="•"/>
            </a:pPr>
            <a:r>
              <a:rPr lang="fr-FR" sz="2000" b="1" dirty="0">
                <a:solidFill>
                  <a:srgbClr val="DF2680"/>
                </a:solidFill>
                <a:latin typeface="Arial" panose="020B0604020202020204"/>
                <a:cs typeface="Arial"/>
              </a:rPr>
              <a:t>Outil de prévention </a:t>
            </a:r>
            <a:r>
              <a:rPr lang="fr-FR" sz="2000" dirty="0">
                <a:solidFill>
                  <a:srgbClr val="5E5E5E"/>
                </a:solidFill>
                <a:latin typeface="Arial" panose="020B0604020202020204"/>
                <a:cs typeface="Arial"/>
              </a:rPr>
              <a:t>: rappels par l’assurance maladie (examens, dépistages, vaccinations)</a:t>
            </a:r>
          </a:p>
          <a:p>
            <a:pPr marL="342900" indent="-342900" defTabSz="914377">
              <a:buFont typeface="Arial" panose="020B0604020202020204" pitchFamily="34" charset="0"/>
              <a:buChar char="•"/>
            </a:pPr>
            <a:endParaRPr lang="fr-FR" sz="2000" dirty="0">
              <a:solidFill>
                <a:srgbClr val="5E5E5E"/>
              </a:solidFill>
              <a:latin typeface="Arial" panose="020B0604020202020204"/>
              <a:cs typeface="Arial"/>
            </a:endParaRPr>
          </a:p>
          <a:p>
            <a:pPr marL="342900" indent="-342900" defTabSz="914377">
              <a:buFont typeface="Arial" panose="020B0604020202020204" pitchFamily="34" charset="0"/>
              <a:buChar char="•"/>
            </a:pPr>
            <a:endParaRPr lang="fr-FR" sz="2000" dirty="0">
              <a:solidFill>
                <a:srgbClr val="5E5E5E"/>
              </a:solidFill>
              <a:latin typeface="Arial" panose="020B0604020202020204"/>
              <a:cs typeface="Arial"/>
            </a:endParaRPr>
          </a:p>
          <a:p>
            <a:pPr marL="342900" indent="-342900" defTabSz="914377">
              <a:buFont typeface="Arial" panose="020B0604020202020204" pitchFamily="34" charset="0"/>
              <a:buChar char="•"/>
            </a:pPr>
            <a:r>
              <a:rPr lang="fr-FR" sz="2000" b="1" dirty="0">
                <a:solidFill>
                  <a:srgbClr val="5E5E5E"/>
                </a:solidFill>
                <a:latin typeface="Arial" panose="020B0604020202020204"/>
                <a:cs typeface="Arial"/>
              </a:rPr>
              <a:t>Les Plus :</a:t>
            </a:r>
          </a:p>
          <a:p>
            <a:pPr marL="800100" lvl="1" indent="-342900" defTabSz="914377">
              <a:buFont typeface="Arial" panose="020B0604020202020204" pitchFamily="34" charset="0"/>
              <a:buChar char="•"/>
            </a:pPr>
            <a:r>
              <a:rPr lang="fr-FR" sz="2000" dirty="0">
                <a:solidFill>
                  <a:srgbClr val="5E5E5E"/>
                </a:solidFill>
                <a:latin typeface="Arial" panose="020B0604020202020204"/>
                <a:cs typeface="Arial"/>
              </a:rPr>
              <a:t>Possibilité d’ajouter manuellement des rappels et RDV</a:t>
            </a:r>
          </a:p>
          <a:p>
            <a:pPr marL="800100" lvl="1" indent="-342900" defTabSz="914377">
              <a:buFont typeface="Arial" panose="020B0604020202020204" pitchFamily="34" charset="0"/>
              <a:buChar char="•"/>
            </a:pPr>
            <a:r>
              <a:rPr lang="fr-FR" sz="2000" dirty="0">
                <a:solidFill>
                  <a:srgbClr val="5E5E5E"/>
                </a:solidFill>
                <a:latin typeface="Arial" panose="020B0604020202020204"/>
                <a:cs typeface="Arial"/>
              </a:rPr>
              <a:t>Possibilité de cocher les examens réalisés</a:t>
            </a:r>
          </a:p>
          <a:p>
            <a:pPr marL="800100" lvl="1" indent="-342900" defTabSz="914377">
              <a:buFont typeface="Arial" panose="020B0604020202020204" pitchFamily="34" charset="0"/>
              <a:buChar char="•"/>
            </a:pPr>
            <a:r>
              <a:rPr lang="fr-FR" sz="2000" dirty="0">
                <a:solidFill>
                  <a:srgbClr val="5E5E5E"/>
                </a:solidFill>
                <a:latin typeface="Arial" panose="020B0604020202020204"/>
                <a:cs typeface="Arial"/>
              </a:rPr>
              <a:t>Notification par mail lorsqu’un rappel arrive à échéance</a:t>
            </a:r>
          </a:p>
        </p:txBody>
      </p:sp>
      <p:sp>
        <p:nvSpPr>
          <p:cNvPr id="4" name="ZoneTexte 3">
            <a:extLst>
              <a:ext uri="{FF2B5EF4-FFF2-40B4-BE49-F238E27FC236}">
                <a16:creationId xmlns:a16="http://schemas.microsoft.com/office/drawing/2014/main" id="{39697A98-4709-74A8-401E-F43A1A860864}"/>
              </a:ext>
            </a:extLst>
          </p:cNvPr>
          <p:cNvSpPr txBox="1"/>
          <p:nvPr/>
        </p:nvSpPr>
        <p:spPr>
          <a:xfrm>
            <a:off x="2244903" y="1941816"/>
            <a:ext cx="7541231" cy="677108"/>
          </a:xfrm>
          <a:prstGeom prst="rect">
            <a:avLst/>
          </a:prstGeom>
          <a:noFill/>
        </p:spPr>
        <p:txBody>
          <a:bodyPr wrap="square" rtlCol="0">
            <a:spAutoFit/>
          </a:bodyPr>
          <a:lstStyle/>
          <a:p>
            <a:pPr algn="ctr"/>
            <a:r>
              <a:rPr lang="fr-FR" sz="2000" b="1" spc="-70" dirty="0">
                <a:solidFill>
                  <a:srgbClr val="007FAD"/>
                </a:solidFill>
                <a:latin typeface="Arial" panose="020B0604020202020204" pitchFamily="34" charset="0"/>
                <a:ea typeface="+mj-ea"/>
                <a:cs typeface="Arial" panose="020B0604020202020204" pitchFamily="34" charset="0"/>
              </a:rPr>
              <a:t>Permet de centraliser ses RDV et rappels médicaux</a:t>
            </a:r>
          </a:p>
          <a:p>
            <a:endParaRPr lang="fr-FR" dirty="0"/>
          </a:p>
        </p:txBody>
      </p:sp>
      <p:pic>
        <p:nvPicPr>
          <p:cNvPr id="6" name="Image 5">
            <a:extLst>
              <a:ext uri="{FF2B5EF4-FFF2-40B4-BE49-F238E27FC236}">
                <a16:creationId xmlns:a16="http://schemas.microsoft.com/office/drawing/2014/main" id="{C4EB8E56-EA53-8663-953C-443D94A66AB3}"/>
              </a:ext>
            </a:extLst>
          </p:cNvPr>
          <p:cNvPicPr>
            <a:picLocks noChangeAspect="1"/>
          </p:cNvPicPr>
          <p:nvPr/>
        </p:nvPicPr>
        <p:blipFill>
          <a:blip r:embed="rId2"/>
          <a:stretch>
            <a:fillRect/>
          </a:stretch>
        </p:blipFill>
        <p:spPr>
          <a:xfrm>
            <a:off x="9092629" y="3863308"/>
            <a:ext cx="2155968" cy="2228641"/>
          </a:xfrm>
          <a:prstGeom prst="rect">
            <a:avLst/>
          </a:prstGeom>
        </p:spPr>
      </p:pic>
    </p:spTree>
    <p:extLst>
      <p:ext uri="{BB962C8B-B14F-4D97-AF65-F5344CB8AC3E}">
        <p14:creationId xmlns:p14="http://schemas.microsoft.com/office/powerpoint/2010/main" val="623218348"/>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7511816C-C8D1-4A8C-B8FD-C364AAE9A1B7}"/>
              </a:ext>
            </a:extLst>
          </p:cNvPr>
          <p:cNvSpPr>
            <a:spLocks noGrp="1"/>
          </p:cNvSpPr>
          <p:nvPr>
            <p:ph type="title"/>
          </p:nvPr>
        </p:nvSpPr>
        <p:spPr/>
        <p:txBody>
          <a:bodyPr>
            <a:normAutofit/>
          </a:bodyPr>
          <a:lstStyle/>
          <a:p>
            <a:r>
              <a:rPr lang="fr-FR" sz="3500" b="1" spc="-70" dirty="0">
                <a:solidFill>
                  <a:srgbClr val="005C9B"/>
                </a:solidFill>
                <a:latin typeface="Arial" panose="020B0604020202020204" pitchFamily="34" charset="0"/>
                <a:cs typeface="Arial" panose="020B0604020202020204" pitchFamily="34" charset="0"/>
              </a:rPr>
              <a:t>Le catalogue de services</a:t>
            </a:r>
          </a:p>
        </p:txBody>
      </p:sp>
      <p:sp>
        <p:nvSpPr>
          <p:cNvPr id="2" name="ZoneTexte 20">
            <a:extLst>
              <a:ext uri="{FF2B5EF4-FFF2-40B4-BE49-F238E27FC236}">
                <a16:creationId xmlns:a16="http://schemas.microsoft.com/office/drawing/2014/main" id="{6668DA21-F41D-EC9D-D13E-3E5DE7EDC87F}"/>
              </a:ext>
            </a:extLst>
          </p:cNvPr>
          <p:cNvSpPr txBox="1"/>
          <p:nvPr/>
        </p:nvSpPr>
        <p:spPr>
          <a:xfrm>
            <a:off x="273003" y="1966944"/>
            <a:ext cx="11065267" cy="4414542"/>
          </a:xfrm>
          <a:prstGeom prst="rect">
            <a:avLst/>
          </a:prstGeom>
          <a:noFill/>
        </p:spPr>
        <p:txBody>
          <a:bodyPr wrap="square" lIns="91440" tIns="45720" rIns="91440" bIns="45720" rtlCol="0" anchor="t">
            <a:spAutoFit/>
          </a:bodyPr>
          <a:lstStyle/>
          <a:p>
            <a:pPr marL="342900" indent="-342900" defTabSz="914377">
              <a:spcAft>
                <a:spcPts val="600"/>
              </a:spcAft>
              <a:buFont typeface="Arial" panose="020B0604020202020204" pitchFamily="34" charset="0"/>
              <a:buChar char="•"/>
            </a:pPr>
            <a:r>
              <a:rPr lang="fr-FR" sz="2000" dirty="0">
                <a:solidFill>
                  <a:srgbClr val="5E5E5E"/>
                </a:solidFill>
                <a:latin typeface="Arial" panose="020B0604020202020204"/>
                <a:cs typeface="Arial"/>
              </a:rPr>
              <a:t>Le catalogue de </a:t>
            </a:r>
            <a:r>
              <a:rPr lang="fr-FR" sz="2000">
                <a:solidFill>
                  <a:srgbClr val="5E5E5E"/>
                </a:solidFill>
                <a:latin typeface="Arial" panose="020B0604020202020204"/>
                <a:cs typeface="Arial"/>
              </a:rPr>
              <a:t>services propose </a:t>
            </a:r>
            <a:r>
              <a:rPr lang="fr-FR" sz="2000" b="1" dirty="0">
                <a:solidFill>
                  <a:srgbClr val="DF2680"/>
                </a:solidFill>
                <a:latin typeface="Arial" panose="020B0604020202020204"/>
                <a:cs typeface="Arial"/>
              </a:rPr>
              <a:t>des services numériques référencés </a:t>
            </a:r>
            <a:r>
              <a:rPr lang="fr-FR" sz="2000" dirty="0">
                <a:solidFill>
                  <a:srgbClr val="5E5E5E"/>
                </a:solidFill>
                <a:latin typeface="Arial" panose="020B0604020202020204"/>
                <a:cs typeface="Arial"/>
              </a:rPr>
              <a:t>par les pouvoirs publics : services numériques de confiance sélectionnés par l’Etat sur la base de </a:t>
            </a:r>
            <a:r>
              <a:rPr lang="fr-FR" sz="2000" b="1" dirty="0">
                <a:solidFill>
                  <a:srgbClr val="DF2680"/>
                </a:solidFill>
                <a:latin typeface="Arial" panose="020B0604020202020204"/>
                <a:cs typeface="Arial"/>
              </a:rPr>
              <a:t>+150 exigences </a:t>
            </a:r>
            <a:r>
              <a:rPr lang="fr-FR" sz="2000" dirty="0">
                <a:solidFill>
                  <a:srgbClr val="5E5E5E"/>
                </a:solidFill>
                <a:latin typeface="Arial" panose="020B0604020202020204"/>
                <a:cs typeface="Arial"/>
              </a:rPr>
              <a:t>(éthiques, techniques, interopérabilité, RGPD, juridique).</a:t>
            </a:r>
          </a:p>
          <a:p>
            <a:pPr marL="342900" indent="-342900" defTabSz="914377">
              <a:spcAft>
                <a:spcPts val="600"/>
              </a:spcAft>
              <a:buFont typeface="Arial" panose="020B0604020202020204" pitchFamily="34" charset="0"/>
              <a:buChar char="•"/>
            </a:pPr>
            <a:r>
              <a:rPr lang="fr-FR" sz="2000" dirty="0">
                <a:solidFill>
                  <a:srgbClr val="5E5E5E"/>
                </a:solidFill>
                <a:latin typeface="Arial" panose="020B0604020202020204"/>
                <a:cs typeface="Arial"/>
              </a:rPr>
              <a:t>Dans l’année 2024, </a:t>
            </a:r>
            <a:r>
              <a:rPr lang="fr-FR" sz="2000" b="1" dirty="0">
                <a:solidFill>
                  <a:srgbClr val="DF2680"/>
                </a:solidFill>
                <a:latin typeface="Arial" panose="020B0604020202020204"/>
                <a:cs typeface="Arial"/>
              </a:rPr>
              <a:t>l’échange de données </a:t>
            </a:r>
            <a:r>
              <a:rPr lang="fr-FR" sz="2000" dirty="0">
                <a:solidFill>
                  <a:srgbClr val="5E5E5E"/>
                </a:solidFill>
                <a:latin typeface="Arial" panose="020B0604020202020204"/>
                <a:cs typeface="Arial"/>
              </a:rPr>
              <a:t>permettra de synchroniser les services avec Mon espace santé pour, alimenter et enrichir le profil médical avec les données d’un objet connecté ou encore partager des informations de santé avec les services utilisés au quotidien. </a:t>
            </a:r>
          </a:p>
          <a:p>
            <a:pPr marL="342900" indent="-342900" defTabSz="914377">
              <a:buFont typeface="Arial" panose="020B0604020202020204" pitchFamily="34" charset="0"/>
              <a:buChar char="•"/>
            </a:pPr>
            <a:r>
              <a:rPr lang="fr-FR" sz="2000" dirty="0">
                <a:solidFill>
                  <a:srgbClr val="5E5E5E"/>
                </a:solidFill>
                <a:latin typeface="Arial" panose="020B0604020202020204"/>
                <a:cs typeface="Arial"/>
              </a:rPr>
              <a:t>3 types de données peuvent être échangées : </a:t>
            </a:r>
          </a:p>
          <a:p>
            <a:pPr marL="342900" lvl="0" indent="-342900" algn="just">
              <a:lnSpc>
                <a:spcPct val="107000"/>
              </a:lnSpc>
              <a:buFont typeface="Calibri" panose="020F0502020204030204" pitchFamily="34" charset="0"/>
              <a:buChar char="-"/>
            </a:pPr>
            <a:r>
              <a:rPr lang="fr-FR" sz="2000" b="1" dirty="0">
                <a:solidFill>
                  <a:srgbClr val="DF2680"/>
                </a:solidFill>
                <a:latin typeface="Arial" panose="020B0604020202020204"/>
                <a:cs typeface="Arial"/>
              </a:rPr>
              <a:t>Mesures de santé </a:t>
            </a:r>
            <a:r>
              <a:rPr lang="fr-FR" sz="2000" dirty="0">
                <a:solidFill>
                  <a:srgbClr val="5E5E5E"/>
                </a:solidFill>
                <a:latin typeface="Arial" panose="020B0604020202020204"/>
                <a:cs typeface="Arial"/>
              </a:rPr>
              <a:t>: montre, balance, capteur glycémique</a:t>
            </a:r>
          </a:p>
          <a:p>
            <a:pPr marL="342900" lvl="0" indent="-342900" algn="just">
              <a:lnSpc>
                <a:spcPct val="107000"/>
              </a:lnSpc>
              <a:buFont typeface="Calibri" panose="020F0502020204030204" pitchFamily="34" charset="0"/>
              <a:buChar char="-"/>
            </a:pPr>
            <a:r>
              <a:rPr lang="fr-FR" sz="2000" b="1" dirty="0">
                <a:solidFill>
                  <a:srgbClr val="DF2680"/>
                </a:solidFill>
                <a:latin typeface="Arial" panose="020B0604020202020204"/>
                <a:cs typeface="Arial"/>
              </a:rPr>
              <a:t>Agenda</a:t>
            </a:r>
            <a:r>
              <a:rPr lang="fr-FR" sz="2000" dirty="0">
                <a:solidFill>
                  <a:srgbClr val="5E5E5E"/>
                </a:solidFill>
                <a:latin typeface="Arial" panose="020B0604020202020204"/>
                <a:cs typeface="Arial"/>
              </a:rPr>
              <a:t> : alimentation / modification des RDV de l’agenda MES</a:t>
            </a:r>
          </a:p>
          <a:p>
            <a:pPr marL="342900" lvl="0" indent="-342900" algn="just">
              <a:lnSpc>
                <a:spcPct val="107000"/>
              </a:lnSpc>
              <a:spcAft>
                <a:spcPts val="800"/>
              </a:spcAft>
              <a:buFont typeface="Calibri" panose="020F0502020204030204" pitchFamily="34" charset="0"/>
              <a:buChar char="-"/>
            </a:pPr>
            <a:r>
              <a:rPr lang="fr-FR" sz="2000" b="1" dirty="0">
                <a:solidFill>
                  <a:srgbClr val="DF2680"/>
                </a:solidFill>
                <a:latin typeface="Arial" panose="020B0604020202020204"/>
                <a:cs typeface="Arial"/>
              </a:rPr>
              <a:t>Documents de santé </a:t>
            </a:r>
          </a:p>
          <a:p>
            <a:pPr algn="ctr" defTabSz="914377"/>
            <a:r>
              <a:rPr lang="fr-FR" sz="2000" b="1" spc="-70" dirty="0">
                <a:solidFill>
                  <a:srgbClr val="007FAD"/>
                </a:solidFill>
                <a:latin typeface="Arial" panose="020B0604020202020204" pitchFamily="34" charset="0"/>
                <a:ea typeface="+mj-ea"/>
                <a:cs typeface="Arial" panose="020B0604020202020204" pitchFamily="34" charset="0"/>
              </a:rPr>
              <a:t>Thématiques </a:t>
            </a:r>
            <a:r>
              <a:rPr lang="fr-FR" sz="2000" dirty="0">
                <a:solidFill>
                  <a:srgbClr val="5E5E5E"/>
                </a:solidFill>
                <a:latin typeface="Arial" panose="020B0604020202020204"/>
                <a:cs typeface="Arial"/>
              </a:rPr>
              <a:t>: autonomie, bien-être, carnet de santé, carnet de vaccination, mesures de santé, prise de RDV, suivi de grossesse ou suivi de pathologie…</a:t>
            </a:r>
          </a:p>
        </p:txBody>
      </p:sp>
      <p:pic>
        <p:nvPicPr>
          <p:cNvPr id="10" name="Image 9">
            <a:extLst>
              <a:ext uri="{FF2B5EF4-FFF2-40B4-BE49-F238E27FC236}">
                <a16:creationId xmlns:a16="http://schemas.microsoft.com/office/drawing/2014/main" id="{E66FEDE3-D6E9-31F4-22A5-DABCF9E699EC}"/>
              </a:ext>
            </a:extLst>
          </p:cNvPr>
          <p:cNvPicPr>
            <a:picLocks noChangeAspect="1"/>
          </p:cNvPicPr>
          <p:nvPr/>
        </p:nvPicPr>
        <p:blipFill>
          <a:blip r:embed="rId2"/>
          <a:stretch>
            <a:fillRect/>
          </a:stretch>
        </p:blipFill>
        <p:spPr>
          <a:xfrm>
            <a:off x="9406445" y="3905144"/>
            <a:ext cx="1751288" cy="1652497"/>
          </a:xfrm>
          <a:prstGeom prst="rect">
            <a:avLst/>
          </a:prstGeom>
        </p:spPr>
      </p:pic>
    </p:spTree>
    <p:extLst>
      <p:ext uri="{BB962C8B-B14F-4D97-AF65-F5344CB8AC3E}">
        <p14:creationId xmlns:p14="http://schemas.microsoft.com/office/powerpoint/2010/main" val="1543345709"/>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BB07D2A-9384-4309-AF3C-28D05BFAEE13}"/>
              </a:ext>
            </a:extLst>
          </p:cNvPr>
          <p:cNvSpPr>
            <a:spLocks noGrp="1"/>
          </p:cNvSpPr>
          <p:nvPr>
            <p:ph type="title"/>
          </p:nvPr>
        </p:nvSpPr>
        <p:spPr/>
        <p:txBody>
          <a:bodyPr>
            <a:normAutofit/>
          </a:bodyPr>
          <a:lstStyle/>
          <a:p>
            <a:r>
              <a:rPr lang="fr-FR" sz="3500" b="1" spc="-70">
                <a:solidFill>
                  <a:srgbClr val="005C9B"/>
                </a:solidFill>
                <a:latin typeface="Arial" panose="020B0604020202020204" pitchFamily="34" charset="0"/>
                <a:cs typeface="Arial" panose="020B0604020202020204" pitchFamily="34" charset="0"/>
              </a:rPr>
              <a:t>La gestion multi-profil</a:t>
            </a:r>
          </a:p>
        </p:txBody>
      </p:sp>
      <p:sp>
        <p:nvSpPr>
          <p:cNvPr id="9" name="Espace réservé du texte 1">
            <a:extLst>
              <a:ext uri="{FF2B5EF4-FFF2-40B4-BE49-F238E27FC236}">
                <a16:creationId xmlns:a16="http://schemas.microsoft.com/office/drawing/2014/main" id="{2389C265-DB47-4793-B6B4-C3738825EAC6}"/>
              </a:ext>
            </a:extLst>
          </p:cNvPr>
          <p:cNvSpPr txBox="1">
            <a:spLocks/>
          </p:cNvSpPr>
          <p:nvPr/>
        </p:nvSpPr>
        <p:spPr>
          <a:xfrm>
            <a:off x="791110" y="2712378"/>
            <a:ext cx="8332342" cy="3354351"/>
          </a:xfrm>
          <a:prstGeom prst="rect">
            <a:avLst/>
          </a:prstGeom>
          <a:ln w="3175">
            <a:noFill/>
          </a:ln>
        </p:spPr>
        <p:txBody>
          <a:bodyPr vert="horz" lIns="91440" tIns="45720" rIns="91440" bIns="45720" rtlCol="0">
            <a:normAutofit/>
          </a:bodyPr>
          <a:lstStyle>
            <a:lvl1pPr marL="0" indent="0" algn="l" defTabSz="914400" rtl="0" eaLnBrk="1" latinLnBrk="0" hangingPunct="1">
              <a:lnSpc>
                <a:spcPct val="110000"/>
              </a:lnSpc>
              <a:spcBef>
                <a:spcPts val="600"/>
              </a:spcBef>
              <a:spcAft>
                <a:spcPts val="0"/>
              </a:spcAft>
              <a:buClr>
                <a:schemeClr val="tx2"/>
              </a:buClr>
              <a:buFont typeface="Symbol" panose="05050102010706020507" pitchFamily="18" charset="2"/>
              <a:buNone/>
              <a:defRPr sz="2000" b="0" kern="1200">
                <a:solidFill>
                  <a:schemeClr val="tx2"/>
                </a:solidFill>
                <a:latin typeface="+mn-lt"/>
                <a:ea typeface="+mn-ea"/>
                <a:cs typeface="+mn-cs"/>
              </a:defRPr>
            </a:lvl1pPr>
            <a:lvl2pPr marL="174625" indent="-174625" algn="l" defTabSz="914400" rtl="0" eaLnBrk="1" latinLnBrk="0" hangingPunct="1">
              <a:lnSpc>
                <a:spcPct val="110000"/>
              </a:lnSpc>
              <a:spcBef>
                <a:spcPts val="600"/>
              </a:spcBef>
              <a:spcAft>
                <a:spcPts val="0"/>
              </a:spcAft>
              <a:buClr>
                <a:schemeClr val="tx2"/>
              </a:buClr>
              <a:buSzPct val="120000"/>
              <a:buFont typeface="Arial" panose="020B0604020202020204" pitchFamily="34" charset="0"/>
              <a:buChar char="•"/>
              <a:defRPr sz="1600" b="1" i="0" kern="1200">
                <a:solidFill>
                  <a:schemeClr val="tx1"/>
                </a:solidFill>
                <a:latin typeface="+mn-lt"/>
                <a:ea typeface="+mn-ea"/>
                <a:cs typeface="+mn-cs"/>
              </a:defRPr>
            </a:lvl2pPr>
            <a:lvl3pPr marL="358775" indent="-184150" algn="l" defTabSz="914400" rtl="0" eaLnBrk="1" latinLnBrk="0" hangingPunct="1">
              <a:lnSpc>
                <a:spcPct val="110000"/>
              </a:lnSpc>
              <a:spcBef>
                <a:spcPts val="300"/>
              </a:spcBef>
              <a:spcAft>
                <a:spcPts val="0"/>
              </a:spcAft>
              <a:buClr>
                <a:schemeClr val="tx2"/>
              </a:buClr>
              <a:buFont typeface="Arial" panose="020B0604020202020204" pitchFamily="34" charset="0"/>
              <a:buChar char="-"/>
              <a:defRPr sz="1600" b="0" kern="1200">
                <a:solidFill>
                  <a:schemeClr val="tx1"/>
                </a:solidFill>
                <a:latin typeface="+mn-lt"/>
                <a:ea typeface="+mn-ea"/>
                <a:cs typeface="+mn-cs"/>
              </a:defRPr>
            </a:lvl3pPr>
            <a:lvl4pPr marL="530225" indent="-171450" algn="l" defTabSz="914400" rtl="0" eaLnBrk="1" latinLnBrk="0" hangingPunct="1">
              <a:lnSpc>
                <a:spcPct val="110000"/>
              </a:lnSpc>
              <a:spcBef>
                <a:spcPts val="0"/>
              </a:spcBef>
              <a:spcAft>
                <a:spcPts val="0"/>
              </a:spcAft>
              <a:buClr>
                <a:schemeClr val="tx2"/>
              </a:buClr>
              <a:buSzPct val="100000"/>
              <a:buFont typeface="Arial" panose="020B0604020202020204" pitchFamily="34" charset="0"/>
              <a:buChar char="•"/>
              <a:defRPr sz="1200" b="0" kern="1200">
                <a:solidFill>
                  <a:schemeClr val="tx1"/>
                </a:solidFill>
                <a:latin typeface="+mn-lt"/>
                <a:ea typeface="+mn-ea"/>
                <a:cs typeface="+mn-cs"/>
              </a:defRPr>
            </a:lvl4pPr>
            <a:lvl5pPr marL="538163" indent="-80963" algn="l" defTabSz="914400" rtl="0" eaLnBrk="1" latinLnBrk="0" hangingPunct="1">
              <a:lnSpc>
                <a:spcPct val="110000"/>
              </a:lnSpc>
              <a:spcBef>
                <a:spcPts val="0"/>
              </a:spcBef>
              <a:spcAft>
                <a:spcPts val="0"/>
              </a:spcAft>
              <a:buFont typeface="Arial" panose="020B0604020202020204" pitchFamily="34" charset="0"/>
              <a:buNone/>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0"/>
              </a:spcAft>
              <a:buClr>
                <a:srgbClr val="007FAD"/>
              </a:buClr>
              <a:buSzTx/>
              <a:buFont typeface="Symbol" panose="05050102010706020507" pitchFamily="18" charset="2"/>
              <a:buNone/>
              <a:tabLst/>
              <a:defRPr/>
            </a:pPr>
            <a:r>
              <a:rPr kumimoji="0" lang="fr-FR" b="0" i="0" u="none" strike="noStrike" kern="1200" cap="none" spc="0" normalizeH="0" baseline="0" noProof="0" dirty="0">
                <a:ln>
                  <a:noFill/>
                </a:ln>
                <a:solidFill>
                  <a:srgbClr val="545859"/>
                </a:solidFill>
                <a:effectLst/>
                <a:uLnTx/>
                <a:uFillTx/>
                <a:latin typeface="Arial" panose="020B0604020202020204"/>
                <a:ea typeface="+mn-ea"/>
                <a:cs typeface="+mn-cs"/>
              </a:rPr>
              <a:t>L’usager à la possibilité d’activer Mon espace santé pour ses enfants. </a:t>
            </a:r>
          </a:p>
          <a:p>
            <a:pPr marL="0" marR="0" lvl="0" indent="0" algn="l" defTabSz="914400" rtl="0" eaLnBrk="1" fontAlgn="auto" latinLnBrk="0" hangingPunct="1">
              <a:lnSpc>
                <a:spcPct val="110000"/>
              </a:lnSpc>
              <a:spcBef>
                <a:spcPts val="600"/>
              </a:spcBef>
              <a:spcAft>
                <a:spcPts val="0"/>
              </a:spcAft>
              <a:buClr>
                <a:srgbClr val="007FAD"/>
              </a:buClr>
              <a:buSzTx/>
              <a:buFont typeface="Symbol" panose="05050102010706020507" pitchFamily="18" charset="2"/>
              <a:buNone/>
              <a:tabLst/>
              <a:defRPr/>
            </a:pPr>
            <a:r>
              <a:rPr kumimoji="0" lang="fr-FR" b="0" i="0" u="none" strike="noStrike" kern="1200" cap="none" spc="0" normalizeH="0" baseline="0" noProof="0" dirty="0">
                <a:ln>
                  <a:noFill/>
                </a:ln>
                <a:solidFill>
                  <a:srgbClr val="545859"/>
                </a:solidFill>
                <a:effectLst/>
                <a:uLnTx/>
                <a:uFillTx/>
                <a:latin typeface="Arial" panose="020B0604020202020204"/>
                <a:ea typeface="+mn-ea"/>
                <a:cs typeface="+mn-cs"/>
              </a:rPr>
              <a:t>Leurs profils sont directement rattachés au profil Mon espace santé du parent.</a:t>
            </a:r>
          </a:p>
        </p:txBody>
      </p:sp>
      <p:pic>
        <p:nvPicPr>
          <p:cNvPr id="10" name="Picture 2">
            <a:extLst>
              <a:ext uri="{FF2B5EF4-FFF2-40B4-BE49-F238E27FC236}">
                <a16:creationId xmlns:a16="http://schemas.microsoft.com/office/drawing/2014/main" id="{9D283E1F-CE50-4303-98BA-916D2FDBBEB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89014" y="3650683"/>
            <a:ext cx="3429000" cy="1828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ZoneTexte 10">
            <a:extLst>
              <a:ext uri="{FF2B5EF4-FFF2-40B4-BE49-F238E27FC236}">
                <a16:creationId xmlns:a16="http://schemas.microsoft.com/office/drawing/2014/main" id="{916C9895-ABEF-49C0-B4F2-85F775798CBF}"/>
              </a:ext>
            </a:extLst>
          </p:cNvPr>
          <p:cNvSpPr txBox="1"/>
          <p:nvPr/>
        </p:nvSpPr>
        <p:spPr>
          <a:xfrm>
            <a:off x="791110" y="2043171"/>
            <a:ext cx="6189842" cy="400110"/>
          </a:xfrm>
          <a:prstGeom prst="rect">
            <a:avLst/>
          </a:prstGeom>
          <a:noFill/>
        </p:spPr>
        <p:txBody>
          <a:bodyPr wrap="square" rtlCol="0">
            <a:spAutoFit/>
          </a:bodyPr>
          <a:lstStyle/>
          <a:p>
            <a:r>
              <a:rPr lang="fr-FR" sz="2000" b="1" dirty="0">
                <a:solidFill>
                  <a:srgbClr val="007FAD"/>
                </a:solidFill>
                <a:latin typeface="Arial" panose="020B0604020202020204"/>
              </a:rPr>
              <a:t>Pour gérer sa santé et celle de ses enfants</a:t>
            </a:r>
          </a:p>
        </p:txBody>
      </p:sp>
      <p:pic>
        <p:nvPicPr>
          <p:cNvPr id="12" name="Picture 4">
            <a:extLst>
              <a:ext uri="{FF2B5EF4-FFF2-40B4-BE49-F238E27FC236}">
                <a16:creationId xmlns:a16="http://schemas.microsoft.com/office/drawing/2014/main" id="{C2B8983F-C394-4A0C-8321-9916F167852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423" t="2975" r="4043" b="1787"/>
          <a:stretch/>
        </p:blipFill>
        <p:spPr bwMode="auto">
          <a:xfrm>
            <a:off x="9400146" y="1711873"/>
            <a:ext cx="2178830" cy="4982077"/>
          </a:xfrm>
          <a:prstGeom prst="rect">
            <a:avLst/>
          </a:prstGeom>
          <a:noFill/>
          <a:ln w="76200">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ZoneTexte 1">
            <a:extLst>
              <a:ext uri="{FF2B5EF4-FFF2-40B4-BE49-F238E27FC236}">
                <a16:creationId xmlns:a16="http://schemas.microsoft.com/office/drawing/2014/main" id="{ABCCC169-B899-2502-9D1C-43BA21D85D45}"/>
              </a:ext>
            </a:extLst>
          </p:cNvPr>
          <p:cNvSpPr txBox="1"/>
          <p:nvPr/>
        </p:nvSpPr>
        <p:spPr>
          <a:xfrm>
            <a:off x="791110" y="5774076"/>
            <a:ext cx="8424809" cy="707886"/>
          </a:xfrm>
          <a:prstGeom prst="rect">
            <a:avLst/>
          </a:prstGeom>
          <a:noFill/>
        </p:spPr>
        <p:txBody>
          <a:bodyPr wrap="square" rtlCol="0">
            <a:spAutoFit/>
          </a:bodyPr>
          <a:lstStyle/>
          <a:p>
            <a:pPr algn="ctr"/>
            <a:r>
              <a:rPr lang="fr-FR" sz="2000" dirty="0">
                <a:solidFill>
                  <a:srgbClr val="545859"/>
                </a:solidFill>
                <a:latin typeface="Arial" panose="020B0604020202020204"/>
              </a:rPr>
              <a:t>A la demande du mineur, les professionnels de santé peuvent rendre « invisible » un document de santé aux parents</a:t>
            </a:r>
          </a:p>
        </p:txBody>
      </p:sp>
    </p:spTree>
    <p:extLst>
      <p:ext uri="{BB962C8B-B14F-4D97-AF65-F5344CB8AC3E}">
        <p14:creationId xmlns:p14="http://schemas.microsoft.com/office/powerpoint/2010/main" val="3970586566"/>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7511816C-C8D1-4A8C-B8FD-C364AAE9A1B7}"/>
              </a:ext>
            </a:extLst>
          </p:cNvPr>
          <p:cNvSpPr>
            <a:spLocks noGrp="1"/>
          </p:cNvSpPr>
          <p:nvPr>
            <p:ph type="title"/>
          </p:nvPr>
        </p:nvSpPr>
        <p:spPr/>
        <p:txBody>
          <a:bodyPr>
            <a:normAutofit/>
          </a:bodyPr>
          <a:lstStyle/>
          <a:p>
            <a:r>
              <a:rPr lang="fr-FR" sz="3500" b="1" spc="-70">
                <a:solidFill>
                  <a:srgbClr val="005C9B"/>
                </a:solidFill>
                <a:latin typeface="Arial" panose="020B0604020202020204" pitchFamily="34" charset="0"/>
                <a:cs typeface="Arial" panose="020B0604020202020204" pitchFamily="34" charset="0"/>
              </a:rPr>
              <a:t>Une application est disponible</a:t>
            </a:r>
          </a:p>
        </p:txBody>
      </p:sp>
      <p:sp>
        <p:nvSpPr>
          <p:cNvPr id="14" name="ZoneTexte 20">
            <a:extLst>
              <a:ext uri="{FF2B5EF4-FFF2-40B4-BE49-F238E27FC236}">
                <a16:creationId xmlns:a16="http://schemas.microsoft.com/office/drawing/2014/main" id="{257FBCE5-9104-49DA-B5DF-28FB58678F9D}"/>
              </a:ext>
            </a:extLst>
          </p:cNvPr>
          <p:cNvSpPr txBox="1"/>
          <p:nvPr/>
        </p:nvSpPr>
        <p:spPr>
          <a:xfrm>
            <a:off x="554292" y="2599362"/>
            <a:ext cx="7932162" cy="2862322"/>
          </a:xfrm>
          <a:prstGeom prst="rect">
            <a:avLst/>
          </a:prstGeom>
          <a:noFill/>
        </p:spPr>
        <p:txBody>
          <a:bodyPr wrap="square" lIns="91440" tIns="45720" rIns="91440" bIns="45720" rtlCol="0" anchor="t">
            <a:spAutoFit/>
          </a:bodyPr>
          <a:lstStyle/>
          <a:p>
            <a:pPr marL="342900" indent="-342900" defTabSz="914377">
              <a:buFont typeface="Arial" panose="020B0604020202020204" pitchFamily="34" charset="0"/>
              <a:buChar char="•"/>
            </a:pPr>
            <a:r>
              <a:rPr lang="fr-FR" sz="2000" b="1" dirty="0">
                <a:solidFill>
                  <a:srgbClr val="DF2680"/>
                </a:solidFill>
                <a:latin typeface="Arial" panose="020B0604020202020204"/>
                <a:cs typeface="Arial"/>
              </a:rPr>
              <a:t>Disponible</a:t>
            </a:r>
            <a:r>
              <a:rPr lang="fr-FR" sz="2000" dirty="0">
                <a:solidFill>
                  <a:srgbClr val="5E5E5E"/>
                </a:solidFill>
                <a:latin typeface="Arial" panose="020B0604020202020204"/>
                <a:cs typeface="Arial"/>
              </a:rPr>
              <a:t> sur Android et IOS</a:t>
            </a:r>
          </a:p>
          <a:p>
            <a:pPr marL="342900" indent="-342900" defTabSz="914377">
              <a:buFont typeface="Arial" panose="020B0604020202020204" pitchFamily="34" charset="0"/>
              <a:buChar char="•"/>
            </a:pPr>
            <a:endParaRPr lang="fr-FR" sz="2000" dirty="0">
              <a:solidFill>
                <a:srgbClr val="5E5E5E"/>
              </a:solidFill>
              <a:latin typeface="Arial" panose="020B0604020202020204"/>
              <a:cs typeface="Arial" panose="020B0604020202020204" pitchFamily="34" charset="0"/>
            </a:endParaRPr>
          </a:p>
          <a:p>
            <a:pPr marL="342900" indent="-342900" defTabSz="914377">
              <a:buFont typeface="Arial" panose="020B0604020202020204" pitchFamily="34" charset="0"/>
              <a:buChar char="•"/>
            </a:pPr>
            <a:r>
              <a:rPr lang="fr-FR" sz="2000" dirty="0">
                <a:solidFill>
                  <a:srgbClr val="5E5E5E"/>
                </a:solidFill>
                <a:latin typeface="Arial" panose="020B0604020202020204"/>
                <a:cs typeface="Arial"/>
              </a:rPr>
              <a:t>Un design épuré et une </a:t>
            </a:r>
            <a:r>
              <a:rPr lang="fr-FR" sz="2000" b="1" dirty="0">
                <a:solidFill>
                  <a:srgbClr val="DF2680"/>
                </a:solidFill>
                <a:latin typeface="Arial" panose="020B0604020202020204"/>
                <a:cs typeface="Arial"/>
              </a:rPr>
              <a:t>navigation optimisée pour les usages en mobilité.</a:t>
            </a:r>
          </a:p>
          <a:p>
            <a:pPr marL="342900" indent="-342900" defTabSz="914377">
              <a:buFont typeface="Arial" panose="020B0604020202020204" pitchFamily="34" charset="0"/>
              <a:buChar char="•"/>
            </a:pPr>
            <a:endParaRPr lang="fr-FR" sz="2000" dirty="0">
              <a:solidFill>
                <a:srgbClr val="5E5E5E"/>
              </a:solidFill>
              <a:latin typeface="Arial" panose="020B0604020202020204"/>
              <a:cs typeface="Arial" panose="020B0604020202020204" pitchFamily="34" charset="0"/>
            </a:endParaRPr>
          </a:p>
          <a:p>
            <a:pPr marL="342900" indent="-342900" defTabSz="914377">
              <a:buFont typeface="Arial" panose="020B0604020202020204" pitchFamily="34" charset="0"/>
              <a:buChar char="•"/>
            </a:pPr>
            <a:r>
              <a:rPr lang="fr-FR" sz="2000" dirty="0">
                <a:solidFill>
                  <a:srgbClr val="5E5E5E"/>
                </a:solidFill>
                <a:latin typeface="Arial" panose="020B0604020202020204"/>
                <a:cs typeface="Arial"/>
              </a:rPr>
              <a:t>Un </a:t>
            </a:r>
            <a:r>
              <a:rPr lang="fr-FR" sz="2000" b="1" dirty="0">
                <a:solidFill>
                  <a:srgbClr val="DF2680"/>
                </a:solidFill>
                <a:latin typeface="Arial" panose="020B0604020202020204"/>
                <a:cs typeface="Arial"/>
              </a:rPr>
              <a:t>mode invité </a:t>
            </a:r>
            <a:r>
              <a:rPr lang="fr-FR" sz="2000" dirty="0">
                <a:solidFill>
                  <a:srgbClr val="5E5E5E"/>
                </a:solidFill>
                <a:latin typeface="Arial" panose="020B0604020202020204"/>
                <a:cs typeface="Arial"/>
              </a:rPr>
              <a:t>pour montrer Mon espace santé en toute confidentialité</a:t>
            </a:r>
          </a:p>
          <a:p>
            <a:pPr marL="342900" indent="-342900" defTabSz="914377">
              <a:buFont typeface="Arial" panose="020B0604020202020204" pitchFamily="34" charset="0"/>
              <a:buChar char="•"/>
            </a:pPr>
            <a:endParaRPr lang="fr-FR" sz="2000" dirty="0">
              <a:solidFill>
                <a:srgbClr val="5E5E5E"/>
              </a:solidFill>
              <a:latin typeface="Arial" panose="020B0604020202020204"/>
              <a:cs typeface="Arial"/>
            </a:endParaRPr>
          </a:p>
          <a:p>
            <a:pPr marL="342900" indent="-342900" defTabSz="914377">
              <a:buFont typeface="Arial" panose="020B0604020202020204" pitchFamily="34" charset="0"/>
              <a:buChar char="•"/>
            </a:pPr>
            <a:r>
              <a:rPr lang="fr-FR" sz="2000" dirty="0">
                <a:solidFill>
                  <a:srgbClr val="5E5E5E"/>
                </a:solidFill>
                <a:latin typeface="Arial" panose="020B0604020202020204"/>
                <a:cs typeface="Arial"/>
              </a:rPr>
              <a:t>Une authentification facilitée avec la </a:t>
            </a:r>
            <a:r>
              <a:rPr lang="fr-FR" sz="2000" b="1" dirty="0">
                <a:solidFill>
                  <a:srgbClr val="DF2680"/>
                </a:solidFill>
                <a:latin typeface="Arial" panose="020B0604020202020204"/>
                <a:cs typeface="Arial"/>
              </a:rPr>
              <a:t>biométrie</a:t>
            </a:r>
          </a:p>
        </p:txBody>
      </p:sp>
      <p:pic>
        <p:nvPicPr>
          <p:cNvPr id="4" name="Picture 3">
            <a:extLst>
              <a:ext uri="{FF2B5EF4-FFF2-40B4-BE49-F238E27FC236}">
                <a16:creationId xmlns:a16="http://schemas.microsoft.com/office/drawing/2014/main" id="{7129BC7C-2618-4BE5-AFC0-E78374C09D0C}"/>
              </a:ext>
            </a:extLst>
          </p:cNvPr>
          <p:cNvPicPr>
            <a:picLocks noChangeAspect="1"/>
          </p:cNvPicPr>
          <p:nvPr/>
        </p:nvPicPr>
        <p:blipFill>
          <a:blip r:embed="rId2"/>
          <a:stretch>
            <a:fillRect/>
          </a:stretch>
        </p:blipFill>
        <p:spPr>
          <a:xfrm>
            <a:off x="8882499" y="1715650"/>
            <a:ext cx="2492917" cy="4942479"/>
          </a:xfrm>
          <a:prstGeom prst="rect">
            <a:avLst/>
          </a:prstGeom>
        </p:spPr>
      </p:pic>
    </p:spTree>
    <p:extLst>
      <p:ext uri="{BB962C8B-B14F-4D97-AF65-F5344CB8AC3E}">
        <p14:creationId xmlns:p14="http://schemas.microsoft.com/office/powerpoint/2010/main" val="2411520119"/>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8E84F67-19B9-414D-9E2A-9D088EA61579}"/>
              </a:ext>
            </a:extLst>
          </p:cNvPr>
          <p:cNvSpPr>
            <a:spLocks noGrp="1"/>
          </p:cNvSpPr>
          <p:nvPr>
            <p:ph type="title"/>
          </p:nvPr>
        </p:nvSpPr>
        <p:spPr/>
        <p:txBody>
          <a:bodyPr>
            <a:normAutofit/>
          </a:bodyPr>
          <a:lstStyle/>
          <a:p>
            <a:r>
              <a:rPr lang="fr-FR" sz="3500" b="1" spc="-70">
                <a:solidFill>
                  <a:srgbClr val="005C9B"/>
                </a:solidFill>
                <a:latin typeface="Arial" panose="020B0604020202020204" pitchFamily="34" charset="0"/>
                <a:cs typeface="Arial" panose="020B0604020202020204" pitchFamily="34" charset="0"/>
              </a:rPr>
              <a:t>Support usagers</a:t>
            </a:r>
          </a:p>
        </p:txBody>
      </p:sp>
      <p:sp>
        <p:nvSpPr>
          <p:cNvPr id="5" name="Rectangle 4">
            <a:extLst>
              <a:ext uri="{FF2B5EF4-FFF2-40B4-BE49-F238E27FC236}">
                <a16:creationId xmlns:a16="http://schemas.microsoft.com/office/drawing/2014/main" id="{FA0CF5E8-52E5-4B96-A19A-E7A7EC3809E5}"/>
              </a:ext>
            </a:extLst>
          </p:cNvPr>
          <p:cNvSpPr/>
          <p:nvPr/>
        </p:nvSpPr>
        <p:spPr>
          <a:xfrm>
            <a:off x="7968208" y="1946852"/>
            <a:ext cx="3742580" cy="41044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E6257D75-A106-4894-8D98-8A53E2160FAF}"/>
              </a:ext>
            </a:extLst>
          </p:cNvPr>
          <p:cNvSpPr/>
          <p:nvPr/>
        </p:nvSpPr>
        <p:spPr>
          <a:xfrm>
            <a:off x="4062950" y="1916832"/>
            <a:ext cx="3742580" cy="41044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C60B893B-A076-4B67-8A7A-52C8B64AA909}"/>
              </a:ext>
            </a:extLst>
          </p:cNvPr>
          <p:cNvSpPr/>
          <p:nvPr/>
        </p:nvSpPr>
        <p:spPr>
          <a:xfrm>
            <a:off x="407368" y="1916832"/>
            <a:ext cx="3456384" cy="41044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F489520B-0DF9-4119-B1E0-3A3206046D6B}"/>
              </a:ext>
            </a:extLst>
          </p:cNvPr>
          <p:cNvSpPr/>
          <p:nvPr/>
        </p:nvSpPr>
        <p:spPr>
          <a:xfrm>
            <a:off x="479376" y="3370980"/>
            <a:ext cx="3312368" cy="2002236"/>
          </a:xfrm>
          <a:prstGeom prst="rect">
            <a:avLst/>
          </a:prstGeom>
          <a:solidFill>
            <a:schemeClr val="bg1">
              <a:lumMod val="95000"/>
              <a:alpha val="13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Pct val="80000"/>
              <a:buFontTx/>
              <a:buNone/>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Calibri" panose="020F0502020204030204" pitchFamily="34" charset="0"/>
              </a:rPr>
              <a:t>Support téléphonique inter régime ouvert du lundi au vendredi de 8H30 à 17H30</a:t>
            </a:r>
          </a:p>
          <a:p>
            <a:pPr marL="0" marR="0" lvl="0" indent="0" algn="l" defTabSz="914400" rtl="0" eaLnBrk="1" fontAlgn="auto" latinLnBrk="0" hangingPunct="1">
              <a:lnSpc>
                <a:spcPct val="100000"/>
              </a:lnSpc>
              <a:spcBef>
                <a:spcPts val="0"/>
              </a:spcBef>
              <a:spcAft>
                <a:spcPts val="0"/>
              </a:spcAft>
              <a:buClrTx/>
              <a:buSzPct val="80000"/>
              <a:buFontTx/>
              <a:buNone/>
              <a:tabLst/>
              <a:defRPr/>
            </a:pPr>
            <a:endParaRPr kumimoji="0" lang="fr-FR" sz="1400" b="0" i="0" u="none" strike="noStrike" kern="1200" cap="none" spc="0" normalizeH="0" baseline="0" noProof="0">
              <a:ln>
                <a:noFill/>
              </a:ln>
              <a:solidFill>
                <a:srgbClr val="545859"/>
              </a:solidFill>
              <a:effectLst/>
              <a:uLnTx/>
              <a:uFillTx/>
              <a:latin typeface="Arial" panose="020B0604020202020204"/>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Pct val="80000"/>
              <a:buFont typeface="Arial" panose="020B0604020202020204" pitchFamily="34" charset="0"/>
              <a:buChar char="•"/>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Calibri" panose="020F0502020204030204" pitchFamily="34" charset="0"/>
              </a:rPr>
              <a:t>Intervention sur le dossier</a:t>
            </a:r>
          </a:p>
          <a:p>
            <a:pPr marL="285750" marR="0" lvl="0" indent="-285750" algn="l" defTabSz="914400" rtl="0" eaLnBrk="1" fontAlgn="auto" latinLnBrk="0" hangingPunct="1">
              <a:lnSpc>
                <a:spcPct val="100000"/>
              </a:lnSpc>
              <a:spcBef>
                <a:spcPts val="0"/>
              </a:spcBef>
              <a:spcAft>
                <a:spcPts val="0"/>
              </a:spcAft>
              <a:buClrTx/>
              <a:buSzPct val="80000"/>
              <a:buFont typeface="Arial" panose="020B0604020202020204" pitchFamily="34" charset="0"/>
              <a:buChar char="•"/>
              <a:tabLst/>
              <a:defRPr/>
            </a:pPr>
            <a:r>
              <a:rPr lang="fr-FR" sz="1400">
                <a:solidFill>
                  <a:srgbClr val="545859"/>
                </a:solidFill>
                <a:latin typeface="Arial" panose="020B0604020202020204"/>
                <a:cs typeface="Calibri" panose="020F0502020204030204" pitchFamily="34" charset="0"/>
              </a:rPr>
              <a:t>P</a:t>
            </a:r>
            <a:r>
              <a:rPr kumimoji="0" lang="fr-FR" sz="1400" b="0" i="0" u="none" strike="noStrike" kern="1200" cap="none" spc="0" normalizeH="0" baseline="0" noProof="0" err="1">
                <a:ln>
                  <a:noFill/>
                </a:ln>
                <a:solidFill>
                  <a:srgbClr val="545859"/>
                </a:solidFill>
                <a:effectLst/>
                <a:uLnTx/>
                <a:uFillTx/>
                <a:latin typeface="Arial" panose="020B0604020202020204"/>
                <a:ea typeface="+mn-ea"/>
                <a:cs typeface="Calibri" panose="020F0502020204030204" pitchFamily="34" charset="0"/>
              </a:rPr>
              <a:t>rise</a:t>
            </a:r>
            <a:r>
              <a:rPr kumimoji="0" lang="fr-FR" sz="1400" b="0" i="0" u="none" strike="noStrike" kern="1200" cap="none" spc="0" normalizeH="0" baseline="0" noProof="0">
                <a:ln>
                  <a:noFill/>
                </a:ln>
                <a:solidFill>
                  <a:srgbClr val="545859"/>
                </a:solidFill>
                <a:effectLst/>
                <a:uLnTx/>
                <a:uFillTx/>
                <a:latin typeface="Arial" panose="020B0604020202020204"/>
                <a:ea typeface="+mn-ea"/>
                <a:cs typeface="Calibri" panose="020F0502020204030204" pitchFamily="34" charset="0"/>
              </a:rPr>
              <a:t> en charge des demandes d’opposition ou de clôture</a:t>
            </a:r>
          </a:p>
          <a:p>
            <a:pPr marL="285750" marR="0" lvl="0" indent="-285750" algn="l" defTabSz="914400" rtl="0" eaLnBrk="1" fontAlgn="auto" latinLnBrk="0" hangingPunct="1">
              <a:lnSpc>
                <a:spcPct val="100000"/>
              </a:lnSpc>
              <a:spcBef>
                <a:spcPts val="0"/>
              </a:spcBef>
              <a:spcAft>
                <a:spcPts val="0"/>
              </a:spcAft>
              <a:buClrTx/>
              <a:buSzPct val="80000"/>
              <a:buFont typeface="Arial" panose="020B0604020202020204" pitchFamily="34" charset="0"/>
              <a:buChar char="•"/>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Calibri" panose="020F0502020204030204" pitchFamily="34" charset="0"/>
              </a:rPr>
              <a:t>Information générale</a:t>
            </a:r>
          </a:p>
          <a:p>
            <a:pPr marL="285750" marR="0" lvl="0" indent="-285750" algn="l" defTabSz="914400" rtl="0" eaLnBrk="1" fontAlgn="auto" latinLnBrk="0" hangingPunct="1">
              <a:lnSpc>
                <a:spcPct val="100000"/>
              </a:lnSpc>
              <a:spcBef>
                <a:spcPts val="0"/>
              </a:spcBef>
              <a:spcAft>
                <a:spcPts val="0"/>
              </a:spcAft>
              <a:buClrTx/>
              <a:buSzPct val="80000"/>
              <a:buFont typeface="Arial" panose="020B0604020202020204" pitchFamily="34" charset="0"/>
              <a:buChar char="•"/>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Calibri" panose="020F0502020204030204" pitchFamily="34" charset="0"/>
              </a:rPr>
              <a:t>Aide à l’usage</a:t>
            </a:r>
          </a:p>
        </p:txBody>
      </p:sp>
      <p:sp>
        <p:nvSpPr>
          <p:cNvPr id="9" name="Rectangle 8">
            <a:extLst>
              <a:ext uri="{FF2B5EF4-FFF2-40B4-BE49-F238E27FC236}">
                <a16:creationId xmlns:a16="http://schemas.microsoft.com/office/drawing/2014/main" id="{C6A432B0-F950-41E8-917C-2B47CD4C738A}"/>
              </a:ext>
            </a:extLst>
          </p:cNvPr>
          <p:cNvSpPr/>
          <p:nvPr/>
        </p:nvSpPr>
        <p:spPr>
          <a:xfrm>
            <a:off x="7968208" y="2497821"/>
            <a:ext cx="4032448" cy="1559273"/>
          </a:xfrm>
          <a:prstGeom prst="rect">
            <a:avLst/>
          </a:prstGeom>
          <a:solidFill>
            <a:schemeClr val="bg1">
              <a:lumMod val="95000"/>
              <a:alpha val="13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1" algn="l" defTabSz="914400" rtl="0" eaLnBrk="1" fontAlgn="auto" latinLnBrk="0" hangingPunct="1">
              <a:lnSpc>
                <a:spcPct val="100000"/>
              </a:lnSpc>
              <a:spcBef>
                <a:spcPts val="0"/>
              </a:spcBef>
              <a:spcAft>
                <a:spcPts val="0"/>
              </a:spcAft>
              <a:buClrTx/>
              <a:buSzPct val="80000"/>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Calibri" panose="020F0502020204030204" pitchFamily="34" charset="0"/>
              </a:rPr>
              <a:t>Formulaire accessible sur le site </a:t>
            </a:r>
            <a:r>
              <a:rPr lang="fr-FR" sz="1400">
                <a:solidFill>
                  <a:srgbClr val="545859"/>
                </a:solidFill>
                <a:latin typeface="Arial" panose="020B0604020202020204"/>
                <a:cs typeface="Calibri" panose="020F0502020204030204" pitchFamily="34" charset="0"/>
                <a:hlinkClick r:id="rId2"/>
              </a:rPr>
              <a:t>monespacesante.fr</a:t>
            </a:r>
            <a:r>
              <a:rPr lang="fr-FR" sz="1400">
                <a:solidFill>
                  <a:srgbClr val="545859"/>
                </a:solidFill>
                <a:latin typeface="Arial" panose="020B0604020202020204"/>
                <a:cs typeface="Calibri" panose="020F0502020204030204" pitchFamily="34" charset="0"/>
              </a:rPr>
              <a:t> </a:t>
            </a:r>
            <a:r>
              <a:rPr kumimoji="0" lang="fr-FR" sz="1400" b="0" i="0" u="none" strike="noStrike" kern="1200" cap="none" spc="0" normalizeH="0" baseline="0" noProof="0">
                <a:ln>
                  <a:noFill/>
                </a:ln>
                <a:solidFill>
                  <a:srgbClr val="545859"/>
                </a:solidFill>
                <a:effectLst/>
                <a:uLnTx/>
                <a:uFillTx/>
                <a:latin typeface="Arial" panose="020B0604020202020204"/>
                <a:ea typeface="+mn-ea"/>
                <a:cs typeface="Calibri" panose="020F0502020204030204" pitchFamily="34" charset="0"/>
              </a:rPr>
              <a:t>après connexion avec identifiant/mot de passe : </a:t>
            </a:r>
            <a:endParaRPr lang="fr-FR" sz="1400">
              <a:solidFill>
                <a:srgbClr val="545859"/>
              </a:solidFill>
              <a:latin typeface="Arial" panose="020B0604020202020204"/>
              <a:cs typeface="Calibri" panose="020F0502020204030204" pitchFamily="34" charset="0"/>
            </a:endParaRPr>
          </a:p>
          <a:p>
            <a:pPr marL="177800" lvl="1" indent="-177800">
              <a:buSzPct val="80000"/>
              <a:buFont typeface="Arial" panose="020B0604020202020204" pitchFamily="34" charset="0"/>
              <a:buChar char="•"/>
              <a:defRPr/>
            </a:pPr>
            <a:r>
              <a:rPr lang="fr-FR" sz="1400">
                <a:solidFill>
                  <a:srgbClr val="545859"/>
                </a:solidFill>
                <a:latin typeface="Arial" panose="020B0604020202020204"/>
                <a:cs typeface="Calibri" panose="020F0502020204030204" pitchFamily="34" charset="0"/>
              </a:rPr>
              <a:t>Intervention sur le dossier</a:t>
            </a:r>
          </a:p>
          <a:p>
            <a:pPr marL="177800" lvl="1" indent="-177800">
              <a:buSzPct val="80000"/>
              <a:buFont typeface="Arial" panose="020B0604020202020204" pitchFamily="34" charset="0"/>
              <a:buChar char="•"/>
              <a:defRPr/>
            </a:pPr>
            <a:r>
              <a:rPr lang="fr-FR" sz="1400">
                <a:solidFill>
                  <a:srgbClr val="545859"/>
                </a:solidFill>
                <a:latin typeface="Arial" panose="020B0604020202020204"/>
                <a:cs typeface="Calibri" panose="020F0502020204030204" pitchFamily="34" charset="0"/>
              </a:rPr>
              <a:t>Information générale</a:t>
            </a:r>
          </a:p>
          <a:p>
            <a:pPr marL="177800" lvl="1" indent="-177800">
              <a:buSzPct val="80000"/>
              <a:buFont typeface="Arial" panose="020B0604020202020204" pitchFamily="34" charset="0"/>
              <a:buChar char="•"/>
              <a:defRPr/>
            </a:pPr>
            <a:r>
              <a:rPr lang="fr-FR" sz="1400">
                <a:solidFill>
                  <a:srgbClr val="545859"/>
                </a:solidFill>
                <a:latin typeface="Arial" panose="020B0604020202020204"/>
                <a:cs typeface="Calibri" panose="020F0502020204030204" pitchFamily="34" charset="0"/>
              </a:rPr>
              <a:t>Aide à l’usage</a:t>
            </a:r>
          </a:p>
          <a:p>
            <a:pPr marL="177800" marR="0" lvl="1" indent="-177800" algn="l" defTabSz="914400" rtl="0" eaLnBrk="1" fontAlgn="auto" latinLnBrk="0" hangingPunct="1">
              <a:lnSpc>
                <a:spcPct val="100000"/>
              </a:lnSpc>
              <a:spcBef>
                <a:spcPts val="0"/>
              </a:spcBef>
              <a:spcAft>
                <a:spcPts val="0"/>
              </a:spcAft>
              <a:buClrTx/>
              <a:buSzPct val="80000"/>
              <a:buFont typeface="Arial" panose="020B0604020202020204" pitchFamily="34" charset="0"/>
              <a:buChar char="•"/>
              <a:tabLst/>
              <a:defRPr/>
            </a:pPr>
            <a:endParaRPr lang="fr-FR" sz="1200">
              <a:solidFill>
                <a:srgbClr val="545859"/>
              </a:solidFill>
              <a:latin typeface="Arial" panose="020B0604020202020204"/>
              <a:cs typeface="Calibri" panose="020F0502020204030204" pitchFamily="34" charset="0"/>
            </a:endParaRPr>
          </a:p>
          <a:p>
            <a:pPr marL="177800" marR="0" lvl="1" indent="-177800" algn="l" defTabSz="914400" rtl="0" eaLnBrk="1" fontAlgn="auto" latinLnBrk="0" hangingPunct="1">
              <a:lnSpc>
                <a:spcPct val="100000"/>
              </a:lnSpc>
              <a:spcBef>
                <a:spcPts val="0"/>
              </a:spcBef>
              <a:spcAft>
                <a:spcPts val="0"/>
              </a:spcAft>
              <a:buClrTx/>
              <a:buSzPct val="80000"/>
              <a:buFont typeface="Arial" panose="020B0604020202020204" pitchFamily="34" charset="0"/>
              <a:buChar char="•"/>
              <a:tabLst/>
              <a:defRPr/>
            </a:pPr>
            <a:endParaRPr lang="fr-FR" sz="1200">
              <a:solidFill>
                <a:srgbClr val="545859"/>
              </a:solidFill>
              <a:latin typeface="Arial" panose="020B0604020202020204"/>
              <a:cs typeface="Calibri" panose="020F0502020204030204" pitchFamily="34" charset="0"/>
            </a:endParaRPr>
          </a:p>
        </p:txBody>
      </p:sp>
      <p:pic>
        <p:nvPicPr>
          <p:cNvPr id="15" name="Image 22">
            <a:extLst>
              <a:ext uri="{FF2B5EF4-FFF2-40B4-BE49-F238E27FC236}">
                <a16:creationId xmlns:a16="http://schemas.microsoft.com/office/drawing/2014/main" id="{0344EA65-7183-479F-825E-282195733EB4}"/>
              </a:ext>
            </a:extLst>
          </p:cNvPr>
          <p:cNvPicPr>
            <a:picLocks noChangeAspect="1"/>
          </p:cNvPicPr>
          <p:nvPr/>
        </p:nvPicPr>
        <p:blipFill>
          <a:blip r:embed="rId3"/>
          <a:stretch>
            <a:fillRect/>
          </a:stretch>
        </p:blipFill>
        <p:spPr>
          <a:xfrm>
            <a:off x="993588" y="2690976"/>
            <a:ext cx="2283944" cy="475822"/>
          </a:xfrm>
          <a:prstGeom prst="rect">
            <a:avLst/>
          </a:prstGeom>
        </p:spPr>
      </p:pic>
      <p:sp>
        <p:nvSpPr>
          <p:cNvPr id="16" name="ZoneTexte 15">
            <a:extLst>
              <a:ext uri="{FF2B5EF4-FFF2-40B4-BE49-F238E27FC236}">
                <a16:creationId xmlns:a16="http://schemas.microsoft.com/office/drawing/2014/main" id="{0ADB9DF2-6768-4501-9BE9-ED54562FEEEF}"/>
              </a:ext>
            </a:extLst>
          </p:cNvPr>
          <p:cNvSpPr txBox="1"/>
          <p:nvPr/>
        </p:nvSpPr>
        <p:spPr>
          <a:xfrm>
            <a:off x="780332" y="2012589"/>
            <a:ext cx="271045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srgbClr val="0C419A"/>
                </a:solidFill>
                <a:effectLst/>
                <a:uLnTx/>
                <a:uFillTx/>
                <a:latin typeface="Arial" panose="020B0604020202020204"/>
                <a:ea typeface="+mn-ea"/>
                <a:cs typeface="+mn-cs"/>
              </a:rPr>
              <a:t>Support téléphonique</a:t>
            </a:r>
          </a:p>
        </p:txBody>
      </p:sp>
      <p:sp>
        <p:nvSpPr>
          <p:cNvPr id="17" name="Rectangle 16">
            <a:extLst>
              <a:ext uri="{FF2B5EF4-FFF2-40B4-BE49-F238E27FC236}">
                <a16:creationId xmlns:a16="http://schemas.microsoft.com/office/drawing/2014/main" id="{AA39FB27-5F29-4AB7-99E7-7C1A1A418CD1}"/>
              </a:ext>
            </a:extLst>
          </p:cNvPr>
          <p:cNvSpPr/>
          <p:nvPr/>
        </p:nvSpPr>
        <p:spPr>
          <a:xfrm>
            <a:off x="8795646" y="2012589"/>
            <a:ext cx="2377575"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Pct val="80000"/>
              <a:buFontTx/>
              <a:buNone/>
              <a:tabLst/>
              <a:defRPr/>
            </a:pPr>
            <a:r>
              <a:rPr kumimoji="0" lang="fr-FR" sz="1800" b="1" i="0" u="none" strike="noStrike" kern="1200" cap="none" spc="0" normalizeH="0" baseline="0" noProof="0">
                <a:ln>
                  <a:noFill/>
                </a:ln>
                <a:solidFill>
                  <a:srgbClr val="0C419A"/>
                </a:solidFill>
                <a:effectLst/>
                <a:uLnTx/>
                <a:uFillTx/>
                <a:latin typeface="Arial" panose="020B0604020202020204"/>
                <a:ea typeface="+mn-ea"/>
                <a:cs typeface="+mn-cs"/>
              </a:rPr>
              <a:t>Formulaire en ligne</a:t>
            </a:r>
          </a:p>
        </p:txBody>
      </p:sp>
      <p:sp>
        <p:nvSpPr>
          <p:cNvPr id="18" name="ZoneTexte 17">
            <a:extLst>
              <a:ext uri="{FF2B5EF4-FFF2-40B4-BE49-F238E27FC236}">
                <a16:creationId xmlns:a16="http://schemas.microsoft.com/office/drawing/2014/main" id="{DB5AC7D5-1A48-4B85-A505-7F47A2741E7C}"/>
              </a:ext>
            </a:extLst>
          </p:cNvPr>
          <p:cNvSpPr txBox="1"/>
          <p:nvPr/>
        </p:nvSpPr>
        <p:spPr>
          <a:xfrm>
            <a:off x="4582434" y="2012589"/>
            <a:ext cx="271045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srgbClr val="0C419A"/>
                </a:solidFill>
                <a:effectLst/>
                <a:uLnTx/>
                <a:uFillTx/>
                <a:latin typeface="Arial" panose="020B0604020202020204"/>
                <a:ea typeface="+mn-ea"/>
                <a:cs typeface="+mn-cs"/>
              </a:rPr>
              <a:t>Aide en ligne</a:t>
            </a:r>
          </a:p>
        </p:txBody>
      </p:sp>
      <p:pic>
        <p:nvPicPr>
          <p:cNvPr id="19" name="Picture 2">
            <a:extLst>
              <a:ext uri="{FF2B5EF4-FFF2-40B4-BE49-F238E27FC236}">
                <a16:creationId xmlns:a16="http://schemas.microsoft.com/office/drawing/2014/main" id="{3BC246EB-9135-4DD5-BB6F-AD627E0544A0}"/>
              </a:ext>
            </a:extLst>
          </p:cNvPr>
          <p:cNvPicPr>
            <a:picLocks noChangeAspect="1" noChangeArrowheads="1"/>
          </p:cNvPicPr>
          <p:nvPr/>
        </p:nvPicPr>
        <p:blipFill>
          <a:blip r:embed="rId4"/>
          <a:srcRect/>
          <a:stretch/>
        </p:blipFill>
        <p:spPr bwMode="auto">
          <a:xfrm>
            <a:off x="4321141" y="3983895"/>
            <a:ext cx="3233043" cy="1568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ctangle 19">
            <a:extLst>
              <a:ext uri="{FF2B5EF4-FFF2-40B4-BE49-F238E27FC236}">
                <a16:creationId xmlns:a16="http://schemas.microsoft.com/office/drawing/2014/main" id="{B0B61434-A10A-4972-B802-2D708F50C75F}"/>
              </a:ext>
            </a:extLst>
          </p:cNvPr>
          <p:cNvSpPr/>
          <p:nvPr/>
        </p:nvSpPr>
        <p:spPr>
          <a:xfrm>
            <a:off x="4069794" y="2609044"/>
            <a:ext cx="3735736" cy="891964"/>
          </a:xfrm>
          <a:prstGeom prst="rect">
            <a:avLst/>
          </a:prstGeom>
          <a:solidFill>
            <a:schemeClr val="bg1">
              <a:lumMod val="95000"/>
              <a:alpha val="13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7800" marR="0" lvl="1" indent="-177800" algn="l" defTabSz="914400" rtl="0" eaLnBrk="1" fontAlgn="auto" latinLnBrk="0" hangingPunct="1">
              <a:lnSpc>
                <a:spcPct val="100000"/>
              </a:lnSpc>
              <a:spcBef>
                <a:spcPts val="0"/>
              </a:spcBef>
              <a:spcAft>
                <a:spcPts val="0"/>
              </a:spcAft>
              <a:buClrTx/>
              <a:buSzPct val="80000"/>
              <a:buFont typeface="Arial" panose="020B0604020202020204" pitchFamily="34" charset="0"/>
              <a:buChar char="•"/>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Calibri" panose="020F0502020204030204" pitchFamily="34" charset="0"/>
              </a:rPr>
              <a:t>Information sur les services</a:t>
            </a:r>
          </a:p>
          <a:p>
            <a:pPr marL="177800" marR="0" lvl="1" indent="-177800" algn="l" defTabSz="914400" rtl="0" eaLnBrk="1" fontAlgn="auto" latinLnBrk="0" hangingPunct="1">
              <a:lnSpc>
                <a:spcPct val="100000"/>
              </a:lnSpc>
              <a:spcBef>
                <a:spcPts val="0"/>
              </a:spcBef>
              <a:spcAft>
                <a:spcPts val="0"/>
              </a:spcAft>
              <a:buClrTx/>
              <a:buSzPct val="80000"/>
              <a:buFont typeface="Arial" panose="020B0604020202020204" pitchFamily="34" charset="0"/>
              <a:buChar char="•"/>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Calibri" panose="020F0502020204030204" pitchFamily="34" charset="0"/>
              </a:rPr>
              <a:t>Aide à l’usage</a:t>
            </a:r>
          </a:p>
          <a:p>
            <a:pPr marL="177800" marR="0" lvl="1" indent="-177800" algn="l" defTabSz="914400" rtl="0" eaLnBrk="1" fontAlgn="auto" latinLnBrk="0" hangingPunct="1">
              <a:lnSpc>
                <a:spcPct val="100000"/>
              </a:lnSpc>
              <a:spcBef>
                <a:spcPts val="0"/>
              </a:spcBef>
              <a:spcAft>
                <a:spcPts val="0"/>
              </a:spcAft>
              <a:buClrTx/>
              <a:buSzPct val="80000"/>
              <a:buFont typeface="Arial" panose="020B0604020202020204" pitchFamily="34" charset="0"/>
              <a:buChar char="•"/>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Calibri" panose="020F0502020204030204" pitchFamily="34" charset="0"/>
              </a:rPr>
              <a:t>Zone de contact</a:t>
            </a:r>
          </a:p>
          <a:p>
            <a:pPr marL="177800" lvl="1" indent="-177800">
              <a:buSzPct val="80000"/>
              <a:buFont typeface="Arial" panose="020B0604020202020204" pitchFamily="34" charset="0"/>
              <a:buChar char="•"/>
              <a:defRPr/>
            </a:pPr>
            <a:r>
              <a:rPr lang="fr-FR" sz="1400">
                <a:solidFill>
                  <a:srgbClr val="545859"/>
                </a:solidFill>
                <a:latin typeface="Arial" panose="020B0604020202020204"/>
                <a:cs typeface="Calibri" panose="020F0502020204030204" pitchFamily="34" charset="0"/>
              </a:rPr>
              <a:t>Lien : </a:t>
            </a:r>
            <a:r>
              <a:rPr lang="fr-FR" sz="1400">
                <a:solidFill>
                  <a:srgbClr val="545859"/>
                </a:solidFill>
                <a:latin typeface="Arial" panose="020B0604020202020204"/>
                <a:cs typeface="Calibri" panose="020F0502020204030204" pitchFamily="34" charset="0"/>
                <a:hlinkClick r:id="rId5"/>
              </a:rPr>
              <a:t>monespacesante.fr/questions-</a:t>
            </a:r>
            <a:r>
              <a:rPr lang="fr-FR" sz="1400" err="1">
                <a:solidFill>
                  <a:srgbClr val="545859"/>
                </a:solidFill>
                <a:latin typeface="Arial" panose="020B0604020202020204"/>
                <a:cs typeface="Calibri" panose="020F0502020204030204" pitchFamily="34" charset="0"/>
                <a:hlinkClick r:id="rId5"/>
              </a:rPr>
              <a:t>frequentes</a:t>
            </a:r>
            <a:endParaRPr lang="fr-FR" sz="1400">
              <a:solidFill>
                <a:srgbClr val="545859"/>
              </a:solidFill>
              <a:latin typeface="Arial" panose="020B0604020202020204"/>
              <a:cs typeface="Calibri" panose="020F0502020204030204" pitchFamily="34" charset="0"/>
            </a:endParaRPr>
          </a:p>
          <a:p>
            <a:pPr marL="177800" marR="0" lvl="1" indent="-177800" algn="l" defTabSz="914400" rtl="0" eaLnBrk="1" fontAlgn="auto" latinLnBrk="0" hangingPunct="1">
              <a:lnSpc>
                <a:spcPct val="100000"/>
              </a:lnSpc>
              <a:spcBef>
                <a:spcPts val="0"/>
              </a:spcBef>
              <a:spcAft>
                <a:spcPts val="0"/>
              </a:spcAft>
              <a:buClrTx/>
              <a:buSzPct val="80000"/>
              <a:buFont typeface="Arial" panose="020B0604020202020204" pitchFamily="34" charset="0"/>
              <a:buChar char="•"/>
              <a:tabLst/>
              <a:defRPr/>
            </a:pPr>
            <a:endParaRPr kumimoji="0" lang="fr-FR" sz="1400" b="0" i="0" u="none" strike="noStrike" kern="1200" cap="none" spc="0" normalizeH="0" baseline="0" noProof="0">
              <a:ln>
                <a:noFill/>
              </a:ln>
              <a:solidFill>
                <a:srgbClr val="545859"/>
              </a:solidFill>
              <a:effectLst/>
              <a:uLnTx/>
              <a:uFillTx/>
              <a:latin typeface="Arial" panose="020B0604020202020204"/>
              <a:ea typeface="+mn-ea"/>
              <a:cs typeface="Calibri" panose="020F0502020204030204" pitchFamily="34" charset="0"/>
            </a:endParaRPr>
          </a:p>
        </p:txBody>
      </p:sp>
      <p:grpSp>
        <p:nvGrpSpPr>
          <p:cNvPr id="22" name="Groupe 4">
            <a:extLst>
              <a:ext uri="{FF2B5EF4-FFF2-40B4-BE49-F238E27FC236}">
                <a16:creationId xmlns:a16="http://schemas.microsoft.com/office/drawing/2014/main" id="{78866810-3E0F-4F54-BBA0-1D0395021420}"/>
              </a:ext>
            </a:extLst>
          </p:cNvPr>
          <p:cNvGrpSpPr/>
          <p:nvPr/>
        </p:nvGrpSpPr>
        <p:grpSpPr>
          <a:xfrm>
            <a:off x="8550308" y="3988356"/>
            <a:ext cx="2535282" cy="1896835"/>
            <a:chOff x="6668431" y="2838518"/>
            <a:chExt cx="3840036" cy="3394299"/>
          </a:xfrm>
        </p:grpSpPr>
        <p:pic>
          <p:nvPicPr>
            <p:cNvPr id="23" name="Picture 3">
              <a:extLst>
                <a:ext uri="{FF2B5EF4-FFF2-40B4-BE49-F238E27FC236}">
                  <a16:creationId xmlns:a16="http://schemas.microsoft.com/office/drawing/2014/main" id="{7184B127-E6AA-4118-8F05-B4AB37A0CEA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68431" y="2838518"/>
              <a:ext cx="3535293" cy="18303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5">
              <a:extLst>
                <a:ext uri="{FF2B5EF4-FFF2-40B4-BE49-F238E27FC236}">
                  <a16:creationId xmlns:a16="http://schemas.microsoft.com/office/drawing/2014/main" id="{7FB96BAC-FD59-47B2-9A3C-1A45EC3232E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29121" y="4333768"/>
              <a:ext cx="2979346" cy="18990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Ellipse 18">
              <a:extLst>
                <a:ext uri="{FF2B5EF4-FFF2-40B4-BE49-F238E27FC236}">
                  <a16:creationId xmlns:a16="http://schemas.microsoft.com/office/drawing/2014/main" id="{0185CEF4-071B-45F6-B2DE-25EC64B826D9}"/>
                </a:ext>
              </a:extLst>
            </p:cNvPr>
            <p:cNvSpPr/>
            <p:nvPr/>
          </p:nvSpPr>
          <p:spPr>
            <a:xfrm>
              <a:off x="8693344" y="3430869"/>
              <a:ext cx="914400" cy="902899"/>
            </a:xfrm>
            <a:prstGeom prst="ellipse">
              <a:avLst/>
            </a:prstGeom>
            <a:noFill/>
            <a:ln w="12700" cap="flat" cmpd="sng" algn="ctr">
              <a:solidFill>
                <a:srgbClr val="29847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6" name="Flèche courbée vers la droite 19">
              <a:extLst>
                <a:ext uri="{FF2B5EF4-FFF2-40B4-BE49-F238E27FC236}">
                  <a16:creationId xmlns:a16="http://schemas.microsoft.com/office/drawing/2014/main" id="{C01DFAF0-36A6-46EC-A1FC-FE37EA73CFC9}"/>
                </a:ext>
              </a:extLst>
            </p:cNvPr>
            <p:cNvSpPr/>
            <p:nvPr/>
          </p:nvSpPr>
          <p:spPr>
            <a:xfrm rot="10800000" flipV="1">
              <a:off x="9448184" y="4063109"/>
              <a:ext cx="525780" cy="906780"/>
            </a:xfrm>
            <a:prstGeom prst="curvedRightArrow">
              <a:avLst/>
            </a:prstGeom>
            <a:solidFill>
              <a:srgbClr val="E87C5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C419A"/>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655438634"/>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a:extLst>
              <a:ext uri="{FF2B5EF4-FFF2-40B4-BE49-F238E27FC236}">
                <a16:creationId xmlns:a16="http://schemas.microsoft.com/office/drawing/2014/main" id="{9F396323-7A89-7442-94E9-7DF91CA2A4B3}"/>
              </a:ext>
            </a:extLst>
          </p:cNvPr>
          <p:cNvSpPr>
            <a:spLocks noGrp="1"/>
          </p:cNvSpPr>
          <p:nvPr>
            <p:ph type="title"/>
          </p:nvPr>
        </p:nvSpPr>
        <p:spPr>
          <a:xfrm>
            <a:off x="3404302" y="2705100"/>
            <a:ext cx="8860403" cy="2324100"/>
          </a:xfrm>
        </p:spPr>
        <p:txBody>
          <a:bodyPr>
            <a:normAutofit/>
          </a:bodyPr>
          <a:lstStyle/>
          <a:p>
            <a:r>
              <a:rPr lang="fr-FR" sz="3400"/>
              <a:t>L’accès aux données de Mon espace santé </a:t>
            </a:r>
            <a:br>
              <a:rPr lang="fr-FR" sz="3200"/>
            </a:br>
            <a:endParaRPr lang="fr-FR" sz="3200"/>
          </a:p>
        </p:txBody>
      </p:sp>
      <p:sp>
        <p:nvSpPr>
          <p:cNvPr id="6" name="1.">
            <a:extLst>
              <a:ext uri="{FF2B5EF4-FFF2-40B4-BE49-F238E27FC236}">
                <a16:creationId xmlns:a16="http://schemas.microsoft.com/office/drawing/2014/main" id="{A022ABC0-7EE1-1E4D-A697-D33BE5E70E50}"/>
              </a:ext>
            </a:extLst>
          </p:cNvPr>
          <p:cNvSpPr txBox="1"/>
          <p:nvPr/>
        </p:nvSpPr>
        <p:spPr>
          <a:xfrm>
            <a:off x="9287728" y="2809674"/>
            <a:ext cx="2483535" cy="20518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nchor="ctr">
            <a:spAutoFit/>
          </a:bodyPr>
          <a:lstStyle>
            <a:lvl1pPr algn="l">
              <a:defRPr sz="20000" cap="all">
                <a:solidFill>
                  <a:srgbClr val="DB3080"/>
                </a:solidFill>
                <a:latin typeface="+mj-lt"/>
                <a:ea typeface="+mj-ea"/>
                <a:cs typeface="+mj-cs"/>
                <a:sym typeface="Arial"/>
              </a:defRPr>
            </a:lvl1pPr>
          </a:lstStyle>
          <a:p>
            <a:endParaRPr sz="13000" spc="-300"/>
          </a:p>
        </p:txBody>
      </p:sp>
    </p:spTree>
    <p:extLst>
      <p:ext uri="{BB962C8B-B14F-4D97-AF65-F5344CB8AC3E}">
        <p14:creationId xmlns:p14="http://schemas.microsoft.com/office/powerpoint/2010/main" val="3079354200"/>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A342CFF6-AC06-4D83-8E05-FD521BF58792}"/>
              </a:ext>
            </a:extLst>
          </p:cNvPr>
          <p:cNvSpPr>
            <a:spLocks noGrp="1"/>
          </p:cNvSpPr>
          <p:nvPr>
            <p:ph type="title"/>
          </p:nvPr>
        </p:nvSpPr>
        <p:spPr>
          <a:xfrm>
            <a:off x="2313517" y="16625"/>
            <a:ext cx="8533448" cy="1133342"/>
          </a:xfrm>
        </p:spPr>
        <p:txBody>
          <a:bodyPr>
            <a:noAutofit/>
          </a:bodyPr>
          <a:lstStyle/>
          <a:p>
            <a:r>
              <a:rPr lang="fr-FR" sz="3500" b="1" spc="-70">
                <a:solidFill>
                  <a:srgbClr val="005C9B"/>
                </a:solidFill>
                <a:latin typeface="Arial" panose="020B0604020202020204" pitchFamily="34" charset="0"/>
                <a:cs typeface="Arial" panose="020B0604020202020204" pitchFamily="34" charset="0"/>
                <a:sym typeface="Arial"/>
              </a:rPr>
              <a:t>La gestion des droits d’accès par les professionnels de santé </a:t>
            </a:r>
          </a:p>
        </p:txBody>
      </p:sp>
      <p:sp>
        <p:nvSpPr>
          <p:cNvPr id="5" name="Espace réservé du numéro de diapositive 2">
            <a:extLst>
              <a:ext uri="{FF2B5EF4-FFF2-40B4-BE49-F238E27FC236}">
                <a16:creationId xmlns:a16="http://schemas.microsoft.com/office/drawing/2014/main" id="{1A7E98F5-8504-4B21-B7F8-0D1A4C69777E}"/>
              </a:ext>
            </a:extLst>
          </p:cNvPr>
          <p:cNvSpPr txBox="1">
            <a:spLocks/>
          </p:cNvSpPr>
          <p:nvPr/>
        </p:nvSpPr>
        <p:spPr>
          <a:xfrm>
            <a:off x="1915763" y="6003144"/>
            <a:ext cx="720000" cy="288000"/>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latin typeface="Arial" panose="020B0604020202020204"/>
              </a:rPr>
              <a:pPr/>
              <a:t>28</a:t>
            </a:fld>
            <a:endParaRPr lang="fr-FR" sz="1200">
              <a:solidFill>
                <a:srgbClr val="0C419A"/>
              </a:solidFill>
              <a:latin typeface="Arial" panose="020B0604020202020204"/>
            </a:endParaRPr>
          </a:p>
        </p:txBody>
      </p:sp>
      <p:sp>
        <p:nvSpPr>
          <p:cNvPr id="6" name="ZoneTexte 24">
            <a:extLst>
              <a:ext uri="{FF2B5EF4-FFF2-40B4-BE49-F238E27FC236}">
                <a16:creationId xmlns:a16="http://schemas.microsoft.com/office/drawing/2014/main" id="{182073A7-51E3-4D19-B372-1D900F1DAE7E}"/>
              </a:ext>
            </a:extLst>
          </p:cNvPr>
          <p:cNvSpPr txBox="1">
            <a:spLocks noChangeArrowheads="1"/>
          </p:cNvSpPr>
          <p:nvPr/>
        </p:nvSpPr>
        <p:spPr bwMode="auto">
          <a:xfrm>
            <a:off x="8891898" y="2774970"/>
            <a:ext cx="3015850" cy="2462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8" tIns="45715" rIns="91428" bIns="45715">
            <a:spAutoFit/>
          </a:bodyPr>
          <a:lstStyle>
            <a:lvl1pPr algn="l">
              <a:spcBef>
                <a:spcPct val="20000"/>
              </a:spcBef>
              <a:buClr>
                <a:schemeClr val="folHlink"/>
              </a:buClr>
              <a:buFont typeface="Wingdings" pitchFamily="2" charset="2"/>
              <a:buChar char="è"/>
              <a:defRPr sz="2400" b="1">
                <a:solidFill>
                  <a:srgbClr val="0C419A"/>
                </a:solidFill>
                <a:latin typeface="Arial" charset="0"/>
              </a:defRPr>
            </a:lvl1pPr>
            <a:lvl2pPr marL="742950" indent="-285750" algn="l">
              <a:spcBef>
                <a:spcPct val="20000"/>
              </a:spcBef>
              <a:buSzPct val="80000"/>
              <a:buFont typeface="Wingdings" pitchFamily="2" charset="2"/>
              <a:buChar char="l"/>
              <a:defRPr sz="2000">
                <a:solidFill>
                  <a:srgbClr val="0C419A"/>
                </a:solidFill>
                <a:latin typeface="Arial" charset="0"/>
              </a:defRPr>
            </a:lvl2pPr>
            <a:lvl3pPr marL="1143000" indent="-228600" algn="l">
              <a:spcBef>
                <a:spcPct val="20000"/>
              </a:spcBef>
              <a:buClr>
                <a:schemeClr val="folHlink"/>
              </a:buClr>
              <a:buFont typeface="Wingdings" pitchFamily="2" charset="2"/>
              <a:buChar char="ü"/>
              <a:defRPr>
                <a:solidFill>
                  <a:srgbClr val="0C419A"/>
                </a:solidFill>
                <a:latin typeface="Arial" charset="0"/>
              </a:defRPr>
            </a:lvl3pPr>
            <a:lvl4pPr marL="1600200" indent="-228600" algn="l">
              <a:spcBef>
                <a:spcPct val="20000"/>
              </a:spcBef>
              <a:buChar char="_"/>
              <a:defRPr sz="2300">
                <a:solidFill>
                  <a:srgbClr val="0C419A"/>
                </a:solidFill>
                <a:latin typeface="Arial" charset="0"/>
              </a:defRPr>
            </a:lvl4pPr>
            <a:lvl5pPr marL="2057400" indent="-228600" algn="l">
              <a:spcBef>
                <a:spcPct val="20000"/>
              </a:spcBef>
              <a:buChar char="_"/>
              <a:defRPr sz="2300">
                <a:solidFill>
                  <a:srgbClr val="0C419A"/>
                </a:solidFill>
                <a:latin typeface="Arial" charset="0"/>
              </a:defRPr>
            </a:lvl5pPr>
            <a:lvl6pPr marL="2514600" indent="-228600" eaLnBrk="0" fontAlgn="base" hangingPunct="0">
              <a:spcBef>
                <a:spcPct val="20000"/>
              </a:spcBef>
              <a:spcAft>
                <a:spcPct val="0"/>
              </a:spcAft>
              <a:buChar char="_"/>
              <a:defRPr sz="2300">
                <a:solidFill>
                  <a:srgbClr val="0C419A"/>
                </a:solidFill>
                <a:latin typeface="Arial" charset="0"/>
              </a:defRPr>
            </a:lvl6pPr>
            <a:lvl7pPr marL="2971800" indent="-228600" eaLnBrk="0" fontAlgn="base" hangingPunct="0">
              <a:spcBef>
                <a:spcPct val="20000"/>
              </a:spcBef>
              <a:spcAft>
                <a:spcPct val="0"/>
              </a:spcAft>
              <a:buChar char="_"/>
              <a:defRPr sz="2300">
                <a:solidFill>
                  <a:srgbClr val="0C419A"/>
                </a:solidFill>
                <a:latin typeface="Arial" charset="0"/>
              </a:defRPr>
            </a:lvl7pPr>
            <a:lvl8pPr marL="3429000" indent="-228600" eaLnBrk="0" fontAlgn="base" hangingPunct="0">
              <a:spcBef>
                <a:spcPct val="20000"/>
              </a:spcBef>
              <a:spcAft>
                <a:spcPct val="0"/>
              </a:spcAft>
              <a:buChar char="_"/>
              <a:defRPr sz="2300">
                <a:solidFill>
                  <a:srgbClr val="0C419A"/>
                </a:solidFill>
                <a:latin typeface="Arial" charset="0"/>
              </a:defRPr>
            </a:lvl8pPr>
            <a:lvl9pPr marL="3886200" indent="-228600" eaLnBrk="0" fontAlgn="base" hangingPunct="0">
              <a:spcBef>
                <a:spcPct val="20000"/>
              </a:spcBef>
              <a:spcAft>
                <a:spcPct val="0"/>
              </a:spcAft>
              <a:buChar char="_"/>
              <a:defRPr sz="2300">
                <a:solidFill>
                  <a:srgbClr val="0C419A"/>
                </a:solidFill>
                <a:latin typeface="Arial" charset="0"/>
              </a:defRPr>
            </a:lvl9pPr>
          </a:lstStyle>
          <a:p>
            <a:pPr marL="0" marR="0" lvl="1" indent="0" algn="l" defTabSz="913382" rtl="0" eaLnBrk="1" fontAlgn="auto" latinLnBrk="0" hangingPunct="1">
              <a:lnSpc>
                <a:spcPct val="80000"/>
              </a:lnSpc>
              <a:spcBef>
                <a:spcPts val="300"/>
              </a:spcBef>
              <a:spcAft>
                <a:spcPts val="300"/>
              </a:spcAft>
              <a:buClr>
                <a:srgbClr val="17588B"/>
              </a:buClr>
              <a:buSzPct val="100000"/>
              <a:buFont typeface="Wingdings" pitchFamily="2" charset="2"/>
              <a:buNone/>
              <a:tabLst/>
              <a:defRPr/>
            </a:pPr>
            <a:r>
              <a:rPr kumimoji="0" lang="fr-FR" altLang="fr-FR" sz="1800" b="0" i="0" u="none" strike="noStrike" kern="1200" cap="none" spc="0" normalizeH="0" baseline="0" noProof="0" dirty="0">
                <a:ln>
                  <a:noFill/>
                </a:ln>
                <a:solidFill>
                  <a:srgbClr val="545859"/>
                </a:solidFill>
                <a:effectLst/>
                <a:uLnTx/>
                <a:uFillTx/>
                <a:latin typeface="Arial" panose="020B0604020202020204"/>
                <a:ea typeface="MS PGothic" pitchFamily="34" charset="-128"/>
                <a:cs typeface="+mn-cs"/>
              </a:rPr>
              <a:t>L</a:t>
            </a:r>
            <a:r>
              <a:rPr kumimoji="0" lang="fr-FR" sz="1800" b="0" i="0" u="none" strike="noStrike" kern="1200" cap="none" spc="0" normalizeH="0" baseline="0" noProof="0" dirty="0">
                <a:ln>
                  <a:noFill/>
                </a:ln>
                <a:solidFill>
                  <a:srgbClr val="545859"/>
                </a:solidFill>
                <a:effectLst/>
                <a:uLnTx/>
                <a:uFillTx/>
                <a:latin typeface="Arial" panose="020B0604020202020204"/>
                <a:ea typeface="+mn-ea"/>
                <a:cs typeface="+mn-cs"/>
              </a:rPr>
              <a:t>’usager peut définir la confidentialité de chaque document.</a:t>
            </a:r>
          </a:p>
          <a:p>
            <a:pPr marL="0" marR="0" lvl="1" indent="0" algn="l" defTabSz="913382" rtl="0" eaLnBrk="1" fontAlgn="auto" latinLnBrk="0" hangingPunct="1">
              <a:lnSpc>
                <a:spcPct val="80000"/>
              </a:lnSpc>
              <a:spcBef>
                <a:spcPts val="300"/>
              </a:spcBef>
              <a:spcAft>
                <a:spcPts val="300"/>
              </a:spcAft>
              <a:buClr>
                <a:srgbClr val="17588B"/>
              </a:buClr>
              <a:buSzPct val="100000"/>
              <a:buFont typeface="Wingdings" pitchFamily="2" charset="2"/>
              <a:buNone/>
              <a:tabLst/>
              <a:defRPr/>
            </a:pPr>
            <a:r>
              <a:rPr kumimoji="0" lang="fr-FR" sz="1800" b="0" i="0" u="none" strike="noStrike" kern="1200" cap="none" spc="0" normalizeH="0" baseline="0" noProof="0" dirty="0">
                <a:ln>
                  <a:noFill/>
                </a:ln>
                <a:solidFill>
                  <a:srgbClr val="545859"/>
                </a:solidFill>
                <a:effectLst/>
                <a:uLnTx/>
                <a:uFillTx/>
                <a:latin typeface="Arial" panose="020B0604020202020204"/>
                <a:ea typeface="+mn-ea"/>
                <a:cs typeface="+mn-cs"/>
              </a:rPr>
              <a:t>Le document peut être masqué aux professionnels de santé, sauf le professionnel de santé qui l’a déposé</a:t>
            </a:r>
          </a:p>
          <a:p>
            <a:pPr marL="0" marR="0" lvl="1" indent="0" algn="l" defTabSz="913382" rtl="0" eaLnBrk="1" fontAlgn="auto" latinLnBrk="0" hangingPunct="1">
              <a:lnSpc>
                <a:spcPct val="80000"/>
              </a:lnSpc>
              <a:spcBef>
                <a:spcPts val="300"/>
              </a:spcBef>
              <a:spcAft>
                <a:spcPts val="300"/>
              </a:spcAft>
              <a:buClr>
                <a:srgbClr val="17588B"/>
              </a:buClr>
              <a:buSzPct val="100000"/>
              <a:buFont typeface="Wingdings" pitchFamily="2" charset="2"/>
              <a:buNone/>
              <a:tabLst/>
              <a:defRPr/>
            </a:pPr>
            <a:r>
              <a:rPr kumimoji="0" lang="fr-FR" sz="1800" b="0" i="0" u="none" strike="noStrike" kern="1200" cap="none" spc="0" normalizeH="0" baseline="0" noProof="0" dirty="0">
                <a:ln>
                  <a:noFill/>
                </a:ln>
                <a:solidFill>
                  <a:srgbClr val="545859"/>
                </a:solidFill>
                <a:effectLst/>
                <a:uLnTx/>
                <a:uFillTx/>
                <a:latin typeface="Arial" panose="020B0604020202020204"/>
                <a:ea typeface="+mn-ea"/>
                <a:cs typeface="+mn-cs"/>
              </a:rPr>
              <a:t>Il peut masquer tous ses docs en 1 clic</a:t>
            </a:r>
          </a:p>
        </p:txBody>
      </p:sp>
      <p:pic>
        <p:nvPicPr>
          <p:cNvPr id="7" name="Picture 2" descr="C:\Users\ROSAYE~1\AppData\Local\Temp\7zE890E8245\02_Compte_M_NotificationE-mail_Désactivé_03.png">
            <a:extLst>
              <a:ext uri="{FF2B5EF4-FFF2-40B4-BE49-F238E27FC236}">
                <a16:creationId xmlns:a16="http://schemas.microsoft.com/office/drawing/2014/main" id="{833FC7EE-33AD-476C-8C99-1D1AD2B84A4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24402"/>
          <a:stretch/>
        </p:blipFill>
        <p:spPr bwMode="auto">
          <a:xfrm>
            <a:off x="1935180" y="2554825"/>
            <a:ext cx="1651573" cy="3600000"/>
          </a:xfrm>
          <a:prstGeom prst="rect">
            <a:avLst/>
          </a:prstGeom>
          <a:noFill/>
          <a:ln w="76200">
            <a:solidFill>
              <a:srgbClr val="0C419A">
                <a:lumMod val="20000"/>
                <a:lumOff val="80000"/>
              </a:srgbClr>
            </a:solidFill>
          </a:ln>
          <a:extLst>
            <a:ext uri="{909E8E84-426E-40DD-AFC4-6F175D3DCCD1}">
              <a14:hiddenFill xmlns:a14="http://schemas.microsoft.com/office/drawing/2010/main">
                <a:solidFill>
                  <a:srgbClr val="FFFFFF"/>
                </a:solidFill>
              </a14:hiddenFill>
            </a:ext>
          </a:extLst>
        </p:spPr>
      </p:pic>
      <p:sp>
        <p:nvSpPr>
          <p:cNvPr id="8" name="Espace réservé du contenu 2">
            <a:extLst>
              <a:ext uri="{FF2B5EF4-FFF2-40B4-BE49-F238E27FC236}">
                <a16:creationId xmlns:a16="http://schemas.microsoft.com/office/drawing/2014/main" id="{8BD68D67-ADCB-4F5E-B9FA-4FB70AC686B6}"/>
              </a:ext>
            </a:extLst>
          </p:cNvPr>
          <p:cNvSpPr txBox="1">
            <a:spLocks/>
          </p:cNvSpPr>
          <p:nvPr/>
        </p:nvSpPr>
        <p:spPr bwMode="auto">
          <a:xfrm>
            <a:off x="3660997" y="2774970"/>
            <a:ext cx="2883641" cy="2549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3611" tIns="51797" rIns="103611" bIns="51797" numCol="1" anchor="t" anchorCtr="0" compatLnSpc="1">
            <a:prstTxWarp prst="textNoShape">
              <a:avLst/>
            </a:prstTxWarp>
          </a:bodyPr>
          <a:lstStyle>
            <a:lvl1pPr marL="379413" indent="-379413" algn="l" defTabSz="1030288" rtl="0" eaLnBrk="0" fontAlgn="base" hangingPunct="0">
              <a:spcBef>
                <a:spcPct val="20000"/>
              </a:spcBef>
              <a:spcAft>
                <a:spcPct val="0"/>
              </a:spcAft>
              <a:buClr>
                <a:schemeClr val="folHlink"/>
              </a:buClr>
              <a:buFont typeface="Wingdings" panose="05000000000000000000" pitchFamily="2" charset="2"/>
              <a:buChar char="è"/>
              <a:defRPr sz="2400" b="1">
                <a:solidFill>
                  <a:srgbClr val="0C419A"/>
                </a:solidFill>
                <a:latin typeface="+mn-lt"/>
                <a:ea typeface="+mn-ea"/>
                <a:cs typeface="+mn-cs"/>
              </a:defRPr>
            </a:lvl1pPr>
            <a:lvl2pPr marL="855663" indent="-287338" algn="l" defTabSz="1030288" rtl="0" eaLnBrk="0" fontAlgn="base" hangingPunct="0">
              <a:spcBef>
                <a:spcPct val="20000"/>
              </a:spcBef>
              <a:spcAft>
                <a:spcPct val="0"/>
              </a:spcAft>
              <a:buSzPct val="80000"/>
              <a:buFont typeface="Wingdings" panose="05000000000000000000" pitchFamily="2" charset="2"/>
              <a:buChar char="l"/>
              <a:defRPr sz="2100">
                <a:solidFill>
                  <a:srgbClr val="0C419A"/>
                </a:solidFill>
                <a:latin typeface="+mn-lt"/>
              </a:defRPr>
            </a:lvl2pPr>
            <a:lvl3pPr marL="1295400" indent="-249238" algn="l" defTabSz="1030288" rtl="0" eaLnBrk="0" fontAlgn="base" hangingPunct="0">
              <a:spcBef>
                <a:spcPct val="20000"/>
              </a:spcBef>
              <a:spcAft>
                <a:spcPct val="0"/>
              </a:spcAft>
              <a:buClr>
                <a:schemeClr val="folHlink"/>
              </a:buClr>
              <a:buFont typeface="Wingdings" panose="05000000000000000000" pitchFamily="2" charset="2"/>
              <a:buChar char="ü"/>
              <a:defRPr>
                <a:solidFill>
                  <a:srgbClr val="0C419A"/>
                </a:solidFill>
                <a:latin typeface="+mn-lt"/>
              </a:defRPr>
            </a:lvl3pPr>
            <a:lvl4pPr marL="1811338" indent="-250825" algn="l" defTabSz="1030288" rtl="0" eaLnBrk="0" fontAlgn="base" hangingPunct="0">
              <a:spcBef>
                <a:spcPct val="20000"/>
              </a:spcBef>
              <a:spcAft>
                <a:spcPct val="0"/>
              </a:spcAft>
              <a:buChar char="_"/>
              <a:defRPr sz="2300">
                <a:solidFill>
                  <a:srgbClr val="0C419A"/>
                </a:solidFill>
                <a:latin typeface="+mn-lt"/>
              </a:defRPr>
            </a:lvl4pPr>
            <a:lvl5pPr marL="2327275" indent="-249238" algn="l" defTabSz="1030288" rtl="0" eaLnBrk="0" fontAlgn="base" hangingPunct="0">
              <a:spcBef>
                <a:spcPct val="20000"/>
              </a:spcBef>
              <a:spcAft>
                <a:spcPct val="0"/>
              </a:spcAft>
              <a:buChar char="_"/>
              <a:defRPr sz="2300">
                <a:solidFill>
                  <a:srgbClr val="0C419A"/>
                </a:solidFill>
                <a:latin typeface="+mn-lt"/>
              </a:defRPr>
            </a:lvl5pPr>
            <a:lvl6pPr marL="2788317" indent="-258929" algn="l" defTabSz="1037326" rtl="0" fontAlgn="base">
              <a:spcBef>
                <a:spcPct val="20000"/>
              </a:spcBef>
              <a:spcAft>
                <a:spcPct val="0"/>
              </a:spcAft>
              <a:buChar char="_"/>
              <a:defRPr sz="2300">
                <a:solidFill>
                  <a:srgbClr val="0C419A"/>
                </a:solidFill>
                <a:latin typeface="+mn-lt"/>
              </a:defRPr>
            </a:lvl6pPr>
            <a:lvl7pPr marL="3243030" indent="-258929" algn="l" defTabSz="1037326" rtl="0" fontAlgn="base">
              <a:spcBef>
                <a:spcPct val="20000"/>
              </a:spcBef>
              <a:spcAft>
                <a:spcPct val="0"/>
              </a:spcAft>
              <a:buChar char="_"/>
              <a:defRPr sz="2300">
                <a:solidFill>
                  <a:srgbClr val="0C419A"/>
                </a:solidFill>
                <a:latin typeface="+mn-lt"/>
              </a:defRPr>
            </a:lvl7pPr>
            <a:lvl8pPr marL="3697750" indent="-258929" algn="l" defTabSz="1037326" rtl="0" fontAlgn="base">
              <a:spcBef>
                <a:spcPct val="20000"/>
              </a:spcBef>
              <a:spcAft>
                <a:spcPct val="0"/>
              </a:spcAft>
              <a:buChar char="_"/>
              <a:defRPr sz="2300">
                <a:solidFill>
                  <a:srgbClr val="0C419A"/>
                </a:solidFill>
                <a:latin typeface="+mn-lt"/>
              </a:defRPr>
            </a:lvl8pPr>
            <a:lvl9pPr marL="4152470" indent="-258929" algn="l" defTabSz="1037326" rtl="0" fontAlgn="base">
              <a:spcBef>
                <a:spcPct val="20000"/>
              </a:spcBef>
              <a:spcAft>
                <a:spcPct val="0"/>
              </a:spcAft>
              <a:buChar char="_"/>
              <a:defRPr sz="2300">
                <a:solidFill>
                  <a:srgbClr val="0C419A"/>
                </a:solidFill>
                <a:latin typeface="+mn-lt"/>
              </a:defRPr>
            </a:lvl9pPr>
          </a:lstStyle>
          <a:p>
            <a:pPr marL="0" marR="0" lvl="1" indent="0" algn="l" defTabSz="913382" rtl="0" eaLnBrk="1" fontAlgn="auto" latinLnBrk="0" hangingPunct="1">
              <a:lnSpc>
                <a:spcPct val="80000"/>
              </a:lnSpc>
              <a:spcBef>
                <a:spcPts val="300"/>
              </a:spcBef>
              <a:spcAft>
                <a:spcPts val="300"/>
              </a:spcAft>
              <a:buClr>
                <a:srgbClr val="17588B"/>
              </a:buClr>
              <a:buSzPct val="100000"/>
              <a:buFont typeface="Wingdings" panose="05000000000000000000" pitchFamily="2" charset="2"/>
              <a:buNone/>
              <a:tabLst/>
              <a:defRPr/>
            </a:pPr>
            <a:r>
              <a:rPr kumimoji="0" lang="fr-FR" sz="1800" b="0" i="0" u="none" strike="noStrike" kern="1200" cap="none" spc="0" normalizeH="0" baseline="0" noProof="0" dirty="0">
                <a:ln>
                  <a:noFill/>
                </a:ln>
                <a:solidFill>
                  <a:srgbClr val="545859"/>
                </a:solidFill>
                <a:effectLst/>
                <a:uLnTx/>
                <a:uFillTx/>
                <a:latin typeface="Arial" panose="020B0604020202020204"/>
                <a:ea typeface="+mn-ea"/>
                <a:cs typeface="+mn-cs"/>
              </a:rPr>
              <a:t>L’accès des professionnels de santé est paramétrable par l’usager.</a:t>
            </a:r>
            <a:br>
              <a:rPr kumimoji="0" lang="fr-FR" sz="1800" b="0" i="0" u="none" strike="noStrike" kern="1200" cap="none" spc="0" normalizeH="0" baseline="0" noProof="0" dirty="0">
                <a:ln>
                  <a:noFill/>
                </a:ln>
                <a:solidFill>
                  <a:srgbClr val="545859"/>
                </a:solidFill>
                <a:effectLst/>
                <a:uLnTx/>
                <a:uFillTx/>
                <a:latin typeface="Arial" panose="020B0604020202020204"/>
                <a:ea typeface="+mn-ea"/>
                <a:cs typeface="+mn-cs"/>
              </a:rPr>
            </a:br>
            <a:endParaRPr kumimoji="0" lang="fr-FR" sz="1800" b="0" i="0" u="none" strike="noStrike" kern="1200" cap="none" spc="0" normalizeH="0" baseline="0" noProof="0" dirty="0">
              <a:ln>
                <a:noFill/>
              </a:ln>
              <a:solidFill>
                <a:srgbClr val="545859"/>
              </a:solidFill>
              <a:effectLst/>
              <a:uLnTx/>
              <a:uFillTx/>
              <a:latin typeface="Arial" panose="020B0604020202020204"/>
              <a:ea typeface="+mn-ea"/>
              <a:cs typeface="+mn-cs"/>
            </a:endParaRPr>
          </a:p>
          <a:p>
            <a:pPr marL="0" marR="0" lvl="1" indent="0" algn="l" defTabSz="913382" rtl="0" eaLnBrk="1" fontAlgn="auto" latinLnBrk="0" hangingPunct="1">
              <a:lnSpc>
                <a:spcPct val="80000"/>
              </a:lnSpc>
              <a:spcBef>
                <a:spcPts val="300"/>
              </a:spcBef>
              <a:spcAft>
                <a:spcPts val="300"/>
              </a:spcAft>
              <a:buClr>
                <a:srgbClr val="17588B"/>
              </a:buClr>
              <a:buSzPct val="100000"/>
              <a:buFont typeface="Wingdings" panose="05000000000000000000" pitchFamily="2" charset="2"/>
              <a:buNone/>
              <a:tabLst/>
              <a:defRPr/>
            </a:pPr>
            <a:r>
              <a:rPr kumimoji="0" lang="fr-FR" sz="1800" b="0" i="0" u="none" strike="noStrike" kern="1200" cap="none" spc="0" normalizeH="0" baseline="0" noProof="0" dirty="0">
                <a:ln>
                  <a:noFill/>
                </a:ln>
                <a:solidFill>
                  <a:srgbClr val="545859"/>
                </a:solidFill>
                <a:effectLst/>
                <a:uLnTx/>
                <a:uFillTx/>
                <a:latin typeface="Arial" panose="020B0604020202020204"/>
                <a:ea typeface="+mn-ea"/>
                <a:cs typeface="+mn-cs"/>
              </a:rPr>
              <a:t>L’usager peut donc bloquer ou débloquer un professionnel de santé en particulier.</a:t>
            </a:r>
          </a:p>
        </p:txBody>
      </p:sp>
      <p:pic>
        <p:nvPicPr>
          <p:cNvPr id="9" name="Picture 10">
            <a:extLst>
              <a:ext uri="{FF2B5EF4-FFF2-40B4-BE49-F238E27FC236}">
                <a16:creationId xmlns:a16="http://schemas.microsoft.com/office/drawing/2014/main" id="{39EDA0A8-3B77-4264-9030-3B413C73D48E}"/>
              </a:ext>
            </a:extLst>
          </p:cNvPr>
          <p:cNvPicPr>
            <a:picLocks noChangeAspect="1"/>
          </p:cNvPicPr>
          <p:nvPr/>
        </p:nvPicPr>
        <p:blipFill rotWithShape="1">
          <a:blip r:embed="rId3"/>
          <a:srcRect t="5741" b="2144"/>
          <a:stretch/>
        </p:blipFill>
        <p:spPr>
          <a:xfrm>
            <a:off x="6975935" y="2554825"/>
            <a:ext cx="1806368" cy="3600000"/>
          </a:xfrm>
          <a:prstGeom prst="rect">
            <a:avLst/>
          </a:prstGeom>
          <a:ln w="76200">
            <a:solidFill>
              <a:srgbClr val="BFD5FA"/>
            </a:solidFill>
          </a:ln>
        </p:spPr>
      </p:pic>
      <p:sp>
        <p:nvSpPr>
          <p:cNvPr id="10" name="TextBox 13">
            <a:extLst>
              <a:ext uri="{FF2B5EF4-FFF2-40B4-BE49-F238E27FC236}">
                <a16:creationId xmlns:a16="http://schemas.microsoft.com/office/drawing/2014/main" id="{AF1127E9-A0B5-441B-8126-6100ED152B65}"/>
              </a:ext>
            </a:extLst>
          </p:cNvPr>
          <p:cNvSpPr txBox="1"/>
          <p:nvPr/>
        </p:nvSpPr>
        <p:spPr>
          <a:xfrm>
            <a:off x="1747024" y="1684348"/>
            <a:ext cx="3742448" cy="6449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ct val="0"/>
              </a:spcBef>
              <a:spcAft>
                <a:spcPts val="0"/>
              </a:spcAft>
              <a:buClr>
                <a:srgbClr val="545859"/>
              </a:buClr>
              <a:buSzTx/>
              <a:buFont typeface="Wingdings" panose="05000000000000000000" pitchFamily="2" charset="2"/>
              <a:buNone/>
              <a:tabLst/>
              <a:defRPr/>
            </a:pPr>
            <a:r>
              <a:rPr kumimoji="0" lang="fr-FR" altLang="fr-FR" sz="1800" b="1" i="0" u="none" strike="noStrike" kern="1200" cap="none" spc="0" normalizeH="0" baseline="0" noProof="0">
                <a:ln>
                  <a:noFill/>
                </a:ln>
                <a:solidFill>
                  <a:srgbClr val="007FAD"/>
                </a:solidFill>
                <a:effectLst/>
                <a:uLnTx/>
                <a:uFillTx/>
                <a:latin typeface="Arial" panose="020B0604020202020204"/>
                <a:ea typeface="MS PGothic" pitchFamily="34" charset="-128"/>
                <a:cs typeface="+mn-cs"/>
              </a:rPr>
              <a:t>Bloquer un professionnel de santé</a:t>
            </a:r>
          </a:p>
        </p:txBody>
      </p:sp>
      <p:sp>
        <p:nvSpPr>
          <p:cNvPr id="11" name="TextBox 14">
            <a:extLst>
              <a:ext uri="{FF2B5EF4-FFF2-40B4-BE49-F238E27FC236}">
                <a16:creationId xmlns:a16="http://schemas.microsoft.com/office/drawing/2014/main" id="{30067F14-FC00-47E7-A28F-9D829403ACF2}"/>
              </a:ext>
            </a:extLst>
          </p:cNvPr>
          <p:cNvSpPr txBox="1"/>
          <p:nvPr/>
        </p:nvSpPr>
        <p:spPr>
          <a:xfrm>
            <a:off x="6841881" y="1684348"/>
            <a:ext cx="3177741"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altLang="fr-FR" sz="1800" b="1" i="0" u="none" strike="noStrike" kern="1200" cap="none" spc="0" normalizeH="0" baseline="0" noProof="0">
                <a:ln>
                  <a:noFill/>
                </a:ln>
                <a:solidFill>
                  <a:srgbClr val="007FAD"/>
                </a:solidFill>
                <a:effectLst/>
                <a:uLnTx/>
                <a:uFillTx/>
                <a:latin typeface="Arial" panose="020B0604020202020204"/>
                <a:ea typeface="MS PGothic" pitchFamily="34" charset="-128"/>
                <a:cs typeface="+mn-cs"/>
              </a:rPr>
              <a:t>Masquer ou démasquer un document</a:t>
            </a:r>
            <a:endParaRPr kumimoji="0" lang="fr-FR" sz="1800" b="0" i="0" u="none" strike="noStrike" kern="1200" cap="none" spc="0" normalizeH="0" baseline="0" noProof="0">
              <a:ln>
                <a:noFill/>
              </a:ln>
              <a:solidFill>
                <a:srgbClr val="007FAD"/>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98667225"/>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8525E09D-240A-4347-9846-8315E923E9F5}"/>
              </a:ext>
            </a:extLst>
          </p:cNvPr>
          <p:cNvSpPr>
            <a:spLocks noGrp="1"/>
          </p:cNvSpPr>
          <p:nvPr>
            <p:ph type="title"/>
          </p:nvPr>
        </p:nvSpPr>
        <p:spPr>
          <a:xfrm>
            <a:off x="2313517" y="16625"/>
            <a:ext cx="9070344" cy="1133342"/>
          </a:xfrm>
        </p:spPr>
        <p:txBody>
          <a:bodyPr>
            <a:noAutofit/>
          </a:bodyPr>
          <a:lstStyle/>
          <a:p>
            <a:r>
              <a:rPr lang="fr-FR" sz="3500" b="1" spc="-70">
                <a:solidFill>
                  <a:srgbClr val="005C9B"/>
                </a:solidFill>
                <a:latin typeface="Arial" panose="020B0604020202020204" pitchFamily="34" charset="0"/>
                <a:cs typeface="Arial" panose="020B0604020202020204" pitchFamily="34" charset="0"/>
              </a:rPr>
              <a:t>Gestion de l’accès en situation d’urgence </a:t>
            </a:r>
          </a:p>
        </p:txBody>
      </p:sp>
      <p:sp>
        <p:nvSpPr>
          <p:cNvPr id="5" name="Rectangle 4">
            <a:extLst>
              <a:ext uri="{FF2B5EF4-FFF2-40B4-BE49-F238E27FC236}">
                <a16:creationId xmlns:a16="http://schemas.microsoft.com/office/drawing/2014/main" id="{4591F904-6B01-46D1-A866-F3D9F05F2D8C}"/>
              </a:ext>
            </a:extLst>
          </p:cNvPr>
          <p:cNvSpPr/>
          <p:nvPr/>
        </p:nvSpPr>
        <p:spPr>
          <a:xfrm>
            <a:off x="1373587" y="2661470"/>
            <a:ext cx="6743477" cy="15040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6" name="samu">
            <a:extLst>
              <a:ext uri="{FF2B5EF4-FFF2-40B4-BE49-F238E27FC236}">
                <a16:creationId xmlns:a16="http://schemas.microsoft.com/office/drawing/2014/main" id="{9605AD8A-2527-4501-BEC8-8228544F8CB4}"/>
              </a:ext>
            </a:extLst>
          </p:cNvPr>
          <p:cNvGrpSpPr/>
          <p:nvPr/>
        </p:nvGrpSpPr>
        <p:grpSpPr>
          <a:xfrm>
            <a:off x="757174" y="2641277"/>
            <a:ext cx="7247648" cy="1498222"/>
            <a:chOff x="591578" y="2017844"/>
            <a:chExt cx="4768161" cy="1022449"/>
          </a:xfrm>
        </p:grpSpPr>
        <p:sp>
          <p:nvSpPr>
            <p:cNvPr id="7" name="Espace réservé du contenu 2">
              <a:extLst>
                <a:ext uri="{FF2B5EF4-FFF2-40B4-BE49-F238E27FC236}">
                  <a16:creationId xmlns:a16="http://schemas.microsoft.com/office/drawing/2014/main" id="{2D4AA203-7DF9-4D4B-B954-9813AC1E7A0F}"/>
                </a:ext>
              </a:extLst>
            </p:cNvPr>
            <p:cNvSpPr txBox="1">
              <a:spLocks/>
            </p:cNvSpPr>
            <p:nvPr/>
          </p:nvSpPr>
          <p:spPr bwMode="auto">
            <a:xfrm>
              <a:off x="1018014" y="2184369"/>
              <a:ext cx="4341725" cy="8559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3611" tIns="51797" rIns="103611" bIns="51797" numCol="1" anchor="t" anchorCtr="0" compatLnSpc="1">
              <a:prstTxWarp prst="textNoShape">
                <a:avLst/>
              </a:prstTxWarp>
            </a:bodyPr>
            <a:lstStyle>
              <a:lvl1pPr marL="379413" indent="-379413" algn="l" defTabSz="1030288" rtl="0" eaLnBrk="0" fontAlgn="base" hangingPunct="0">
                <a:spcBef>
                  <a:spcPct val="20000"/>
                </a:spcBef>
                <a:spcAft>
                  <a:spcPct val="0"/>
                </a:spcAft>
                <a:buClr>
                  <a:schemeClr val="folHlink"/>
                </a:buClr>
                <a:buFont typeface="Wingdings" panose="05000000000000000000" pitchFamily="2" charset="2"/>
                <a:buChar char="è"/>
                <a:defRPr sz="2400" b="1">
                  <a:solidFill>
                    <a:srgbClr val="0C419A"/>
                  </a:solidFill>
                  <a:latin typeface="+mn-lt"/>
                  <a:ea typeface="+mn-ea"/>
                  <a:cs typeface="+mn-cs"/>
                </a:defRPr>
              </a:lvl1pPr>
              <a:lvl2pPr marL="855663" indent="-287338" algn="l" defTabSz="1030288" rtl="0" eaLnBrk="0" fontAlgn="base" hangingPunct="0">
                <a:spcBef>
                  <a:spcPct val="20000"/>
                </a:spcBef>
                <a:spcAft>
                  <a:spcPct val="0"/>
                </a:spcAft>
                <a:buSzPct val="80000"/>
                <a:buFont typeface="Wingdings" panose="05000000000000000000" pitchFamily="2" charset="2"/>
                <a:buChar char="l"/>
                <a:defRPr sz="2100">
                  <a:solidFill>
                    <a:srgbClr val="0C419A"/>
                  </a:solidFill>
                  <a:latin typeface="+mn-lt"/>
                </a:defRPr>
              </a:lvl2pPr>
              <a:lvl3pPr marL="1295400" indent="-249238" algn="l" defTabSz="1030288" rtl="0" eaLnBrk="0" fontAlgn="base" hangingPunct="0">
                <a:spcBef>
                  <a:spcPct val="20000"/>
                </a:spcBef>
                <a:spcAft>
                  <a:spcPct val="0"/>
                </a:spcAft>
                <a:buClr>
                  <a:schemeClr val="folHlink"/>
                </a:buClr>
                <a:buFont typeface="Wingdings" panose="05000000000000000000" pitchFamily="2" charset="2"/>
                <a:buChar char="ü"/>
                <a:defRPr>
                  <a:solidFill>
                    <a:srgbClr val="0C419A"/>
                  </a:solidFill>
                  <a:latin typeface="+mn-lt"/>
                </a:defRPr>
              </a:lvl3pPr>
              <a:lvl4pPr marL="1811338" indent="-250825" algn="l" defTabSz="1030288" rtl="0" eaLnBrk="0" fontAlgn="base" hangingPunct="0">
                <a:spcBef>
                  <a:spcPct val="20000"/>
                </a:spcBef>
                <a:spcAft>
                  <a:spcPct val="0"/>
                </a:spcAft>
                <a:buChar char="_"/>
                <a:defRPr sz="2300">
                  <a:solidFill>
                    <a:srgbClr val="0C419A"/>
                  </a:solidFill>
                  <a:latin typeface="+mn-lt"/>
                </a:defRPr>
              </a:lvl4pPr>
              <a:lvl5pPr marL="2327275" indent="-249238" algn="l" defTabSz="1030288" rtl="0" eaLnBrk="0" fontAlgn="base" hangingPunct="0">
                <a:spcBef>
                  <a:spcPct val="20000"/>
                </a:spcBef>
                <a:spcAft>
                  <a:spcPct val="0"/>
                </a:spcAft>
                <a:buChar char="_"/>
                <a:defRPr sz="2300">
                  <a:solidFill>
                    <a:srgbClr val="0C419A"/>
                  </a:solidFill>
                  <a:latin typeface="+mn-lt"/>
                </a:defRPr>
              </a:lvl5pPr>
              <a:lvl6pPr marL="2788317" indent="-258929" algn="l" defTabSz="1037326" rtl="0" fontAlgn="base">
                <a:spcBef>
                  <a:spcPct val="20000"/>
                </a:spcBef>
                <a:spcAft>
                  <a:spcPct val="0"/>
                </a:spcAft>
                <a:buChar char="_"/>
                <a:defRPr sz="2300">
                  <a:solidFill>
                    <a:srgbClr val="0C419A"/>
                  </a:solidFill>
                  <a:latin typeface="+mn-lt"/>
                </a:defRPr>
              </a:lvl6pPr>
              <a:lvl7pPr marL="3243030" indent="-258929" algn="l" defTabSz="1037326" rtl="0" fontAlgn="base">
                <a:spcBef>
                  <a:spcPct val="20000"/>
                </a:spcBef>
                <a:spcAft>
                  <a:spcPct val="0"/>
                </a:spcAft>
                <a:buChar char="_"/>
                <a:defRPr sz="2300">
                  <a:solidFill>
                    <a:srgbClr val="0C419A"/>
                  </a:solidFill>
                  <a:latin typeface="+mn-lt"/>
                </a:defRPr>
              </a:lvl7pPr>
              <a:lvl8pPr marL="3697750" indent="-258929" algn="l" defTabSz="1037326" rtl="0" fontAlgn="base">
                <a:spcBef>
                  <a:spcPct val="20000"/>
                </a:spcBef>
                <a:spcAft>
                  <a:spcPct val="0"/>
                </a:spcAft>
                <a:buChar char="_"/>
                <a:defRPr sz="2300">
                  <a:solidFill>
                    <a:srgbClr val="0C419A"/>
                  </a:solidFill>
                  <a:latin typeface="+mn-lt"/>
                </a:defRPr>
              </a:lvl8pPr>
              <a:lvl9pPr marL="4152470" indent="-258929" algn="l" defTabSz="1037326" rtl="0" fontAlgn="base">
                <a:spcBef>
                  <a:spcPct val="20000"/>
                </a:spcBef>
                <a:spcAft>
                  <a:spcPct val="0"/>
                </a:spcAft>
                <a:buChar char="_"/>
                <a:defRPr sz="2300">
                  <a:solidFill>
                    <a:srgbClr val="0C419A"/>
                  </a:solidFill>
                  <a:latin typeface="+mn-lt"/>
                </a:defRPr>
              </a:lvl9pPr>
            </a:lstStyle>
            <a:p>
              <a:pPr marL="0" marR="0" lvl="1" indent="0" algn="just" defTabSz="913382" rtl="0" eaLnBrk="1" fontAlgn="auto" latinLnBrk="0" hangingPunct="1">
                <a:lnSpc>
                  <a:spcPct val="80000"/>
                </a:lnSpc>
                <a:spcBef>
                  <a:spcPts val="300"/>
                </a:spcBef>
                <a:spcAft>
                  <a:spcPts val="300"/>
                </a:spcAft>
                <a:buClr>
                  <a:srgbClr val="17588B"/>
                </a:buClr>
                <a:buSzPct val="100000"/>
                <a:buFont typeface="Wingdings" panose="05000000000000000000" pitchFamily="2" charset="2"/>
                <a:buNone/>
                <a:tabLst/>
                <a:defRPr/>
              </a:pPr>
              <a:r>
                <a:rPr kumimoji="0" lang="fr-FR" sz="1800" b="1" i="0" u="none" strike="noStrike" kern="1200" cap="none" spc="0" normalizeH="0" baseline="0" noProof="0" dirty="0">
                  <a:ln>
                    <a:noFill/>
                  </a:ln>
                  <a:solidFill>
                    <a:srgbClr val="007FAD"/>
                  </a:solidFill>
                  <a:effectLst/>
                  <a:uLnTx/>
                  <a:uFillTx/>
                  <a:latin typeface="Arial" panose="020B0604020202020204"/>
                  <a:ea typeface="+mn-ea"/>
                  <a:cs typeface="+mn-cs"/>
                </a:rPr>
                <a:t>Un accès SAMU-Centre 15</a:t>
              </a:r>
            </a:p>
            <a:p>
              <a:pPr marL="0" marR="0" lvl="1" indent="0" algn="just" defTabSz="913382" rtl="0" eaLnBrk="1" fontAlgn="auto" latinLnBrk="0" hangingPunct="1">
                <a:lnSpc>
                  <a:spcPct val="80000"/>
                </a:lnSpc>
                <a:spcBef>
                  <a:spcPts val="300"/>
                </a:spcBef>
                <a:spcAft>
                  <a:spcPts val="300"/>
                </a:spcAft>
                <a:buClr>
                  <a:srgbClr val="17588B"/>
                </a:buClr>
                <a:buSzPct val="100000"/>
                <a:buFont typeface="Wingdings" panose="05000000000000000000" pitchFamily="2" charset="2"/>
                <a:buNone/>
                <a:tabLst/>
                <a:defRPr/>
              </a:pPr>
              <a:r>
                <a:rPr kumimoji="0" lang="fr-FR" sz="1800" b="0" i="0" u="none" strike="noStrike" kern="1200" cap="none" spc="0" normalizeH="0" baseline="0" noProof="0" dirty="0">
                  <a:ln>
                    <a:noFill/>
                  </a:ln>
                  <a:solidFill>
                    <a:srgbClr val="545859"/>
                  </a:solidFill>
                  <a:effectLst/>
                  <a:uLnTx/>
                  <a:uFillTx/>
                  <a:latin typeface="Arial" panose="020B0604020202020204"/>
                  <a:ea typeface="+mn-ea"/>
                  <a:cs typeface="+mn-cs"/>
                </a:rPr>
                <a:t>Le médecin régulateur peut accéder aux documents d'un patient pour lequel il reçoit un appel. Le médecin régulateur n’a pas à justifier le motif de son accès.</a:t>
              </a:r>
            </a:p>
          </p:txBody>
        </p:sp>
        <p:sp>
          <p:nvSpPr>
            <p:cNvPr id="8" name="Espace réservé du contenu 2">
              <a:extLst>
                <a:ext uri="{FF2B5EF4-FFF2-40B4-BE49-F238E27FC236}">
                  <a16:creationId xmlns:a16="http://schemas.microsoft.com/office/drawing/2014/main" id="{04731349-8D04-4C23-B0E6-8813D2AE1AD4}"/>
                </a:ext>
              </a:extLst>
            </p:cNvPr>
            <p:cNvSpPr txBox="1">
              <a:spLocks/>
            </p:cNvSpPr>
            <p:nvPr/>
          </p:nvSpPr>
          <p:spPr bwMode="auto">
            <a:xfrm>
              <a:off x="591578" y="2017844"/>
              <a:ext cx="432048" cy="8559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3611" tIns="51797" rIns="103611" bIns="51797" numCol="1" anchor="t" anchorCtr="0" compatLnSpc="1">
              <a:prstTxWarp prst="textNoShape">
                <a:avLst/>
              </a:prstTxWarp>
            </a:bodyPr>
            <a:lstStyle>
              <a:lvl1pPr marL="379413" indent="-379413" algn="l" defTabSz="1030288" rtl="0" eaLnBrk="0" fontAlgn="base" hangingPunct="0">
                <a:spcBef>
                  <a:spcPct val="20000"/>
                </a:spcBef>
                <a:spcAft>
                  <a:spcPct val="0"/>
                </a:spcAft>
                <a:buClr>
                  <a:schemeClr val="folHlink"/>
                </a:buClr>
                <a:buFont typeface="Wingdings" panose="05000000000000000000" pitchFamily="2" charset="2"/>
                <a:buChar char="è"/>
                <a:defRPr sz="2400" b="1">
                  <a:solidFill>
                    <a:srgbClr val="0C419A"/>
                  </a:solidFill>
                  <a:latin typeface="+mn-lt"/>
                  <a:ea typeface="+mn-ea"/>
                  <a:cs typeface="+mn-cs"/>
                </a:defRPr>
              </a:lvl1pPr>
              <a:lvl2pPr marL="855663" indent="-287338" algn="l" defTabSz="1030288" rtl="0" eaLnBrk="0" fontAlgn="base" hangingPunct="0">
                <a:spcBef>
                  <a:spcPct val="20000"/>
                </a:spcBef>
                <a:spcAft>
                  <a:spcPct val="0"/>
                </a:spcAft>
                <a:buSzPct val="80000"/>
                <a:buFont typeface="Wingdings" panose="05000000000000000000" pitchFamily="2" charset="2"/>
                <a:buChar char="l"/>
                <a:defRPr sz="2100">
                  <a:solidFill>
                    <a:srgbClr val="0C419A"/>
                  </a:solidFill>
                  <a:latin typeface="+mn-lt"/>
                </a:defRPr>
              </a:lvl2pPr>
              <a:lvl3pPr marL="1295400" indent="-249238" algn="l" defTabSz="1030288" rtl="0" eaLnBrk="0" fontAlgn="base" hangingPunct="0">
                <a:spcBef>
                  <a:spcPct val="20000"/>
                </a:spcBef>
                <a:spcAft>
                  <a:spcPct val="0"/>
                </a:spcAft>
                <a:buClr>
                  <a:schemeClr val="folHlink"/>
                </a:buClr>
                <a:buFont typeface="Wingdings" panose="05000000000000000000" pitchFamily="2" charset="2"/>
                <a:buChar char="ü"/>
                <a:defRPr>
                  <a:solidFill>
                    <a:srgbClr val="0C419A"/>
                  </a:solidFill>
                  <a:latin typeface="+mn-lt"/>
                </a:defRPr>
              </a:lvl3pPr>
              <a:lvl4pPr marL="1811338" indent="-250825" algn="l" defTabSz="1030288" rtl="0" eaLnBrk="0" fontAlgn="base" hangingPunct="0">
                <a:spcBef>
                  <a:spcPct val="20000"/>
                </a:spcBef>
                <a:spcAft>
                  <a:spcPct val="0"/>
                </a:spcAft>
                <a:buChar char="_"/>
                <a:defRPr sz="2300">
                  <a:solidFill>
                    <a:srgbClr val="0C419A"/>
                  </a:solidFill>
                  <a:latin typeface="+mn-lt"/>
                </a:defRPr>
              </a:lvl4pPr>
              <a:lvl5pPr marL="2327275" indent="-249238" algn="l" defTabSz="1030288" rtl="0" eaLnBrk="0" fontAlgn="base" hangingPunct="0">
                <a:spcBef>
                  <a:spcPct val="20000"/>
                </a:spcBef>
                <a:spcAft>
                  <a:spcPct val="0"/>
                </a:spcAft>
                <a:buChar char="_"/>
                <a:defRPr sz="2300">
                  <a:solidFill>
                    <a:srgbClr val="0C419A"/>
                  </a:solidFill>
                  <a:latin typeface="+mn-lt"/>
                </a:defRPr>
              </a:lvl5pPr>
              <a:lvl6pPr marL="2788317" indent="-258929" algn="l" defTabSz="1037326" rtl="0" fontAlgn="base">
                <a:spcBef>
                  <a:spcPct val="20000"/>
                </a:spcBef>
                <a:spcAft>
                  <a:spcPct val="0"/>
                </a:spcAft>
                <a:buChar char="_"/>
                <a:defRPr sz="2300">
                  <a:solidFill>
                    <a:srgbClr val="0C419A"/>
                  </a:solidFill>
                  <a:latin typeface="+mn-lt"/>
                </a:defRPr>
              </a:lvl6pPr>
              <a:lvl7pPr marL="3243030" indent="-258929" algn="l" defTabSz="1037326" rtl="0" fontAlgn="base">
                <a:spcBef>
                  <a:spcPct val="20000"/>
                </a:spcBef>
                <a:spcAft>
                  <a:spcPct val="0"/>
                </a:spcAft>
                <a:buChar char="_"/>
                <a:defRPr sz="2300">
                  <a:solidFill>
                    <a:srgbClr val="0C419A"/>
                  </a:solidFill>
                  <a:latin typeface="+mn-lt"/>
                </a:defRPr>
              </a:lvl7pPr>
              <a:lvl8pPr marL="3697750" indent="-258929" algn="l" defTabSz="1037326" rtl="0" fontAlgn="base">
                <a:spcBef>
                  <a:spcPct val="20000"/>
                </a:spcBef>
                <a:spcAft>
                  <a:spcPct val="0"/>
                </a:spcAft>
                <a:buChar char="_"/>
                <a:defRPr sz="2300">
                  <a:solidFill>
                    <a:srgbClr val="0C419A"/>
                  </a:solidFill>
                  <a:latin typeface="+mn-lt"/>
                </a:defRPr>
              </a:lvl8pPr>
              <a:lvl9pPr marL="4152470" indent="-258929" algn="l" defTabSz="1037326" rtl="0" fontAlgn="base">
                <a:spcBef>
                  <a:spcPct val="20000"/>
                </a:spcBef>
                <a:spcAft>
                  <a:spcPct val="0"/>
                </a:spcAft>
                <a:buChar char="_"/>
                <a:defRPr sz="2300">
                  <a:solidFill>
                    <a:srgbClr val="0C419A"/>
                  </a:solidFill>
                  <a:latin typeface="+mn-lt"/>
                </a:defRPr>
              </a:lvl9pPr>
            </a:lstStyle>
            <a:p>
              <a:pPr marL="0" marR="0" lvl="1" indent="0" algn="ctr" defTabSz="913382" rtl="0" eaLnBrk="1" fontAlgn="auto" latinLnBrk="0" hangingPunct="1">
                <a:lnSpc>
                  <a:spcPct val="80000"/>
                </a:lnSpc>
                <a:spcBef>
                  <a:spcPts val="300"/>
                </a:spcBef>
                <a:spcAft>
                  <a:spcPts val="300"/>
                </a:spcAft>
                <a:buClr>
                  <a:srgbClr val="17588B"/>
                </a:buClr>
                <a:buSzPct val="100000"/>
                <a:buFont typeface="Wingdings" panose="05000000000000000000" pitchFamily="2" charset="2"/>
                <a:buNone/>
                <a:tabLst/>
                <a:defRPr/>
              </a:pPr>
              <a:r>
                <a:rPr kumimoji="0" lang="fr-FR" sz="4800" b="1" i="0" u="none" strike="noStrike" kern="1200" cap="none" spc="0" normalizeH="0" baseline="0" noProof="0" dirty="0">
                  <a:ln>
                    <a:noFill/>
                  </a:ln>
                  <a:solidFill>
                    <a:srgbClr val="007FAD"/>
                  </a:solidFill>
                  <a:effectLst/>
                  <a:uLnTx/>
                  <a:uFillTx/>
                  <a:latin typeface="Arial" panose="020B0604020202020204"/>
                  <a:ea typeface="+mn-ea"/>
                  <a:cs typeface="+mn-cs"/>
                </a:rPr>
                <a:t>1</a:t>
              </a:r>
              <a:endParaRPr kumimoji="0" lang="fr-FR" sz="4800" b="0" i="0" u="none" strike="noStrike" kern="1200" cap="none" spc="0" normalizeH="0" baseline="0" noProof="0" dirty="0">
                <a:ln>
                  <a:noFill/>
                </a:ln>
                <a:solidFill>
                  <a:srgbClr val="007FAD"/>
                </a:solidFill>
                <a:effectLst/>
                <a:uLnTx/>
                <a:uFillTx/>
                <a:latin typeface="Arial" panose="020B0604020202020204"/>
                <a:ea typeface="+mn-ea"/>
                <a:cs typeface="+mn-cs"/>
              </a:endParaRPr>
            </a:p>
          </p:txBody>
        </p:sp>
      </p:grpSp>
      <p:grpSp>
        <p:nvGrpSpPr>
          <p:cNvPr id="9" name="brisdeglace">
            <a:extLst>
              <a:ext uri="{FF2B5EF4-FFF2-40B4-BE49-F238E27FC236}">
                <a16:creationId xmlns:a16="http://schemas.microsoft.com/office/drawing/2014/main" id="{50421986-D756-4991-8DE6-B69E62E4D631}"/>
              </a:ext>
            </a:extLst>
          </p:cNvPr>
          <p:cNvGrpSpPr/>
          <p:nvPr/>
        </p:nvGrpSpPr>
        <p:grpSpPr>
          <a:xfrm>
            <a:off x="780836" y="4084141"/>
            <a:ext cx="7336228" cy="1885864"/>
            <a:chOff x="539552" y="3237352"/>
            <a:chExt cx="4850087" cy="1403299"/>
          </a:xfrm>
        </p:grpSpPr>
        <p:sp>
          <p:nvSpPr>
            <p:cNvPr id="10" name="Rectangle 9">
              <a:extLst>
                <a:ext uri="{FF2B5EF4-FFF2-40B4-BE49-F238E27FC236}">
                  <a16:creationId xmlns:a16="http://schemas.microsoft.com/office/drawing/2014/main" id="{2FE2E6C2-F3EC-4CBD-A2B8-E5F9376521FA}"/>
                </a:ext>
              </a:extLst>
            </p:cNvPr>
            <p:cNvSpPr/>
            <p:nvPr/>
          </p:nvSpPr>
          <p:spPr>
            <a:xfrm flipH="1">
              <a:off x="936419" y="3249376"/>
              <a:ext cx="4453220" cy="1391275"/>
            </a:xfrm>
            <a:prstGeom prst="rect">
              <a:avLst/>
            </a:prstGeom>
            <a:solidFill>
              <a:schemeClr val="bg1">
                <a:lumMod val="95000"/>
              </a:schemeClr>
            </a:solidFill>
            <a:ln w="25400" cap="flat" cmpd="sng" algn="ctr">
              <a:noFill/>
              <a:prstDash val="solid"/>
            </a:ln>
            <a:effectLst/>
          </p:spPr>
          <p:txBody>
            <a:bodyPr lIns="35880" tIns="45561" rIns="35880" bIns="45561" anchor="ctr"/>
            <a:lstStyle/>
            <a:p>
              <a:pPr marL="0" marR="0" lvl="0" indent="0" algn="ctr" defTabSz="911238" rtl="0" eaLnBrk="1" fontAlgn="auto" latinLnBrk="0" hangingPunct="1">
                <a:lnSpc>
                  <a:spcPct val="12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405888"/>
                </a:solidFill>
                <a:effectLst/>
                <a:uLnTx/>
                <a:uFillTx/>
                <a:latin typeface="Arial" panose="020B0604020202020204"/>
                <a:ea typeface="+mn-ea"/>
                <a:cs typeface="+mn-cs"/>
              </a:endParaRPr>
            </a:p>
          </p:txBody>
        </p:sp>
        <p:sp>
          <p:nvSpPr>
            <p:cNvPr id="11" name="Espace réservé du contenu 2">
              <a:extLst>
                <a:ext uri="{FF2B5EF4-FFF2-40B4-BE49-F238E27FC236}">
                  <a16:creationId xmlns:a16="http://schemas.microsoft.com/office/drawing/2014/main" id="{A6A606CD-2BA4-43F6-81A7-7C2B9110981F}"/>
                </a:ext>
              </a:extLst>
            </p:cNvPr>
            <p:cNvSpPr txBox="1">
              <a:spLocks/>
            </p:cNvSpPr>
            <p:nvPr/>
          </p:nvSpPr>
          <p:spPr bwMode="auto">
            <a:xfrm>
              <a:off x="936419" y="3312953"/>
              <a:ext cx="4341725" cy="12147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3611" tIns="51797" rIns="103611" bIns="51797" numCol="1" anchor="t" anchorCtr="0" compatLnSpc="1">
              <a:prstTxWarp prst="textNoShape">
                <a:avLst/>
              </a:prstTxWarp>
            </a:bodyPr>
            <a:lstStyle>
              <a:lvl1pPr marL="379413" indent="-379413" algn="l" defTabSz="1030288" rtl="0" eaLnBrk="0" fontAlgn="base" hangingPunct="0">
                <a:spcBef>
                  <a:spcPct val="20000"/>
                </a:spcBef>
                <a:spcAft>
                  <a:spcPct val="0"/>
                </a:spcAft>
                <a:buClr>
                  <a:schemeClr val="folHlink"/>
                </a:buClr>
                <a:buFont typeface="Wingdings" panose="05000000000000000000" pitchFamily="2" charset="2"/>
                <a:buChar char="è"/>
                <a:defRPr sz="2400" b="1">
                  <a:solidFill>
                    <a:srgbClr val="0C419A"/>
                  </a:solidFill>
                  <a:latin typeface="+mn-lt"/>
                  <a:ea typeface="+mn-ea"/>
                  <a:cs typeface="+mn-cs"/>
                </a:defRPr>
              </a:lvl1pPr>
              <a:lvl2pPr marL="855663" indent="-287338" algn="l" defTabSz="1030288" rtl="0" eaLnBrk="0" fontAlgn="base" hangingPunct="0">
                <a:spcBef>
                  <a:spcPct val="20000"/>
                </a:spcBef>
                <a:spcAft>
                  <a:spcPct val="0"/>
                </a:spcAft>
                <a:buSzPct val="80000"/>
                <a:buFont typeface="Wingdings" panose="05000000000000000000" pitchFamily="2" charset="2"/>
                <a:buChar char="l"/>
                <a:defRPr sz="2100">
                  <a:solidFill>
                    <a:srgbClr val="0C419A"/>
                  </a:solidFill>
                  <a:latin typeface="+mn-lt"/>
                </a:defRPr>
              </a:lvl2pPr>
              <a:lvl3pPr marL="1295400" indent="-249238" algn="l" defTabSz="1030288" rtl="0" eaLnBrk="0" fontAlgn="base" hangingPunct="0">
                <a:spcBef>
                  <a:spcPct val="20000"/>
                </a:spcBef>
                <a:spcAft>
                  <a:spcPct val="0"/>
                </a:spcAft>
                <a:buClr>
                  <a:schemeClr val="folHlink"/>
                </a:buClr>
                <a:buFont typeface="Wingdings" panose="05000000000000000000" pitchFamily="2" charset="2"/>
                <a:buChar char="ü"/>
                <a:defRPr>
                  <a:solidFill>
                    <a:srgbClr val="0C419A"/>
                  </a:solidFill>
                  <a:latin typeface="+mn-lt"/>
                </a:defRPr>
              </a:lvl3pPr>
              <a:lvl4pPr marL="1811338" indent="-250825" algn="l" defTabSz="1030288" rtl="0" eaLnBrk="0" fontAlgn="base" hangingPunct="0">
                <a:spcBef>
                  <a:spcPct val="20000"/>
                </a:spcBef>
                <a:spcAft>
                  <a:spcPct val="0"/>
                </a:spcAft>
                <a:buChar char="_"/>
                <a:defRPr sz="2300">
                  <a:solidFill>
                    <a:srgbClr val="0C419A"/>
                  </a:solidFill>
                  <a:latin typeface="+mn-lt"/>
                </a:defRPr>
              </a:lvl4pPr>
              <a:lvl5pPr marL="2327275" indent="-249238" algn="l" defTabSz="1030288" rtl="0" eaLnBrk="0" fontAlgn="base" hangingPunct="0">
                <a:spcBef>
                  <a:spcPct val="20000"/>
                </a:spcBef>
                <a:spcAft>
                  <a:spcPct val="0"/>
                </a:spcAft>
                <a:buChar char="_"/>
                <a:defRPr sz="2300">
                  <a:solidFill>
                    <a:srgbClr val="0C419A"/>
                  </a:solidFill>
                  <a:latin typeface="+mn-lt"/>
                </a:defRPr>
              </a:lvl5pPr>
              <a:lvl6pPr marL="2788317" indent="-258929" algn="l" defTabSz="1037326" rtl="0" fontAlgn="base">
                <a:spcBef>
                  <a:spcPct val="20000"/>
                </a:spcBef>
                <a:spcAft>
                  <a:spcPct val="0"/>
                </a:spcAft>
                <a:buChar char="_"/>
                <a:defRPr sz="2300">
                  <a:solidFill>
                    <a:srgbClr val="0C419A"/>
                  </a:solidFill>
                  <a:latin typeface="+mn-lt"/>
                </a:defRPr>
              </a:lvl6pPr>
              <a:lvl7pPr marL="3243030" indent="-258929" algn="l" defTabSz="1037326" rtl="0" fontAlgn="base">
                <a:spcBef>
                  <a:spcPct val="20000"/>
                </a:spcBef>
                <a:spcAft>
                  <a:spcPct val="0"/>
                </a:spcAft>
                <a:buChar char="_"/>
                <a:defRPr sz="2300">
                  <a:solidFill>
                    <a:srgbClr val="0C419A"/>
                  </a:solidFill>
                  <a:latin typeface="+mn-lt"/>
                </a:defRPr>
              </a:lvl7pPr>
              <a:lvl8pPr marL="3697750" indent="-258929" algn="l" defTabSz="1037326" rtl="0" fontAlgn="base">
                <a:spcBef>
                  <a:spcPct val="20000"/>
                </a:spcBef>
                <a:spcAft>
                  <a:spcPct val="0"/>
                </a:spcAft>
                <a:buChar char="_"/>
                <a:defRPr sz="2300">
                  <a:solidFill>
                    <a:srgbClr val="0C419A"/>
                  </a:solidFill>
                  <a:latin typeface="+mn-lt"/>
                </a:defRPr>
              </a:lvl8pPr>
              <a:lvl9pPr marL="4152470" indent="-258929" algn="l" defTabSz="1037326" rtl="0" fontAlgn="base">
                <a:spcBef>
                  <a:spcPct val="20000"/>
                </a:spcBef>
                <a:spcAft>
                  <a:spcPct val="0"/>
                </a:spcAft>
                <a:buChar char="_"/>
                <a:defRPr sz="2300">
                  <a:solidFill>
                    <a:srgbClr val="0C419A"/>
                  </a:solidFill>
                  <a:latin typeface="+mn-lt"/>
                </a:defRPr>
              </a:lvl9pPr>
            </a:lstStyle>
            <a:p>
              <a:pPr marL="0" marR="0" lvl="1" indent="0" algn="just" defTabSz="913382" rtl="0" eaLnBrk="1" fontAlgn="auto" latinLnBrk="0" hangingPunct="1">
                <a:lnSpc>
                  <a:spcPct val="80000"/>
                </a:lnSpc>
                <a:spcBef>
                  <a:spcPts val="300"/>
                </a:spcBef>
                <a:spcAft>
                  <a:spcPts val="300"/>
                </a:spcAft>
                <a:buClr>
                  <a:srgbClr val="17588B"/>
                </a:buClr>
                <a:buSzPct val="100000"/>
                <a:buFont typeface="Wingdings" panose="05000000000000000000" pitchFamily="2" charset="2"/>
                <a:buNone/>
                <a:tabLst/>
                <a:defRPr/>
              </a:pPr>
              <a:r>
                <a:rPr kumimoji="0" lang="fr-FR" sz="1800" b="1" i="0" u="none" strike="noStrike" kern="1200" cap="none" spc="0" normalizeH="0" baseline="0" noProof="0" dirty="0">
                  <a:ln>
                    <a:noFill/>
                  </a:ln>
                  <a:solidFill>
                    <a:srgbClr val="007FAD"/>
                  </a:solidFill>
                  <a:effectLst/>
                  <a:uLnTx/>
                  <a:uFillTx/>
                  <a:latin typeface="Arial" panose="020B0604020202020204"/>
                  <a:ea typeface="+mn-ea"/>
                  <a:cs typeface="+mn-cs"/>
                </a:rPr>
                <a:t>Un accès en mode « bris de glace » </a:t>
              </a:r>
              <a:endParaRPr kumimoji="0" lang="fr-FR" sz="1800" b="0" i="0" u="none" strike="noStrike" kern="1200" cap="none" spc="0" normalizeH="0" baseline="0" noProof="0" dirty="0">
                <a:ln>
                  <a:noFill/>
                </a:ln>
                <a:solidFill>
                  <a:srgbClr val="007FAD"/>
                </a:solidFill>
                <a:effectLst/>
                <a:uLnTx/>
                <a:uFillTx/>
                <a:latin typeface="Arial" panose="020B0604020202020204"/>
                <a:ea typeface="+mn-ea"/>
                <a:cs typeface="+mn-cs"/>
              </a:endParaRPr>
            </a:p>
            <a:p>
              <a:pPr marL="0" marR="0" lvl="1" indent="0" algn="just" defTabSz="913382" rtl="0" eaLnBrk="1" fontAlgn="auto" latinLnBrk="0" hangingPunct="1">
                <a:lnSpc>
                  <a:spcPct val="80000"/>
                </a:lnSpc>
                <a:spcBef>
                  <a:spcPts val="300"/>
                </a:spcBef>
                <a:spcAft>
                  <a:spcPts val="300"/>
                </a:spcAft>
                <a:buClr>
                  <a:srgbClr val="17588B"/>
                </a:buClr>
                <a:buSzPct val="100000"/>
                <a:buFont typeface="Wingdings" panose="05000000000000000000" pitchFamily="2" charset="2"/>
                <a:buNone/>
                <a:tabLst/>
                <a:defRPr/>
              </a:pPr>
              <a:r>
                <a:rPr kumimoji="0" lang="fr-FR" sz="1800" b="0" i="0" u="none" strike="noStrike" kern="1200" cap="none" spc="0" normalizeH="0" baseline="0" noProof="0" dirty="0">
                  <a:ln>
                    <a:noFill/>
                  </a:ln>
                  <a:solidFill>
                    <a:srgbClr val="545859"/>
                  </a:solidFill>
                  <a:effectLst/>
                  <a:uLnTx/>
                  <a:uFillTx/>
                  <a:latin typeface="Arial" panose="020B0604020202020204"/>
                  <a:ea typeface="+mn-ea"/>
                  <a:cs typeface="+mn-cs"/>
                </a:rPr>
                <a:t>Tout professionnel de santé peut consulter les documents d'un patient dont l'état comporte un risque immédiat pour sa santé, sauf si ce patient en a bloqué l'accès. </a:t>
              </a:r>
            </a:p>
            <a:p>
              <a:pPr marL="0" marR="0" lvl="1" indent="0" algn="just" defTabSz="913382" rtl="0" eaLnBrk="1" fontAlgn="auto" latinLnBrk="0" hangingPunct="1">
                <a:lnSpc>
                  <a:spcPct val="80000"/>
                </a:lnSpc>
                <a:spcBef>
                  <a:spcPts val="300"/>
                </a:spcBef>
                <a:spcAft>
                  <a:spcPts val="300"/>
                </a:spcAft>
                <a:buClr>
                  <a:srgbClr val="17588B"/>
                </a:buClr>
                <a:buSzPct val="100000"/>
                <a:buFont typeface="Wingdings" panose="05000000000000000000" pitchFamily="2" charset="2"/>
                <a:buNone/>
                <a:tabLst/>
                <a:defRPr/>
              </a:pPr>
              <a:r>
                <a:rPr kumimoji="0" lang="fr-FR" sz="1800" b="0" i="0" u="none" strike="noStrike" kern="1200" cap="none" spc="0" normalizeH="0" baseline="0" noProof="0" dirty="0">
                  <a:ln>
                    <a:noFill/>
                  </a:ln>
                  <a:solidFill>
                    <a:srgbClr val="545859"/>
                  </a:solidFill>
                  <a:effectLst/>
                  <a:uLnTx/>
                  <a:uFillTx/>
                  <a:latin typeface="Arial" panose="020B0604020202020204"/>
                  <a:ea typeface="+mn-ea"/>
                  <a:cs typeface="+mn-cs"/>
                </a:rPr>
                <a:t>Le professionnel de santé renseigne le nom du patient, son prénom, sa date de naissance et la justification de l’accès</a:t>
              </a:r>
            </a:p>
          </p:txBody>
        </p:sp>
        <p:sp>
          <p:nvSpPr>
            <p:cNvPr id="12" name="Espace réservé du contenu 2">
              <a:extLst>
                <a:ext uri="{FF2B5EF4-FFF2-40B4-BE49-F238E27FC236}">
                  <a16:creationId xmlns:a16="http://schemas.microsoft.com/office/drawing/2014/main" id="{E1815AB7-2C6C-433D-B0F8-64B2DBCD4B68}"/>
                </a:ext>
              </a:extLst>
            </p:cNvPr>
            <p:cNvSpPr txBox="1">
              <a:spLocks/>
            </p:cNvSpPr>
            <p:nvPr/>
          </p:nvSpPr>
          <p:spPr bwMode="auto">
            <a:xfrm>
              <a:off x="539552" y="3237352"/>
              <a:ext cx="432048" cy="8559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3611" tIns="51797" rIns="103611" bIns="51797" numCol="1" anchor="t" anchorCtr="0" compatLnSpc="1">
              <a:prstTxWarp prst="textNoShape">
                <a:avLst/>
              </a:prstTxWarp>
            </a:bodyPr>
            <a:lstStyle>
              <a:lvl1pPr marL="379413" indent="-379413" algn="l" defTabSz="1030288" rtl="0" eaLnBrk="0" fontAlgn="base" hangingPunct="0">
                <a:spcBef>
                  <a:spcPct val="20000"/>
                </a:spcBef>
                <a:spcAft>
                  <a:spcPct val="0"/>
                </a:spcAft>
                <a:buClr>
                  <a:schemeClr val="folHlink"/>
                </a:buClr>
                <a:buFont typeface="Wingdings" panose="05000000000000000000" pitchFamily="2" charset="2"/>
                <a:buChar char="è"/>
                <a:defRPr sz="2400" b="1">
                  <a:solidFill>
                    <a:srgbClr val="0C419A"/>
                  </a:solidFill>
                  <a:latin typeface="+mn-lt"/>
                  <a:ea typeface="+mn-ea"/>
                  <a:cs typeface="+mn-cs"/>
                </a:defRPr>
              </a:lvl1pPr>
              <a:lvl2pPr marL="855663" indent="-287338" algn="l" defTabSz="1030288" rtl="0" eaLnBrk="0" fontAlgn="base" hangingPunct="0">
                <a:spcBef>
                  <a:spcPct val="20000"/>
                </a:spcBef>
                <a:spcAft>
                  <a:spcPct val="0"/>
                </a:spcAft>
                <a:buSzPct val="80000"/>
                <a:buFont typeface="Wingdings" panose="05000000000000000000" pitchFamily="2" charset="2"/>
                <a:buChar char="l"/>
                <a:defRPr sz="2100">
                  <a:solidFill>
                    <a:srgbClr val="0C419A"/>
                  </a:solidFill>
                  <a:latin typeface="+mn-lt"/>
                </a:defRPr>
              </a:lvl2pPr>
              <a:lvl3pPr marL="1295400" indent="-249238" algn="l" defTabSz="1030288" rtl="0" eaLnBrk="0" fontAlgn="base" hangingPunct="0">
                <a:spcBef>
                  <a:spcPct val="20000"/>
                </a:spcBef>
                <a:spcAft>
                  <a:spcPct val="0"/>
                </a:spcAft>
                <a:buClr>
                  <a:schemeClr val="folHlink"/>
                </a:buClr>
                <a:buFont typeface="Wingdings" panose="05000000000000000000" pitchFamily="2" charset="2"/>
                <a:buChar char="ü"/>
                <a:defRPr>
                  <a:solidFill>
                    <a:srgbClr val="0C419A"/>
                  </a:solidFill>
                  <a:latin typeface="+mn-lt"/>
                </a:defRPr>
              </a:lvl3pPr>
              <a:lvl4pPr marL="1811338" indent="-250825" algn="l" defTabSz="1030288" rtl="0" eaLnBrk="0" fontAlgn="base" hangingPunct="0">
                <a:spcBef>
                  <a:spcPct val="20000"/>
                </a:spcBef>
                <a:spcAft>
                  <a:spcPct val="0"/>
                </a:spcAft>
                <a:buChar char="_"/>
                <a:defRPr sz="2300">
                  <a:solidFill>
                    <a:srgbClr val="0C419A"/>
                  </a:solidFill>
                  <a:latin typeface="+mn-lt"/>
                </a:defRPr>
              </a:lvl4pPr>
              <a:lvl5pPr marL="2327275" indent="-249238" algn="l" defTabSz="1030288" rtl="0" eaLnBrk="0" fontAlgn="base" hangingPunct="0">
                <a:spcBef>
                  <a:spcPct val="20000"/>
                </a:spcBef>
                <a:spcAft>
                  <a:spcPct val="0"/>
                </a:spcAft>
                <a:buChar char="_"/>
                <a:defRPr sz="2300">
                  <a:solidFill>
                    <a:srgbClr val="0C419A"/>
                  </a:solidFill>
                  <a:latin typeface="+mn-lt"/>
                </a:defRPr>
              </a:lvl5pPr>
              <a:lvl6pPr marL="2788317" indent="-258929" algn="l" defTabSz="1037326" rtl="0" fontAlgn="base">
                <a:spcBef>
                  <a:spcPct val="20000"/>
                </a:spcBef>
                <a:spcAft>
                  <a:spcPct val="0"/>
                </a:spcAft>
                <a:buChar char="_"/>
                <a:defRPr sz="2300">
                  <a:solidFill>
                    <a:srgbClr val="0C419A"/>
                  </a:solidFill>
                  <a:latin typeface="+mn-lt"/>
                </a:defRPr>
              </a:lvl6pPr>
              <a:lvl7pPr marL="3243030" indent="-258929" algn="l" defTabSz="1037326" rtl="0" fontAlgn="base">
                <a:spcBef>
                  <a:spcPct val="20000"/>
                </a:spcBef>
                <a:spcAft>
                  <a:spcPct val="0"/>
                </a:spcAft>
                <a:buChar char="_"/>
                <a:defRPr sz="2300">
                  <a:solidFill>
                    <a:srgbClr val="0C419A"/>
                  </a:solidFill>
                  <a:latin typeface="+mn-lt"/>
                </a:defRPr>
              </a:lvl7pPr>
              <a:lvl8pPr marL="3697750" indent="-258929" algn="l" defTabSz="1037326" rtl="0" fontAlgn="base">
                <a:spcBef>
                  <a:spcPct val="20000"/>
                </a:spcBef>
                <a:spcAft>
                  <a:spcPct val="0"/>
                </a:spcAft>
                <a:buChar char="_"/>
                <a:defRPr sz="2300">
                  <a:solidFill>
                    <a:srgbClr val="0C419A"/>
                  </a:solidFill>
                  <a:latin typeface="+mn-lt"/>
                </a:defRPr>
              </a:lvl8pPr>
              <a:lvl9pPr marL="4152470" indent="-258929" algn="l" defTabSz="1037326" rtl="0" fontAlgn="base">
                <a:spcBef>
                  <a:spcPct val="20000"/>
                </a:spcBef>
                <a:spcAft>
                  <a:spcPct val="0"/>
                </a:spcAft>
                <a:buChar char="_"/>
                <a:defRPr sz="2300">
                  <a:solidFill>
                    <a:srgbClr val="0C419A"/>
                  </a:solidFill>
                  <a:latin typeface="+mn-lt"/>
                </a:defRPr>
              </a:lvl9pPr>
            </a:lstStyle>
            <a:p>
              <a:pPr marL="0" marR="0" lvl="1" indent="0" algn="ctr" defTabSz="913382" rtl="0" eaLnBrk="1" fontAlgn="auto" latinLnBrk="0" hangingPunct="1">
                <a:lnSpc>
                  <a:spcPct val="80000"/>
                </a:lnSpc>
                <a:spcBef>
                  <a:spcPts val="300"/>
                </a:spcBef>
                <a:spcAft>
                  <a:spcPts val="300"/>
                </a:spcAft>
                <a:buClr>
                  <a:srgbClr val="17588B"/>
                </a:buClr>
                <a:buSzPct val="100000"/>
                <a:buFont typeface="Wingdings" panose="05000000000000000000" pitchFamily="2" charset="2"/>
                <a:buNone/>
                <a:tabLst/>
                <a:defRPr/>
              </a:pPr>
              <a:r>
                <a:rPr kumimoji="0" lang="fr-FR" sz="4800" b="1" i="0" u="none" strike="noStrike" kern="1200" cap="none" spc="0" normalizeH="0" baseline="0" noProof="0" dirty="0">
                  <a:ln>
                    <a:noFill/>
                  </a:ln>
                  <a:solidFill>
                    <a:srgbClr val="007FAD"/>
                  </a:solidFill>
                  <a:effectLst/>
                  <a:uLnTx/>
                  <a:uFillTx/>
                  <a:latin typeface="Arial" panose="020B0604020202020204"/>
                  <a:ea typeface="+mn-ea"/>
                  <a:cs typeface="+mn-cs"/>
                </a:rPr>
                <a:t>2</a:t>
              </a:r>
              <a:endParaRPr kumimoji="0" lang="fr-FR" sz="4800" b="0" i="0" u="none" strike="noStrike" kern="1200" cap="none" spc="0" normalizeH="0" baseline="0" noProof="0" dirty="0">
                <a:ln>
                  <a:noFill/>
                </a:ln>
                <a:solidFill>
                  <a:srgbClr val="007FAD"/>
                </a:solidFill>
                <a:effectLst/>
                <a:uLnTx/>
                <a:uFillTx/>
                <a:latin typeface="Arial" panose="020B0604020202020204"/>
                <a:ea typeface="+mn-ea"/>
                <a:cs typeface="+mn-cs"/>
              </a:endParaRPr>
            </a:p>
          </p:txBody>
        </p:sp>
      </p:grpSp>
      <p:sp>
        <p:nvSpPr>
          <p:cNvPr id="13" name="Rectangle 12">
            <a:extLst>
              <a:ext uri="{FF2B5EF4-FFF2-40B4-BE49-F238E27FC236}">
                <a16:creationId xmlns:a16="http://schemas.microsoft.com/office/drawing/2014/main" id="{63265ED6-4DB1-4F3A-BA04-B5A3FDCC4CFE}"/>
              </a:ext>
            </a:extLst>
          </p:cNvPr>
          <p:cNvSpPr/>
          <p:nvPr/>
        </p:nvSpPr>
        <p:spPr>
          <a:xfrm>
            <a:off x="780836" y="1725293"/>
            <a:ext cx="7756594" cy="584672"/>
          </a:xfrm>
          <a:prstGeom prst="rect">
            <a:avLst/>
          </a:prstGeom>
        </p:spPr>
        <p:txBody>
          <a:bodyPr wrap="square" lIns="91337" tIns="45669" rIns="91337" bIns="45669">
            <a:spAutoFit/>
          </a:bodyPr>
          <a:lstStyle/>
          <a:p>
            <a:pPr marL="0" marR="0" lvl="1" indent="0" algn="ctr" defTabSz="456687" rtl="0" eaLnBrk="1" fontAlgn="auto" latinLnBrk="0" hangingPunct="1">
              <a:lnSpc>
                <a:spcPct val="100000"/>
              </a:lnSpc>
              <a:spcBef>
                <a:spcPts val="1800"/>
              </a:spcBef>
              <a:spcAft>
                <a:spcPts val="0"/>
              </a:spcAft>
              <a:buClr>
                <a:srgbClr val="99CC00"/>
              </a:buClr>
              <a:buSzPct val="100000"/>
              <a:buFontTx/>
              <a:buNone/>
              <a:tabLst/>
              <a:defRPr/>
            </a:pPr>
            <a:r>
              <a:rPr kumimoji="0" lang="fr-FR" sz="1600" b="1" i="0" u="none" strike="noStrike" kern="0" cap="none" spc="0" normalizeH="0" baseline="0" noProof="0" dirty="0">
                <a:ln>
                  <a:noFill/>
                </a:ln>
                <a:solidFill>
                  <a:srgbClr val="007FAD"/>
                </a:solidFill>
                <a:effectLst/>
                <a:uLnTx/>
                <a:uFillTx/>
                <a:latin typeface="Arial"/>
                <a:ea typeface="+mn-ea"/>
                <a:cs typeface="+mn-cs"/>
              </a:rPr>
              <a:t>Deux modes d'accès sont prévus pour les situations d'urgence, à condition que le patient ne s'y soit pas opposé</a:t>
            </a:r>
            <a:endParaRPr kumimoji="0" lang="fr-FR" sz="1600" b="1" i="0" u="none" strike="sngStrike" kern="0" cap="none" spc="0" normalizeH="0" baseline="0" noProof="0" dirty="0">
              <a:ln>
                <a:noFill/>
              </a:ln>
              <a:solidFill>
                <a:srgbClr val="007FAD"/>
              </a:solidFill>
              <a:effectLst/>
              <a:uLnTx/>
              <a:uFillTx/>
              <a:latin typeface="Arial"/>
              <a:ea typeface="+mn-ea"/>
              <a:cs typeface="+mn-cs"/>
            </a:endParaRPr>
          </a:p>
        </p:txBody>
      </p:sp>
      <p:pic>
        <p:nvPicPr>
          <p:cNvPr id="14" name="Picture 14">
            <a:extLst>
              <a:ext uri="{FF2B5EF4-FFF2-40B4-BE49-F238E27FC236}">
                <a16:creationId xmlns:a16="http://schemas.microsoft.com/office/drawing/2014/main" id="{E07F1988-4EB8-4239-AE36-D376389EFCDB}"/>
              </a:ext>
            </a:extLst>
          </p:cNvPr>
          <p:cNvPicPr>
            <a:picLocks noChangeAspect="1"/>
          </p:cNvPicPr>
          <p:nvPr/>
        </p:nvPicPr>
        <p:blipFill rotWithShape="1">
          <a:blip r:embed="rId2"/>
          <a:srcRect t="5211" b="2848"/>
          <a:stretch/>
        </p:blipFill>
        <p:spPr>
          <a:xfrm>
            <a:off x="9299517" y="1725293"/>
            <a:ext cx="2464392" cy="4902087"/>
          </a:xfrm>
          <a:prstGeom prst="rect">
            <a:avLst/>
          </a:prstGeom>
          <a:ln w="76200">
            <a:solidFill>
              <a:srgbClr val="BFD5FA"/>
            </a:solidFill>
          </a:ln>
        </p:spPr>
      </p:pic>
      <p:sp>
        <p:nvSpPr>
          <p:cNvPr id="2" name="ZoneTexte 1">
            <a:extLst>
              <a:ext uri="{FF2B5EF4-FFF2-40B4-BE49-F238E27FC236}">
                <a16:creationId xmlns:a16="http://schemas.microsoft.com/office/drawing/2014/main" id="{61DBEF90-71D9-1848-FAFD-DFD09AAF227E}"/>
              </a:ext>
            </a:extLst>
          </p:cNvPr>
          <p:cNvSpPr txBox="1"/>
          <p:nvPr/>
        </p:nvSpPr>
        <p:spPr>
          <a:xfrm>
            <a:off x="3113070" y="5970005"/>
            <a:ext cx="6770669" cy="369332"/>
          </a:xfrm>
          <a:prstGeom prst="rect">
            <a:avLst/>
          </a:prstGeom>
          <a:noFill/>
        </p:spPr>
        <p:txBody>
          <a:bodyPr wrap="square" rtlCol="0">
            <a:spAutoFit/>
          </a:bodyPr>
          <a:lstStyle/>
          <a:p>
            <a:r>
              <a:rPr lang="fr-FR" dirty="0">
                <a:solidFill>
                  <a:srgbClr val="545859"/>
                </a:solidFill>
                <a:latin typeface="Arial" panose="020B0604020202020204"/>
              </a:rPr>
              <a:t>Nb : l’accès est autorisé par défaut</a:t>
            </a:r>
          </a:p>
        </p:txBody>
      </p:sp>
    </p:spTree>
    <p:extLst>
      <p:ext uri="{BB962C8B-B14F-4D97-AF65-F5344CB8AC3E}">
        <p14:creationId xmlns:p14="http://schemas.microsoft.com/office/powerpoint/2010/main" val="128028155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9490C9E-4856-4672-BD16-C50FBE35E6B5}"/>
              </a:ext>
            </a:extLst>
          </p:cNvPr>
          <p:cNvSpPr>
            <a:spLocks noGrp="1"/>
          </p:cNvSpPr>
          <p:nvPr>
            <p:ph type="sldNum" sz="quarter" idx="2"/>
          </p:nvPr>
        </p:nvSpPr>
        <p:spPr/>
        <p:txBody>
          <a:bodyPr/>
          <a:lstStyle/>
          <a:p>
            <a:fld id="{86CB4B4D-7CA3-9044-876B-883B54F8677D}" type="slidenum">
              <a:rPr lang="fr-FR" smtClean="0"/>
              <a:t>3</a:t>
            </a:fld>
            <a:endParaRPr lang="fr-FR"/>
          </a:p>
        </p:txBody>
      </p:sp>
      <p:sp>
        <p:nvSpPr>
          <p:cNvPr id="4" name="Title 3">
            <a:extLst>
              <a:ext uri="{FF2B5EF4-FFF2-40B4-BE49-F238E27FC236}">
                <a16:creationId xmlns:a16="http://schemas.microsoft.com/office/drawing/2014/main" id="{AC6AA162-C40A-4A15-926D-123DF19B1780}"/>
              </a:ext>
            </a:extLst>
          </p:cNvPr>
          <p:cNvSpPr>
            <a:spLocks noGrp="1"/>
          </p:cNvSpPr>
          <p:nvPr>
            <p:ph type="title"/>
          </p:nvPr>
        </p:nvSpPr>
        <p:spPr>
          <a:xfrm>
            <a:off x="2312823" y="35658"/>
            <a:ext cx="9490487" cy="1133342"/>
          </a:xfrm>
        </p:spPr>
        <p:txBody>
          <a:bodyPr>
            <a:noAutofit/>
          </a:bodyPr>
          <a:lstStyle/>
          <a:p>
            <a:r>
              <a:rPr lang="fr-FR" sz="3500" b="1" spc="-70">
                <a:solidFill>
                  <a:srgbClr val="005C9B"/>
                </a:solidFill>
                <a:latin typeface="Arial" panose="020B0604020202020204" pitchFamily="34" charset="0"/>
                <a:cs typeface="Arial" panose="020B0604020202020204" pitchFamily="34" charset="0"/>
                <a:sym typeface="Arial"/>
              </a:rPr>
              <a:t>Tout commence avec le dossier médical partagé…</a:t>
            </a:r>
          </a:p>
        </p:txBody>
      </p:sp>
      <p:sp>
        <p:nvSpPr>
          <p:cNvPr id="11" name="Rectangle: Rounded Corners 10">
            <a:extLst>
              <a:ext uri="{FF2B5EF4-FFF2-40B4-BE49-F238E27FC236}">
                <a16:creationId xmlns:a16="http://schemas.microsoft.com/office/drawing/2014/main" id="{6A969BE9-414F-41FE-A605-314E206F2D60}"/>
              </a:ext>
            </a:extLst>
          </p:cNvPr>
          <p:cNvSpPr/>
          <p:nvPr/>
        </p:nvSpPr>
        <p:spPr>
          <a:xfrm>
            <a:off x="4639545" y="3666487"/>
            <a:ext cx="3694400" cy="2692399"/>
          </a:xfrm>
          <a:prstGeom prst="roundRect">
            <a:avLst>
              <a:gd name="adj" fmla="val 0"/>
            </a:avLst>
          </a:prstGeom>
          <a:noFill/>
        </p:spPr>
        <p:txBody>
          <a:bodyPr wrap="square"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545859"/>
              </a:solidFill>
              <a:effectLst/>
              <a:uLnTx/>
              <a:uFillTx/>
              <a:latin typeface="Arial" panose="020B0604020202020204"/>
              <a:ea typeface="+mn-ea"/>
              <a:cs typeface="Calibri Light" panose="020F0302020204030204" pitchFamily="34" charset="0"/>
            </a:endParaRPr>
          </a:p>
        </p:txBody>
      </p:sp>
      <p:pic>
        <p:nvPicPr>
          <p:cNvPr id="15" name="Picture 2" descr="LOGO DMP » E Santé Bretagne">
            <a:extLst>
              <a:ext uri="{FF2B5EF4-FFF2-40B4-BE49-F238E27FC236}">
                <a16:creationId xmlns:a16="http://schemas.microsoft.com/office/drawing/2014/main" id="{1A2FBDBC-5190-49C9-ACAB-3470B3108A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684" y="1819386"/>
            <a:ext cx="705078" cy="368460"/>
          </a:xfrm>
          <a:prstGeom prst="rect">
            <a:avLst/>
          </a:prstGeom>
          <a:noFill/>
          <a:extLst>
            <a:ext uri="{909E8E84-426E-40DD-AFC4-6F175D3DCCD1}">
              <a14:hiddenFill xmlns:a14="http://schemas.microsoft.com/office/drawing/2010/main">
                <a:solidFill>
                  <a:srgbClr val="FFFFFF"/>
                </a:solidFill>
              </a14:hiddenFill>
            </a:ext>
          </a:extLst>
        </p:spPr>
      </p:pic>
      <p:sp>
        <p:nvSpPr>
          <p:cNvPr id="17" name="ZoneTexte 14">
            <a:extLst>
              <a:ext uri="{FF2B5EF4-FFF2-40B4-BE49-F238E27FC236}">
                <a16:creationId xmlns:a16="http://schemas.microsoft.com/office/drawing/2014/main" id="{81D71AD7-B836-481C-87C0-A5635672C750}"/>
              </a:ext>
            </a:extLst>
          </p:cNvPr>
          <p:cNvSpPr txBox="1"/>
          <p:nvPr/>
        </p:nvSpPr>
        <p:spPr>
          <a:xfrm>
            <a:off x="1256507" y="1777874"/>
            <a:ext cx="10110936" cy="738664"/>
          </a:xfrm>
          <a:prstGeom prst="rect">
            <a:avLst/>
          </a:prstGeom>
          <a:noFill/>
        </p:spPr>
        <p:txBody>
          <a:bodyPr wrap="square" rtlCol="0">
            <a:spAutoFit/>
          </a:bodyPr>
          <a:lstStyle/>
          <a:p>
            <a:pPr algn="just">
              <a:spcAft>
                <a:spcPts val="600"/>
              </a:spcAft>
            </a:pPr>
            <a:r>
              <a:rPr lang="fr-FR" sz="1400"/>
              <a:t>Le DMP était un carnet de santé informatisé et sécurisé, accessible sur Internet. Il contient toutes les informations de santé de l’usager et lui permet de partager ses informations de santé avec les professionnels de santé de son choix, afin d’améliorer sa prise en charge. </a:t>
            </a:r>
          </a:p>
        </p:txBody>
      </p:sp>
      <p:sp>
        <p:nvSpPr>
          <p:cNvPr id="20" name="TextBox 19">
            <a:extLst>
              <a:ext uri="{FF2B5EF4-FFF2-40B4-BE49-F238E27FC236}">
                <a16:creationId xmlns:a16="http://schemas.microsoft.com/office/drawing/2014/main" id="{AE860025-4FE1-454B-83CA-21A82753DA7E}"/>
              </a:ext>
            </a:extLst>
          </p:cNvPr>
          <p:cNvSpPr txBox="1"/>
          <p:nvPr/>
        </p:nvSpPr>
        <p:spPr>
          <a:xfrm>
            <a:off x="2111132" y="2647686"/>
            <a:ext cx="8586654"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fr-FR" b="1">
                <a:solidFill>
                  <a:srgbClr val="0B48A2"/>
                </a:solidFill>
              </a:rPr>
              <a:t>Mon espace santé intègre désormais le Dossier Médical Partagé du patient.</a:t>
            </a:r>
          </a:p>
        </p:txBody>
      </p:sp>
      <p:sp>
        <p:nvSpPr>
          <p:cNvPr id="18" name="TextBox 17">
            <a:extLst>
              <a:ext uri="{FF2B5EF4-FFF2-40B4-BE49-F238E27FC236}">
                <a16:creationId xmlns:a16="http://schemas.microsoft.com/office/drawing/2014/main" id="{2AC19398-D6B2-400E-AB38-FAFF183D6BD2}"/>
              </a:ext>
            </a:extLst>
          </p:cNvPr>
          <p:cNvSpPr txBox="1"/>
          <p:nvPr/>
        </p:nvSpPr>
        <p:spPr>
          <a:xfrm>
            <a:off x="8849494" y="3885113"/>
            <a:ext cx="3080368" cy="1384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1" indent="0" algn="just"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Calibri Light" panose="020F0302020204030204" pitchFamily="34" charset="0"/>
              </a:rPr>
              <a:t>Depuis </a:t>
            </a:r>
            <a:r>
              <a:rPr lang="fr-FR" sz="1400">
                <a:solidFill>
                  <a:srgbClr val="545859"/>
                </a:solidFill>
                <a:latin typeface="Arial" panose="020B0604020202020204"/>
                <a:cs typeface="Calibri Light" panose="020F0302020204030204" pitchFamily="34" charset="0"/>
              </a:rPr>
              <a:t>l’été 2020</a:t>
            </a:r>
            <a:r>
              <a:rPr kumimoji="0" lang="fr-FR" sz="1400" b="0" i="0" u="none" strike="noStrike" kern="1200" cap="none" spc="0" normalizeH="0" baseline="0" noProof="0">
                <a:ln>
                  <a:noFill/>
                </a:ln>
                <a:solidFill>
                  <a:srgbClr val="545859"/>
                </a:solidFill>
                <a:effectLst/>
                <a:uLnTx/>
                <a:uFillTx/>
                <a:latin typeface="Arial" panose="020B0604020202020204"/>
                <a:ea typeface="+mn-ea"/>
                <a:cs typeface="Calibri Light" panose="020F0302020204030204" pitchFamily="34" charset="0"/>
              </a:rPr>
              <a:t>, il n’est plus possible de créer de nouveaux DMP.</a:t>
            </a:r>
          </a:p>
          <a:p>
            <a:pPr marL="0" marR="0" lvl="1" indent="0"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Calibri Light" panose="020F0302020204030204" pitchFamily="34" charset="0"/>
              </a:rPr>
              <a:t>Les données contenues dans les DMP existants sont automatiquement intégrées dans Mon espace santé.</a:t>
            </a:r>
          </a:p>
        </p:txBody>
      </p:sp>
      <p:grpSp>
        <p:nvGrpSpPr>
          <p:cNvPr id="21" name="Group 168">
            <a:extLst>
              <a:ext uri="{FF2B5EF4-FFF2-40B4-BE49-F238E27FC236}">
                <a16:creationId xmlns:a16="http://schemas.microsoft.com/office/drawing/2014/main" id="{2F1C9B14-7A75-4D2D-8A12-C5CCC7185DDE}"/>
              </a:ext>
            </a:extLst>
          </p:cNvPr>
          <p:cNvGrpSpPr>
            <a:grpSpLocks noChangeAspect="1"/>
          </p:cNvGrpSpPr>
          <p:nvPr/>
        </p:nvGrpSpPr>
        <p:grpSpPr>
          <a:xfrm>
            <a:off x="343819" y="2657487"/>
            <a:ext cx="736463" cy="454025"/>
            <a:chOff x="6760673" y="2935261"/>
            <a:chExt cx="1349115" cy="831721"/>
          </a:xfrm>
        </p:grpSpPr>
        <p:pic>
          <p:nvPicPr>
            <p:cNvPr id="22" name="Logo-ReMES.png">
              <a:extLst>
                <a:ext uri="{FF2B5EF4-FFF2-40B4-BE49-F238E27FC236}">
                  <a16:creationId xmlns:a16="http://schemas.microsoft.com/office/drawing/2014/main" id="{91D6D9B3-8A02-492F-9E64-E305ADFA4A3B}"/>
                </a:ext>
              </a:extLst>
            </p:cNvPr>
            <p:cNvPicPr>
              <a:picLocks noChangeAspect="1"/>
            </p:cNvPicPr>
            <p:nvPr/>
          </p:nvPicPr>
          <p:blipFill rotWithShape="1">
            <a:blip r:embed="rId3"/>
            <a:srcRect t="43809"/>
            <a:stretch/>
          </p:blipFill>
          <p:spPr>
            <a:xfrm>
              <a:off x="6760673" y="2946762"/>
              <a:ext cx="1349115" cy="820220"/>
            </a:xfrm>
            <a:prstGeom prst="rect">
              <a:avLst/>
            </a:prstGeom>
            <a:ln w="12700">
              <a:miter lim="400000"/>
            </a:ln>
          </p:spPr>
        </p:pic>
        <p:sp>
          <p:nvSpPr>
            <p:cNvPr id="23" name="Rectangle 22">
              <a:extLst>
                <a:ext uri="{FF2B5EF4-FFF2-40B4-BE49-F238E27FC236}">
                  <a16:creationId xmlns:a16="http://schemas.microsoft.com/office/drawing/2014/main" id="{73B00D50-7378-4920-8669-982433A98C81}"/>
                </a:ext>
              </a:extLst>
            </p:cNvPr>
            <p:cNvSpPr/>
            <p:nvPr/>
          </p:nvSpPr>
          <p:spPr>
            <a:xfrm>
              <a:off x="7629798" y="2935261"/>
              <a:ext cx="323712" cy="17330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1219170"/>
              <a:endParaRPr lang="fr-FR" sz="1600" kern="0">
                <a:solidFill>
                  <a:prstClr val="white"/>
                </a:solidFill>
                <a:latin typeface="Arial" panose="020B0604020202020204"/>
              </a:endParaRPr>
            </a:p>
          </p:txBody>
        </p:sp>
      </p:grpSp>
      <p:grpSp>
        <p:nvGrpSpPr>
          <p:cNvPr id="32" name="Group 31">
            <a:extLst>
              <a:ext uri="{FF2B5EF4-FFF2-40B4-BE49-F238E27FC236}">
                <a16:creationId xmlns:a16="http://schemas.microsoft.com/office/drawing/2014/main" id="{90E080E2-11AC-4165-92F8-1D0323BAD3B4}"/>
              </a:ext>
            </a:extLst>
          </p:cNvPr>
          <p:cNvGrpSpPr/>
          <p:nvPr/>
        </p:nvGrpSpPr>
        <p:grpSpPr>
          <a:xfrm>
            <a:off x="833060" y="3868724"/>
            <a:ext cx="3133601" cy="738664"/>
            <a:chOff x="1966720" y="4046292"/>
            <a:chExt cx="3133601" cy="738664"/>
          </a:xfrm>
        </p:grpSpPr>
        <p:sp>
          <p:nvSpPr>
            <p:cNvPr id="14" name="ZoneTexte 14">
              <a:extLst>
                <a:ext uri="{FF2B5EF4-FFF2-40B4-BE49-F238E27FC236}">
                  <a16:creationId xmlns:a16="http://schemas.microsoft.com/office/drawing/2014/main" id="{6AEDB915-A5BC-48C0-A359-FD3E3EF85339}"/>
                </a:ext>
              </a:extLst>
            </p:cNvPr>
            <p:cNvSpPr txBox="1"/>
            <p:nvPr/>
          </p:nvSpPr>
          <p:spPr>
            <a:xfrm>
              <a:off x="2342727" y="4046292"/>
              <a:ext cx="2757594" cy="738664"/>
            </a:xfrm>
            <a:prstGeom prst="rect">
              <a:avLst/>
            </a:prstGeom>
            <a:noFill/>
          </p:spPr>
          <p:txBody>
            <a:bodyPr wrap="square" rtlCol="0">
              <a:spAutoFit/>
            </a:bodyPr>
            <a:lstStyle/>
            <a:p>
              <a:pPr algn="just">
                <a:spcBef>
                  <a:spcPts val="1200"/>
                </a:spcBef>
              </a:pPr>
              <a:r>
                <a:rPr lang="fr-FR" sz="1400"/>
                <a:t>Côté usager, l’application DMP a fermé le 30 juin 2022 et le site dmp.fr fermera en février 2023,</a:t>
              </a:r>
            </a:p>
          </p:txBody>
        </p:sp>
        <p:pic>
          <p:nvPicPr>
            <p:cNvPr id="9" name="Graphic 8" descr="Group of men with solid fill">
              <a:extLst>
                <a:ext uri="{FF2B5EF4-FFF2-40B4-BE49-F238E27FC236}">
                  <a16:creationId xmlns:a16="http://schemas.microsoft.com/office/drawing/2014/main" id="{A6F6E8BA-5345-440D-A7F0-0984ED8B6CB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966720" y="4098778"/>
              <a:ext cx="360000" cy="360000"/>
            </a:xfrm>
            <a:prstGeom prst="rect">
              <a:avLst/>
            </a:prstGeom>
          </p:spPr>
        </p:pic>
      </p:grpSp>
      <p:grpSp>
        <p:nvGrpSpPr>
          <p:cNvPr id="33" name="Group 32">
            <a:extLst>
              <a:ext uri="{FF2B5EF4-FFF2-40B4-BE49-F238E27FC236}">
                <a16:creationId xmlns:a16="http://schemas.microsoft.com/office/drawing/2014/main" id="{CD633122-49F0-49AF-8C38-CCA56AC59F38}"/>
              </a:ext>
            </a:extLst>
          </p:cNvPr>
          <p:cNvGrpSpPr/>
          <p:nvPr/>
        </p:nvGrpSpPr>
        <p:grpSpPr>
          <a:xfrm>
            <a:off x="845967" y="4751119"/>
            <a:ext cx="3091484" cy="1600438"/>
            <a:chOff x="1979627" y="4928687"/>
            <a:chExt cx="3091484" cy="1600438"/>
          </a:xfrm>
        </p:grpSpPr>
        <p:pic>
          <p:nvPicPr>
            <p:cNvPr id="27" name="Graphic 26" descr="Stethoscope with solid fill">
              <a:extLst>
                <a:ext uri="{FF2B5EF4-FFF2-40B4-BE49-F238E27FC236}">
                  <a16:creationId xmlns:a16="http://schemas.microsoft.com/office/drawing/2014/main" id="{8244DB3F-46EE-4653-B117-555E9E900E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79627" y="5003442"/>
              <a:ext cx="360000" cy="360000"/>
            </a:xfrm>
            <a:prstGeom prst="rect">
              <a:avLst/>
            </a:prstGeom>
          </p:spPr>
        </p:pic>
        <p:sp>
          <p:nvSpPr>
            <p:cNvPr id="29" name="TextBox 28">
              <a:extLst>
                <a:ext uri="{FF2B5EF4-FFF2-40B4-BE49-F238E27FC236}">
                  <a16:creationId xmlns:a16="http://schemas.microsoft.com/office/drawing/2014/main" id="{9D2A9BE8-B76F-443E-9AA1-8DF1E77FCDE5}"/>
                </a:ext>
              </a:extLst>
            </p:cNvPr>
            <p:cNvSpPr txBox="1"/>
            <p:nvPr/>
          </p:nvSpPr>
          <p:spPr>
            <a:xfrm>
              <a:off x="2313517" y="4928687"/>
              <a:ext cx="2757594" cy="160043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
                <a:spcBef>
                  <a:spcPts val="1200"/>
                </a:spcBef>
              </a:pPr>
              <a:r>
                <a:rPr lang="fr-FR" sz="1400"/>
                <a:t>De son côté, le professionnel de santé peut alimenter et consulter le DMP. L’usager retrouve l’ensemble de ses documents dans la rubrique document de Mon espace santé et il en est informé.</a:t>
              </a:r>
            </a:p>
          </p:txBody>
        </p:sp>
      </p:grpSp>
      <p:sp>
        <p:nvSpPr>
          <p:cNvPr id="31" name="TextBox 30">
            <a:extLst>
              <a:ext uri="{FF2B5EF4-FFF2-40B4-BE49-F238E27FC236}">
                <a16:creationId xmlns:a16="http://schemas.microsoft.com/office/drawing/2014/main" id="{6EF1371E-CC1B-4327-A135-0BAA293EB35A}"/>
              </a:ext>
            </a:extLst>
          </p:cNvPr>
          <p:cNvSpPr txBox="1"/>
          <p:nvPr/>
        </p:nvSpPr>
        <p:spPr>
          <a:xfrm>
            <a:off x="1307306" y="3232157"/>
            <a:ext cx="2479632"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fr-FR" sz="1400" b="1">
                <a:solidFill>
                  <a:srgbClr val="0B48A2"/>
                </a:solidFill>
              </a:rPr>
              <a:t>Quels changement pour le PS et l’usager ? </a:t>
            </a:r>
          </a:p>
        </p:txBody>
      </p:sp>
      <p:sp>
        <p:nvSpPr>
          <p:cNvPr id="34" name="TextBox 33">
            <a:extLst>
              <a:ext uri="{FF2B5EF4-FFF2-40B4-BE49-F238E27FC236}">
                <a16:creationId xmlns:a16="http://schemas.microsoft.com/office/drawing/2014/main" id="{A3ECAC1B-B971-4650-8F46-32B3CB68EEC7}"/>
              </a:ext>
            </a:extLst>
          </p:cNvPr>
          <p:cNvSpPr txBox="1"/>
          <p:nvPr/>
        </p:nvSpPr>
        <p:spPr>
          <a:xfrm>
            <a:off x="5178266" y="3244270"/>
            <a:ext cx="2479632"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fr-FR" sz="1400" b="1">
                <a:solidFill>
                  <a:srgbClr val="0B48A2"/>
                </a:solidFill>
              </a:rPr>
              <a:t>Quels apports par rapport au DMP ?</a:t>
            </a:r>
          </a:p>
        </p:txBody>
      </p:sp>
      <p:sp>
        <p:nvSpPr>
          <p:cNvPr id="35" name="TextBox 34">
            <a:extLst>
              <a:ext uri="{FF2B5EF4-FFF2-40B4-BE49-F238E27FC236}">
                <a16:creationId xmlns:a16="http://schemas.microsoft.com/office/drawing/2014/main" id="{465F6DC7-A540-4276-A3D9-6C81EC614734}"/>
              </a:ext>
            </a:extLst>
          </p:cNvPr>
          <p:cNvSpPr txBox="1"/>
          <p:nvPr/>
        </p:nvSpPr>
        <p:spPr>
          <a:xfrm>
            <a:off x="4565007" y="3851896"/>
            <a:ext cx="3768937" cy="255454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Calibri Light" panose="020F0302020204030204" pitchFamily="34" charset="0"/>
              </a:rPr>
              <a:t>Mon espace santé rassemble, outre le dossier médical partagé du patient :</a:t>
            </a:r>
          </a:p>
          <a:p>
            <a:pPr marL="285750" marR="0" lvl="0" indent="-285750" algn="just" defTabSz="914400" rtl="0" eaLnBrk="1" fontAlgn="auto" latinLnBrk="0" hangingPunct="1">
              <a:lnSpc>
                <a:spcPct val="100000"/>
              </a:lnSpc>
              <a:spcBef>
                <a:spcPts val="600"/>
              </a:spcBef>
              <a:buClr>
                <a:schemeClr val="bg1"/>
              </a:buClr>
              <a:buSzTx/>
              <a:buFont typeface="Arial" panose="020B0604020202020204" pitchFamily="34" charset="0"/>
              <a:buChar char="•"/>
              <a:tabLst/>
              <a:defRPr/>
            </a:pPr>
            <a:r>
              <a:rPr lang="fr-FR" sz="1400">
                <a:solidFill>
                  <a:srgbClr val="545859"/>
                </a:solidFill>
                <a:latin typeface="Arial" panose="020B0604020202020204"/>
                <a:cs typeface="Calibri Light" panose="020F0302020204030204" pitchFamily="34" charset="0"/>
              </a:rPr>
              <a:t>S</a:t>
            </a:r>
            <a:r>
              <a:rPr kumimoji="0" lang="fr-FR" sz="1400" b="0" i="0" u="none" strike="noStrike" kern="1200" cap="none" spc="0" normalizeH="0" baseline="0" noProof="0">
                <a:ln>
                  <a:noFill/>
                </a:ln>
                <a:solidFill>
                  <a:srgbClr val="545859"/>
                </a:solidFill>
                <a:effectLst/>
                <a:uLnTx/>
                <a:uFillTx/>
                <a:latin typeface="Arial" panose="020B0604020202020204"/>
                <a:ea typeface="+mn-ea"/>
                <a:cs typeface="Calibri Light" panose="020F0302020204030204" pitchFamily="34" charset="0"/>
              </a:rPr>
              <a:t>es données administratives ;</a:t>
            </a:r>
          </a:p>
          <a:p>
            <a:pPr marL="285750" marR="0" lvl="0" indent="-285750" algn="just" defTabSz="914400" rtl="0" eaLnBrk="1" fontAlgn="auto" latinLnBrk="0" hangingPunct="1">
              <a:lnSpc>
                <a:spcPct val="100000"/>
              </a:lnSpc>
              <a:spcBef>
                <a:spcPts val="600"/>
              </a:spcBef>
              <a:buClr>
                <a:schemeClr val="bg1"/>
              </a:buClr>
              <a:buSzTx/>
              <a:buFont typeface="Arial" panose="020B0604020202020204" pitchFamily="34" charset="0"/>
              <a:buChar char="•"/>
              <a:tabLst/>
              <a:defRPr/>
            </a:pPr>
            <a:r>
              <a:rPr lang="fr-FR" sz="1400">
                <a:solidFill>
                  <a:srgbClr val="545859"/>
                </a:solidFill>
                <a:latin typeface="Arial" panose="020B0604020202020204"/>
                <a:cs typeface="Calibri Light" panose="020F0302020204030204" pitchFamily="34" charset="0"/>
              </a:rPr>
              <a:t>T</a:t>
            </a:r>
            <a:r>
              <a:rPr kumimoji="0" lang="fr-FR" sz="1400" b="0" i="0" u="none" strike="noStrike" kern="1200" cap="none" spc="0" normalizeH="0" baseline="0" noProof="0">
                <a:ln>
                  <a:noFill/>
                </a:ln>
                <a:solidFill>
                  <a:srgbClr val="545859"/>
                </a:solidFill>
                <a:effectLst/>
                <a:uLnTx/>
                <a:uFillTx/>
                <a:latin typeface="Arial" panose="020B0604020202020204"/>
                <a:ea typeface="+mn-ea"/>
                <a:cs typeface="Calibri Light" panose="020F0302020204030204" pitchFamily="34" charset="0"/>
              </a:rPr>
              <a:t>outes ses données de santé (comptes rendus hospitaliers, résultats d’analyses, ordonnances, etc.) ;</a:t>
            </a:r>
          </a:p>
          <a:p>
            <a:pPr marL="285750" marR="0" lvl="0" indent="-285750" algn="just" defTabSz="914400" rtl="0" eaLnBrk="1" fontAlgn="auto" latinLnBrk="0" hangingPunct="1">
              <a:lnSpc>
                <a:spcPct val="100000"/>
              </a:lnSpc>
              <a:spcBef>
                <a:spcPts val="600"/>
              </a:spcBef>
              <a:buClr>
                <a:schemeClr val="bg1"/>
              </a:buClr>
              <a:buSzTx/>
              <a:buFont typeface="Arial" panose="020B0604020202020204" pitchFamily="34" charset="0"/>
              <a:buChar char="•"/>
              <a:tabLst/>
              <a:defRPr/>
            </a:pPr>
            <a:r>
              <a:rPr lang="fr-FR" sz="1400">
                <a:solidFill>
                  <a:srgbClr val="545859"/>
                </a:solidFill>
                <a:latin typeface="Arial" panose="020B0604020202020204"/>
                <a:cs typeface="Calibri Light" panose="020F0302020204030204" pitchFamily="34" charset="0"/>
              </a:rPr>
              <a:t>D</a:t>
            </a:r>
            <a:r>
              <a:rPr kumimoji="0" lang="fr-FR" sz="1400" b="0" i="0" u="none" strike="noStrike" kern="1200" cap="none" spc="0" normalizeH="0" baseline="0" noProof="0">
                <a:ln>
                  <a:noFill/>
                </a:ln>
                <a:solidFill>
                  <a:srgbClr val="545859"/>
                </a:solidFill>
                <a:effectLst/>
                <a:uLnTx/>
                <a:uFillTx/>
                <a:latin typeface="Arial" panose="020B0604020202020204"/>
                <a:ea typeface="+mn-ea"/>
                <a:cs typeface="Calibri Light" panose="020F0302020204030204" pitchFamily="34" charset="0"/>
              </a:rPr>
              <a:t>es outils permettant des échanges sécurisés avec les professionnels de santé (dont une messagerie) ;</a:t>
            </a:r>
          </a:p>
          <a:p>
            <a:pPr marR="0" lvl="0" algn="just" defTabSz="914400" rtl="0" eaLnBrk="1" fontAlgn="auto" latinLnBrk="0" hangingPunct="1">
              <a:lnSpc>
                <a:spcPct val="100000"/>
              </a:lnSpc>
              <a:spcBef>
                <a:spcPts val="600"/>
              </a:spcBef>
              <a:buClr>
                <a:schemeClr val="bg1"/>
              </a:buClr>
              <a:buSzTx/>
              <a:tabLst/>
              <a:defRPr/>
            </a:pPr>
            <a:endParaRPr kumimoji="0" lang="fr-FR" sz="1400" b="0" i="0" u="none" strike="noStrike" kern="1200" cap="none" spc="0" normalizeH="0" baseline="0" noProof="0">
              <a:ln>
                <a:noFill/>
              </a:ln>
              <a:solidFill>
                <a:srgbClr val="545859"/>
              </a:solidFill>
              <a:effectLst/>
              <a:uLnTx/>
              <a:uFillTx/>
              <a:latin typeface="Arial" panose="020B0604020202020204"/>
              <a:ea typeface="+mn-ea"/>
              <a:cs typeface="Calibri Light" panose="020F0302020204030204" pitchFamily="34" charset="0"/>
            </a:endParaRPr>
          </a:p>
        </p:txBody>
      </p:sp>
      <p:sp>
        <p:nvSpPr>
          <p:cNvPr id="36" name="TextBox 35">
            <a:extLst>
              <a:ext uri="{FF2B5EF4-FFF2-40B4-BE49-F238E27FC236}">
                <a16:creationId xmlns:a16="http://schemas.microsoft.com/office/drawing/2014/main" id="{1471EB0D-F135-45D5-8D3B-671439E5EF3B}"/>
              </a:ext>
            </a:extLst>
          </p:cNvPr>
          <p:cNvSpPr txBox="1"/>
          <p:nvPr/>
        </p:nvSpPr>
        <p:spPr>
          <a:xfrm>
            <a:off x="9021301" y="3356030"/>
            <a:ext cx="2479632"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fr-FR" sz="1400" b="1">
                <a:solidFill>
                  <a:srgbClr val="0B48A2"/>
                </a:solidFill>
              </a:rPr>
              <a:t>Puis-je créer un DMP ?</a:t>
            </a:r>
          </a:p>
        </p:txBody>
      </p:sp>
      <p:sp>
        <p:nvSpPr>
          <p:cNvPr id="37" name="TextBox 36">
            <a:extLst>
              <a:ext uri="{FF2B5EF4-FFF2-40B4-BE49-F238E27FC236}">
                <a16:creationId xmlns:a16="http://schemas.microsoft.com/office/drawing/2014/main" id="{55117593-8AD7-49BD-AAA0-B8CAA461853A}"/>
              </a:ext>
            </a:extLst>
          </p:cNvPr>
          <p:cNvSpPr txBox="1"/>
          <p:nvPr/>
        </p:nvSpPr>
        <p:spPr>
          <a:xfrm>
            <a:off x="8849494" y="5320919"/>
            <a:ext cx="3271252" cy="2308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fr-FR" sz="900" b="0" i="1" u="none" strike="noStrike" kern="1200" cap="none" spc="0" normalizeH="0" baseline="0" noProof="0">
                <a:ln>
                  <a:noFill/>
                </a:ln>
                <a:solidFill>
                  <a:srgbClr val="545859"/>
                </a:solidFill>
                <a:effectLst/>
                <a:uLnTx/>
                <a:uFillTx/>
                <a:latin typeface="Arial" panose="020B0604020202020204"/>
                <a:ea typeface="+mn-ea"/>
                <a:cs typeface="Calibri Light" panose="020F0302020204030204" pitchFamily="34" charset="0"/>
              </a:rPr>
              <a:t>Voir la partie Document pour plus d’informations. </a:t>
            </a:r>
          </a:p>
        </p:txBody>
      </p:sp>
      <p:pic>
        <p:nvPicPr>
          <p:cNvPr id="39" name="Graphic 38" descr="Heart with pulse with solid fill">
            <a:extLst>
              <a:ext uri="{FF2B5EF4-FFF2-40B4-BE49-F238E27FC236}">
                <a16:creationId xmlns:a16="http://schemas.microsoft.com/office/drawing/2014/main" id="{4B71DB9A-B07D-498F-9ED8-E87CEC55D70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23140" y="4690159"/>
            <a:ext cx="360000" cy="360000"/>
          </a:xfrm>
          <a:prstGeom prst="rect">
            <a:avLst/>
          </a:prstGeom>
        </p:spPr>
      </p:pic>
      <p:pic>
        <p:nvPicPr>
          <p:cNvPr id="41" name="Graphic 40" descr="Document with solid fill">
            <a:extLst>
              <a:ext uri="{FF2B5EF4-FFF2-40B4-BE49-F238E27FC236}">
                <a16:creationId xmlns:a16="http://schemas.microsoft.com/office/drawing/2014/main" id="{89A5AE4D-77C5-495A-82C4-82C928F2682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559140" y="4379889"/>
            <a:ext cx="288000" cy="288000"/>
          </a:xfrm>
          <a:prstGeom prst="rect">
            <a:avLst/>
          </a:prstGeom>
        </p:spPr>
      </p:pic>
      <p:pic>
        <p:nvPicPr>
          <p:cNvPr id="47" name="Graphic 46" descr="Email with solid fill">
            <a:extLst>
              <a:ext uri="{FF2B5EF4-FFF2-40B4-BE49-F238E27FC236}">
                <a16:creationId xmlns:a16="http://schemas.microsoft.com/office/drawing/2014/main" id="{8966C53F-30A7-47BB-A373-CBF2BEFC17A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43460" y="5389915"/>
            <a:ext cx="288000" cy="288000"/>
          </a:xfrm>
          <a:prstGeom prst="rect">
            <a:avLst/>
          </a:prstGeom>
        </p:spPr>
      </p:pic>
    </p:spTree>
    <p:extLst>
      <p:ext uri="{BB962C8B-B14F-4D97-AF65-F5344CB8AC3E}">
        <p14:creationId xmlns:p14="http://schemas.microsoft.com/office/powerpoint/2010/main" val="1371318471"/>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C5B8B819-33F9-4317-A374-AA682DA05E0C}"/>
              </a:ext>
            </a:extLst>
          </p:cNvPr>
          <p:cNvSpPr>
            <a:spLocks noGrp="1"/>
          </p:cNvSpPr>
          <p:nvPr>
            <p:ph type="title"/>
          </p:nvPr>
        </p:nvSpPr>
        <p:spPr>
          <a:xfrm>
            <a:off x="2313517" y="16625"/>
            <a:ext cx="9036788" cy="1133342"/>
          </a:xfrm>
        </p:spPr>
        <p:txBody>
          <a:bodyPr>
            <a:normAutofit/>
          </a:bodyPr>
          <a:lstStyle/>
          <a:p>
            <a:r>
              <a:rPr lang="fr-FR" sz="3500" b="1" spc="-70">
                <a:solidFill>
                  <a:srgbClr val="005C9B"/>
                </a:solidFill>
                <a:latin typeface="Arial" panose="020B0604020202020204" pitchFamily="34" charset="0"/>
                <a:cs typeface="Arial" panose="020B0604020202020204" pitchFamily="34" charset="0"/>
              </a:rPr>
              <a:t>Accès des professionnels de santé </a:t>
            </a:r>
          </a:p>
        </p:txBody>
      </p:sp>
      <p:sp>
        <p:nvSpPr>
          <p:cNvPr id="4" name="Espace réservé du texte 3">
            <a:extLst>
              <a:ext uri="{FF2B5EF4-FFF2-40B4-BE49-F238E27FC236}">
                <a16:creationId xmlns:a16="http://schemas.microsoft.com/office/drawing/2014/main" id="{DC611B84-A1CD-45CA-B8C7-2AA22BBB046E}"/>
              </a:ext>
            </a:extLst>
          </p:cNvPr>
          <p:cNvSpPr>
            <a:spLocks noGrp="1"/>
          </p:cNvSpPr>
          <p:nvPr>
            <p:ph type="body" sz="quarter" idx="21"/>
          </p:nvPr>
        </p:nvSpPr>
        <p:spPr/>
        <p:txBody>
          <a:bodyPr/>
          <a:lstStyle/>
          <a:p>
            <a:endParaRPr lang="fr-FR"/>
          </a:p>
        </p:txBody>
      </p:sp>
      <p:sp>
        <p:nvSpPr>
          <p:cNvPr id="13" name="Espace réservé du texte 1">
            <a:extLst>
              <a:ext uri="{FF2B5EF4-FFF2-40B4-BE49-F238E27FC236}">
                <a16:creationId xmlns:a16="http://schemas.microsoft.com/office/drawing/2014/main" id="{00DC16F5-29A6-49F3-ADE9-262CC01B93BB}"/>
              </a:ext>
            </a:extLst>
          </p:cNvPr>
          <p:cNvSpPr txBox="1">
            <a:spLocks/>
          </p:cNvSpPr>
          <p:nvPr/>
        </p:nvSpPr>
        <p:spPr>
          <a:xfrm>
            <a:off x="714684" y="1788676"/>
            <a:ext cx="5381316" cy="4728971"/>
          </a:xfrm>
          <a:prstGeom prst="rect">
            <a:avLst/>
          </a:prstGeom>
          <a:ln w="3175">
            <a:noFill/>
          </a:ln>
        </p:spPr>
        <p:txBody>
          <a:bodyPr vert="horz" lIns="91440" tIns="45720" rIns="91440" bIns="45720" rtlCol="0">
            <a:normAutofit/>
          </a:bodyPr>
          <a:lstStyle>
            <a:lvl1pPr marL="0" indent="0" algn="l" defTabSz="914400" rtl="0" eaLnBrk="1" latinLnBrk="0" hangingPunct="1">
              <a:lnSpc>
                <a:spcPct val="110000"/>
              </a:lnSpc>
              <a:spcBef>
                <a:spcPts val="600"/>
              </a:spcBef>
              <a:spcAft>
                <a:spcPts val="0"/>
              </a:spcAft>
              <a:buClr>
                <a:schemeClr val="tx2"/>
              </a:buClr>
              <a:buFont typeface="Symbol" panose="05050102010706020507" pitchFamily="18" charset="2"/>
              <a:buNone/>
              <a:defRPr sz="2000" b="0" kern="1200">
                <a:solidFill>
                  <a:schemeClr val="tx2"/>
                </a:solidFill>
                <a:latin typeface="+mn-lt"/>
                <a:ea typeface="+mn-ea"/>
                <a:cs typeface="+mn-cs"/>
              </a:defRPr>
            </a:lvl1pPr>
            <a:lvl2pPr marL="174625" indent="-174625" algn="l" defTabSz="914400" rtl="0" eaLnBrk="1" latinLnBrk="0" hangingPunct="1">
              <a:lnSpc>
                <a:spcPct val="110000"/>
              </a:lnSpc>
              <a:spcBef>
                <a:spcPts val="600"/>
              </a:spcBef>
              <a:spcAft>
                <a:spcPts val="0"/>
              </a:spcAft>
              <a:buClr>
                <a:schemeClr val="tx2"/>
              </a:buClr>
              <a:buSzPct val="120000"/>
              <a:buFont typeface="Arial" panose="020B0604020202020204" pitchFamily="34" charset="0"/>
              <a:buChar char="•"/>
              <a:defRPr sz="1600" b="1" i="0" kern="1200">
                <a:solidFill>
                  <a:schemeClr val="tx1"/>
                </a:solidFill>
                <a:latin typeface="+mn-lt"/>
                <a:ea typeface="+mn-ea"/>
                <a:cs typeface="+mn-cs"/>
              </a:defRPr>
            </a:lvl2pPr>
            <a:lvl3pPr marL="358775" indent="-184150" algn="l" defTabSz="914400" rtl="0" eaLnBrk="1" latinLnBrk="0" hangingPunct="1">
              <a:lnSpc>
                <a:spcPct val="110000"/>
              </a:lnSpc>
              <a:spcBef>
                <a:spcPts val="300"/>
              </a:spcBef>
              <a:spcAft>
                <a:spcPts val="0"/>
              </a:spcAft>
              <a:buClr>
                <a:schemeClr val="tx2"/>
              </a:buClr>
              <a:buFont typeface="Arial" panose="020B0604020202020204" pitchFamily="34" charset="0"/>
              <a:buChar char="-"/>
              <a:defRPr sz="1600" b="0" kern="1200">
                <a:solidFill>
                  <a:schemeClr val="tx1"/>
                </a:solidFill>
                <a:latin typeface="+mn-lt"/>
                <a:ea typeface="+mn-ea"/>
                <a:cs typeface="+mn-cs"/>
              </a:defRPr>
            </a:lvl3pPr>
            <a:lvl4pPr marL="530225" indent="-171450" algn="l" defTabSz="914400" rtl="0" eaLnBrk="1" latinLnBrk="0" hangingPunct="1">
              <a:lnSpc>
                <a:spcPct val="110000"/>
              </a:lnSpc>
              <a:spcBef>
                <a:spcPts val="0"/>
              </a:spcBef>
              <a:spcAft>
                <a:spcPts val="0"/>
              </a:spcAft>
              <a:buClr>
                <a:schemeClr val="tx2"/>
              </a:buClr>
              <a:buSzPct val="100000"/>
              <a:buFont typeface="Arial" panose="020B0604020202020204" pitchFamily="34" charset="0"/>
              <a:buChar char="•"/>
              <a:defRPr sz="1200" b="0" kern="1200">
                <a:solidFill>
                  <a:schemeClr val="tx1"/>
                </a:solidFill>
                <a:latin typeface="+mn-lt"/>
                <a:ea typeface="+mn-ea"/>
                <a:cs typeface="+mn-cs"/>
              </a:defRPr>
            </a:lvl4pPr>
            <a:lvl5pPr marL="538163" indent="-80963" algn="l" defTabSz="914400" rtl="0" eaLnBrk="1" latinLnBrk="0" hangingPunct="1">
              <a:lnSpc>
                <a:spcPct val="110000"/>
              </a:lnSpc>
              <a:spcBef>
                <a:spcPts val="0"/>
              </a:spcBef>
              <a:spcAft>
                <a:spcPts val="0"/>
              </a:spcAft>
              <a:buFont typeface="Arial" panose="020B0604020202020204" pitchFamily="34" charset="0"/>
              <a:buNone/>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7FAD"/>
              </a:buClr>
            </a:pPr>
            <a:endParaRPr lang="fr-FR" b="1">
              <a:solidFill>
                <a:srgbClr val="007FAD"/>
              </a:solidFill>
              <a:latin typeface="Arial" panose="020B0604020202020204"/>
            </a:endParaRPr>
          </a:p>
        </p:txBody>
      </p:sp>
      <p:sp>
        <p:nvSpPr>
          <p:cNvPr id="14" name="Espace réservé du texte 1">
            <a:extLst>
              <a:ext uri="{FF2B5EF4-FFF2-40B4-BE49-F238E27FC236}">
                <a16:creationId xmlns:a16="http://schemas.microsoft.com/office/drawing/2014/main" id="{3C550C13-4A34-4EEA-B16E-FFAFED9ED4FA}"/>
              </a:ext>
            </a:extLst>
          </p:cNvPr>
          <p:cNvSpPr txBox="1">
            <a:spLocks/>
          </p:cNvSpPr>
          <p:nvPr/>
        </p:nvSpPr>
        <p:spPr>
          <a:xfrm>
            <a:off x="5106315" y="2099301"/>
            <a:ext cx="7067263" cy="2041174"/>
          </a:xfrm>
          <a:prstGeom prst="rect">
            <a:avLst/>
          </a:prstGeom>
          <a:ln w="3175">
            <a:noFill/>
          </a:ln>
        </p:spPr>
        <p:txBody>
          <a:bodyPr vert="horz" lIns="91440" tIns="45720" rIns="91440" bIns="45720" rtlCol="0">
            <a:normAutofit/>
          </a:bodyPr>
          <a:lstStyle>
            <a:lvl1pPr marL="0" indent="0" algn="l" defTabSz="914400" rtl="0" eaLnBrk="1" latinLnBrk="0" hangingPunct="1">
              <a:lnSpc>
                <a:spcPct val="110000"/>
              </a:lnSpc>
              <a:spcBef>
                <a:spcPts val="600"/>
              </a:spcBef>
              <a:spcAft>
                <a:spcPts val="0"/>
              </a:spcAft>
              <a:buClr>
                <a:schemeClr val="tx2"/>
              </a:buClr>
              <a:buFont typeface="Symbol" panose="05050102010706020507" pitchFamily="18" charset="2"/>
              <a:buNone/>
              <a:defRPr sz="2000" b="0" kern="1200">
                <a:solidFill>
                  <a:schemeClr val="tx2"/>
                </a:solidFill>
                <a:latin typeface="+mn-lt"/>
                <a:ea typeface="+mn-ea"/>
                <a:cs typeface="+mn-cs"/>
              </a:defRPr>
            </a:lvl1pPr>
            <a:lvl2pPr marL="174625" indent="-174625" algn="l" defTabSz="914400" rtl="0" eaLnBrk="1" latinLnBrk="0" hangingPunct="1">
              <a:lnSpc>
                <a:spcPct val="110000"/>
              </a:lnSpc>
              <a:spcBef>
                <a:spcPts val="600"/>
              </a:spcBef>
              <a:spcAft>
                <a:spcPts val="0"/>
              </a:spcAft>
              <a:buClr>
                <a:schemeClr val="tx2"/>
              </a:buClr>
              <a:buSzPct val="120000"/>
              <a:buFont typeface="Arial" panose="020B0604020202020204" pitchFamily="34" charset="0"/>
              <a:buChar char="•"/>
              <a:defRPr sz="1600" b="1" i="0" kern="1200">
                <a:solidFill>
                  <a:schemeClr val="tx1"/>
                </a:solidFill>
                <a:latin typeface="+mn-lt"/>
                <a:ea typeface="+mn-ea"/>
                <a:cs typeface="+mn-cs"/>
              </a:defRPr>
            </a:lvl2pPr>
            <a:lvl3pPr marL="358775" indent="-184150" algn="l" defTabSz="914400" rtl="0" eaLnBrk="1" latinLnBrk="0" hangingPunct="1">
              <a:lnSpc>
                <a:spcPct val="110000"/>
              </a:lnSpc>
              <a:spcBef>
                <a:spcPts val="300"/>
              </a:spcBef>
              <a:spcAft>
                <a:spcPts val="0"/>
              </a:spcAft>
              <a:buClr>
                <a:schemeClr val="tx2"/>
              </a:buClr>
              <a:buFont typeface="Arial" panose="020B0604020202020204" pitchFamily="34" charset="0"/>
              <a:buChar char="-"/>
              <a:defRPr sz="1600" b="0" kern="1200">
                <a:solidFill>
                  <a:schemeClr val="tx1"/>
                </a:solidFill>
                <a:latin typeface="+mn-lt"/>
                <a:ea typeface="+mn-ea"/>
                <a:cs typeface="+mn-cs"/>
              </a:defRPr>
            </a:lvl3pPr>
            <a:lvl4pPr marL="530225" indent="-171450" algn="l" defTabSz="914400" rtl="0" eaLnBrk="1" latinLnBrk="0" hangingPunct="1">
              <a:lnSpc>
                <a:spcPct val="110000"/>
              </a:lnSpc>
              <a:spcBef>
                <a:spcPts val="0"/>
              </a:spcBef>
              <a:spcAft>
                <a:spcPts val="0"/>
              </a:spcAft>
              <a:buClr>
                <a:schemeClr val="tx2"/>
              </a:buClr>
              <a:buSzPct val="100000"/>
              <a:buFont typeface="Arial" panose="020B0604020202020204" pitchFamily="34" charset="0"/>
              <a:buChar char="•"/>
              <a:defRPr sz="1200" b="0" kern="1200">
                <a:solidFill>
                  <a:schemeClr val="tx1"/>
                </a:solidFill>
                <a:latin typeface="+mn-lt"/>
                <a:ea typeface="+mn-ea"/>
                <a:cs typeface="+mn-cs"/>
              </a:defRPr>
            </a:lvl4pPr>
            <a:lvl5pPr marL="538163" indent="-80963" algn="l" defTabSz="914400" rtl="0" eaLnBrk="1" latinLnBrk="0" hangingPunct="1">
              <a:lnSpc>
                <a:spcPct val="110000"/>
              </a:lnSpc>
              <a:spcBef>
                <a:spcPts val="0"/>
              </a:spcBef>
              <a:spcAft>
                <a:spcPts val="0"/>
              </a:spcAft>
              <a:buFont typeface="Arial" panose="020B0604020202020204" pitchFamily="34" charset="0"/>
              <a:buNone/>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defTabSz="456687">
              <a:spcBef>
                <a:spcPts val="1800"/>
              </a:spcBef>
              <a:buClr>
                <a:srgbClr val="99CC00"/>
              </a:buClr>
              <a:buSzPct val="100000"/>
              <a:buFont typeface="Arial" panose="020B0604020202020204" pitchFamily="34" charset="0"/>
              <a:buNone/>
              <a:defRPr/>
            </a:pPr>
            <a:r>
              <a:rPr lang="fr-FR" kern="0">
                <a:solidFill>
                  <a:srgbClr val="007FAD"/>
                </a:solidFill>
                <a:latin typeface="Arial"/>
              </a:rPr>
              <a:t>Comment les professionnels de santé au DMP ?</a:t>
            </a:r>
          </a:p>
          <a:p>
            <a:pPr>
              <a:buClr>
                <a:srgbClr val="007FAD"/>
              </a:buClr>
            </a:pPr>
            <a:r>
              <a:rPr lang="fr-FR" sz="1600">
                <a:solidFill>
                  <a:srgbClr val="545859"/>
                </a:solidFill>
                <a:latin typeface="Arial" panose="020B0604020202020204"/>
              </a:rPr>
              <a:t>Via leur logiciel quotidien ou sur le site web du DMP. </a:t>
            </a:r>
          </a:p>
          <a:p>
            <a:pPr>
              <a:buClr>
                <a:srgbClr val="007FAD"/>
              </a:buClr>
            </a:pPr>
            <a:r>
              <a:rPr lang="fr-FR" sz="1600">
                <a:solidFill>
                  <a:srgbClr val="545859"/>
                </a:solidFill>
                <a:latin typeface="Arial" panose="020B0604020202020204"/>
              </a:rPr>
              <a:t>Les professionnels de santé doivent être enregistrés au répertoire des professionnels de santé (RPPS). </a:t>
            </a:r>
          </a:p>
          <a:p>
            <a:pPr>
              <a:buClr>
                <a:srgbClr val="007FAD"/>
              </a:buClr>
            </a:pPr>
            <a:r>
              <a:rPr lang="fr-FR" sz="1600">
                <a:solidFill>
                  <a:srgbClr val="545859"/>
                </a:solidFill>
                <a:latin typeface="Arial" panose="020B0604020202020204"/>
              </a:rPr>
              <a:t>Ils doivent se connecter via </a:t>
            </a:r>
            <a:r>
              <a:rPr lang="fr-FR" sz="1600" err="1">
                <a:solidFill>
                  <a:srgbClr val="545859"/>
                </a:solidFill>
                <a:latin typeface="Arial" panose="020B0604020202020204"/>
              </a:rPr>
              <a:t>ProSanté</a:t>
            </a:r>
            <a:r>
              <a:rPr lang="fr-FR" sz="1600">
                <a:solidFill>
                  <a:srgbClr val="545859"/>
                </a:solidFill>
                <a:latin typeface="Arial" panose="020B0604020202020204"/>
              </a:rPr>
              <a:t> Connect. </a:t>
            </a:r>
          </a:p>
        </p:txBody>
      </p:sp>
      <p:pic>
        <p:nvPicPr>
          <p:cNvPr id="15" name="Image 14">
            <a:extLst>
              <a:ext uri="{FF2B5EF4-FFF2-40B4-BE49-F238E27FC236}">
                <a16:creationId xmlns:a16="http://schemas.microsoft.com/office/drawing/2014/main" id="{9064B01C-2FD3-4E37-A66D-51822E36815D}"/>
              </a:ext>
            </a:extLst>
          </p:cNvPr>
          <p:cNvPicPr>
            <a:picLocks noChangeAspect="1"/>
          </p:cNvPicPr>
          <p:nvPr/>
        </p:nvPicPr>
        <p:blipFill>
          <a:blip r:embed="rId2"/>
          <a:stretch>
            <a:fillRect/>
          </a:stretch>
        </p:blipFill>
        <p:spPr>
          <a:xfrm>
            <a:off x="767408" y="2132051"/>
            <a:ext cx="3069366" cy="1728997"/>
          </a:xfrm>
          <a:prstGeom prst="rect">
            <a:avLst/>
          </a:prstGeom>
          <a:ln>
            <a:solidFill>
              <a:srgbClr val="0C419A"/>
            </a:solidFill>
          </a:ln>
        </p:spPr>
      </p:pic>
      <p:pic>
        <p:nvPicPr>
          <p:cNvPr id="16" name="Image 15">
            <a:extLst>
              <a:ext uri="{FF2B5EF4-FFF2-40B4-BE49-F238E27FC236}">
                <a16:creationId xmlns:a16="http://schemas.microsoft.com/office/drawing/2014/main" id="{16F6B621-D478-4E61-AA4E-4B14BB5549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65534" y="1700808"/>
            <a:ext cx="2634322" cy="676287"/>
          </a:xfrm>
          <a:prstGeom prst="rect">
            <a:avLst/>
          </a:prstGeom>
        </p:spPr>
      </p:pic>
      <p:pic>
        <p:nvPicPr>
          <p:cNvPr id="17" name="Image 16">
            <a:extLst>
              <a:ext uri="{FF2B5EF4-FFF2-40B4-BE49-F238E27FC236}">
                <a16:creationId xmlns:a16="http://schemas.microsoft.com/office/drawing/2014/main" id="{E4E6E416-610D-4157-BAAA-7D511BCF3DAF}"/>
              </a:ext>
            </a:extLst>
          </p:cNvPr>
          <p:cNvPicPr>
            <a:picLocks noChangeAspect="1"/>
          </p:cNvPicPr>
          <p:nvPr/>
        </p:nvPicPr>
        <p:blipFill>
          <a:blip r:embed="rId4"/>
          <a:stretch>
            <a:fillRect/>
          </a:stretch>
        </p:blipFill>
        <p:spPr>
          <a:xfrm>
            <a:off x="7461548" y="4070258"/>
            <a:ext cx="4405571" cy="2599102"/>
          </a:xfrm>
          <a:prstGeom prst="rect">
            <a:avLst/>
          </a:prstGeom>
        </p:spPr>
      </p:pic>
      <p:sp>
        <p:nvSpPr>
          <p:cNvPr id="18" name="Espace réservé du texte 9">
            <a:extLst>
              <a:ext uri="{FF2B5EF4-FFF2-40B4-BE49-F238E27FC236}">
                <a16:creationId xmlns:a16="http://schemas.microsoft.com/office/drawing/2014/main" id="{5E530D68-B7E7-419F-BAE5-0DFB1B6F2BD6}"/>
              </a:ext>
            </a:extLst>
          </p:cNvPr>
          <p:cNvSpPr txBox="1">
            <a:spLocks/>
          </p:cNvSpPr>
          <p:nvPr/>
        </p:nvSpPr>
        <p:spPr>
          <a:xfrm>
            <a:off x="212000" y="4063283"/>
            <a:ext cx="7249548" cy="2089172"/>
          </a:xfrm>
          <a:prstGeom prst="rect">
            <a:avLst/>
          </a:prstGeom>
          <a:ln w="3175">
            <a:noFill/>
          </a:ln>
        </p:spPr>
        <p:txBody>
          <a:bodyPr vert="horz" lIns="91440" tIns="45720" rIns="91440" bIns="45720" rtlCol="0" anchor="t">
            <a:normAutofit lnSpcReduction="10000"/>
          </a:bodyPr>
          <a:lstStyle>
            <a:lvl1pPr marL="0" indent="0" algn="l" defTabSz="914400" rtl="0" eaLnBrk="1" latinLnBrk="0" hangingPunct="1">
              <a:lnSpc>
                <a:spcPct val="110000"/>
              </a:lnSpc>
              <a:spcBef>
                <a:spcPts val="600"/>
              </a:spcBef>
              <a:spcAft>
                <a:spcPts val="0"/>
              </a:spcAft>
              <a:buClr>
                <a:schemeClr val="tx2"/>
              </a:buClr>
              <a:buFont typeface="Symbol" panose="05050102010706020507" pitchFamily="18" charset="2"/>
              <a:buNone/>
              <a:defRPr sz="2000" b="0" kern="1200">
                <a:solidFill>
                  <a:schemeClr val="tx2"/>
                </a:solidFill>
                <a:latin typeface="+mn-lt"/>
                <a:ea typeface="+mn-ea"/>
                <a:cs typeface="+mn-cs"/>
              </a:defRPr>
            </a:lvl1pPr>
            <a:lvl2pPr marL="174625" indent="-174625" algn="l" defTabSz="914400" rtl="0" eaLnBrk="1" latinLnBrk="0" hangingPunct="1">
              <a:lnSpc>
                <a:spcPct val="110000"/>
              </a:lnSpc>
              <a:spcBef>
                <a:spcPts val="600"/>
              </a:spcBef>
              <a:spcAft>
                <a:spcPts val="0"/>
              </a:spcAft>
              <a:buClr>
                <a:schemeClr val="tx2"/>
              </a:buClr>
              <a:buSzPct val="120000"/>
              <a:buFont typeface="Arial" panose="020B0604020202020204" pitchFamily="34" charset="0"/>
              <a:buChar char="•"/>
              <a:defRPr sz="1600" b="1" i="0" kern="1200">
                <a:solidFill>
                  <a:schemeClr val="tx1"/>
                </a:solidFill>
                <a:latin typeface="+mn-lt"/>
                <a:ea typeface="+mn-ea"/>
                <a:cs typeface="+mn-cs"/>
              </a:defRPr>
            </a:lvl2pPr>
            <a:lvl3pPr marL="358775" indent="-184150" algn="l" defTabSz="914400" rtl="0" eaLnBrk="1" latinLnBrk="0" hangingPunct="1">
              <a:lnSpc>
                <a:spcPct val="110000"/>
              </a:lnSpc>
              <a:spcBef>
                <a:spcPts val="300"/>
              </a:spcBef>
              <a:spcAft>
                <a:spcPts val="0"/>
              </a:spcAft>
              <a:buClr>
                <a:schemeClr val="tx2"/>
              </a:buClr>
              <a:buFont typeface="Arial" panose="020B0604020202020204" pitchFamily="34" charset="0"/>
              <a:buChar char="-"/>
              <a:defRPr sz="1600" b="0" kern="1200">
                <a:solidFill>
                  <a:schemeClr val="tx1"/>
                </a:solidFill>
                <a:latin typeface="+mn-lt"/>
                <a:ea typeface="+mn-ea"/>
                <a:cs typeface="+mn-cs"/>
              </a:defRPr>
            </a:lvl3pPr>
            <a:lvl4pPr marL="530225" indent="-171450" algn="l" defTabSz="914400" rtl="0" eaLnBrk="1" latinLnBrk="0" hangingPunct="1">
              <a:lnSpc>
                <a:spcPct val="110000"/>
              </a:lnSpc>
              <a:spcBef>
                <a:spcPts val="0"/>
              </a:spcBef>
              <a:spcAft>
                <a:spcPts val="0"/>
              </a:spcAft>
              <a:buClr>
                <a:schemeClr val="tx2"/>
              </a:buClr>
              <a:buSzPct val="100000"/>
              <a:buFont typeface="Arial" panose="020B0604020202020204" pitchFamily="34" charset="0"/>
              <a:buChar char="•"/>
              <a:defRPr sz="1200" b="0" kern="1200">
                <a:solidFill>
                  <a:schemeClr val="tx1"/>
                </a:solidFill>
                <a:latin typeface="+mn-lt"/>
                <a:ea typeface="+mn-ea"/>
                <a:cs typeface="+mn-cs"/>
              </a:defRPr>
            </a:lvl4pPr>
            <a:lvl5pPr marL="538163" indent="-80963" algn="l" defTabSz="914400" rtl="0" eaLnBrk="1" latinLnBrk="0" hangingPunct="1">
              <a:lnSpc>
                <a:spcPct val="110000"/>
              </a:lnSpc>
              <a:spcBef>
                <a:spcPts val="0"/>
              </a:spcBef>
              <a:spcAft>
                <a:spcPts val="0"/>
              </a:spcAft>
              <a:buFont typeface="Arial" panose="020B0604020202020204" pitchFamily="34" charset="0"/>
              <a:buNone/>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defTabSz="456687">
              <a:spcBef>
                <a:spcPts val="1800"/>
              </a:spcBef>
              <a:buClr>
                <a:srgbClr val="99CC00"/>
              </a:buClr>
              <a:buSzPct val="100000"/>
              <a:buNone/>
              <a:defRPr/>
            </a:pPr>
            <a:r>
              <a:rPr kumimoji="0" lang="fr-FR" sz="1600" b="1" i="0" u="none" strike="noStrike" kern="0" cap="none" spc="0" normalizeH="0" baseline="0" noProof="0" dirty="0">
                <a:ln>
                  <a:noFill/>
                </a:ln>
                <a:solidFill>
                  <a:srgbClr val="007FAD"/>
                </a:solidFill>
                <a:effectLst/>
                <a:uLnTx/>
                <a:uFillTx/>
                <a:latin typeface="Arial"/>
                <a:ea typeface="+mn-ea"/>
                <a:cs typeface="+mn-cs"/>
              </a:rPr>
              <a:t>Qui peut accéder à quoi ?</a:t>
            </a:r>
            <a:r>
              <a:rPr lang="fr-FR" kern="0" dirty="0">
                <a:solidFill>
                  <a:srgbClr val="007FAD"/>
                </a:solidFill>
                <a:latin typeface="Arial"/>
              </a:rPr>
              <a:t> </a:t>
            </a:r>
            <a:endParaRPr kumimoji="0" lang="fr-FR" sz="1600" b="1" i="0" u="none" strike="noStrike" kern="0" cap="none" spc="0" normalizeH="0" baseline="0" noProof="0" dirty="0">
              <a:ln>
                <a:noFill/>
              </a:ln>
              <a:solidFill>
                <a:srgbClr val="007FAD"/>
              </a:solidFill>
              <a:effectLst/>
              <a:uLnTx/>
              <a:uFillTx/>
              <a:latin typeface="Arial"/>
              <a:ea typeface="+mn-ea"/>
              <a:cs typeface="+mn-cs"/>
            </a:endParaRPr>
          </a:p>
          <a:p>
            <a:pPr marL="171450" marR="0" lvl="0" indent="-171450" algn="l" defTabSz="914400" rtl="0" eaLnBrk="1" fontAlgn="auto" latinLnBrk="0" hangingPunct="1">
              <a:lnSpc>
                <a:spcPct val="110000"/>
              </a:lnSpc>
              <a:spcBef>
                <a:spcPts val="600"/>
              </a:spcBef>
              <a:spcAft>
                <a:spcPts val="0"/>
              </a:spcAft>
              <a:buClr>
                <a:srgbClr val="007FAD"/>
              </a:buClr>
              <a:buSzTx/>
              <a:buFontTx/>
              <a:buChar char="-"/>
              <a:tabLst/>
              <a:defRPr/>
            </a:pPr>
            <a:r>
              <a:rPr kumimoji="0" lang="fr-FR" sz="1600" b="0" i="0" u="none" strike="noStrike" kern="1200" cap="none" spc="0" normalizeH="0" baseline="0" noProof="0" dirty="0">
                <a:ln>
                  <a:noFill/>
                </a:ln>
                <a:solidFill>
                  <a:srgbClr val="545859"/>
                </a:solidFill>
                <a:effectLst/>
                <a:uLnTx/>
                <a:uFillTx/>
                <a:latin typeface="Arial" panose="020B0604020202020204"/>
                <a:ea typeface="+mn-ea"/>
                <a:cs typeface="+mn-cs"/>
              </a:rPr>
              <a:t>Une matrice définit </a:t>
            </a:r>
            <a:r>
              <a:rPr lang="fr-FR" sz="1600" dirty="0">
                <a:solidFill>
                  <a:srgbClr val="545859"/>
                </a:solidFill>
                <a:latin typeface="Arial" panose="020B0604020202020204"/>
              </a:rPr>
              <a:t>quelle</a:t>
            </a:r>
            <a:r>
              <a:rPr kumimoji="0" lang="fr-FR" sz="1600" b="0" i="0" u="none" strike="noStrike" kern="1200" cap="none" spc="0" normalizeH="0" baseline="0" noProof="0" dirty="0">
                <a:ln>
                  <a:noFill/>
                </a:ln>
                <a:solidFill>
                  <a:srgbClr val="545859"/>
                </a:solidFill>
                <a:effectLst/>
                <a:uLnTx/>
                <a:uFillTx/>
                <a:latin typeface="Arial" panose="020B0604020202020204"/>
                <a:ea typeface="+mn-ea"/>
                <a:cs typeface="+mn-cs"/>
              </a:rPr>
              <a:t> profession peut accéder à quel document de santé.</a:t>
            </a:r>
            <a:endParaRPr lang="fr-FR" sz="1600" b="0" i="0" u="none" strike="noStrike" kern="1200" cap="none" spc="0" normalizeH="0" baseline="0" noProof="0" dirty="0">
              <a:ln>
                <a:noFill/>
              </a:ln>
              <a:solidFill>
                <a:srgbClr val="545859"/>
              </a:solidFill>
              <a:effectLst/>
              <a:uLnTx/>
              <a:uFillTx/>
              <a:latin typeface="Arial" panose="020B0604020202020204"/>
              <a:cs typeface="Arial"/>
            </a:endParaRPr>
          </a:p>
          <a:p>
            <a:pPr marL="171450" marR="0" lvl="0" indent="-171450" algn="l" defTabSz="914400" rtl="0" eaLnBrk="1" fontAlgn="auto" latinLnBrk="0" hangingPunct="1">
              <a:lnSpc>
                <a:spcPct val="110000"/>
              </a:lnSpc>
              <a:spcBef>
                <a:spcPts val="600"/>
              </a:spcBef>
              <a:spcAft>
                <a:spcPts val="0"/>
              </a:spcAft>
              <a:buClr>
                <a:srgbClr val="007FAD"/>
              </a:buClr>
              <a:buSzTx/>
              <a:buFontTx/>
              <a:buChar char="-"/>
              <a:tabLst/>
              <a:defRPr/>
            </a:pPr>
            <a:r>
              <a:rPr kumimoji="0" lang="fr-FR" sz="1600" b="0" i="0" u="none" strike="noStrike" kern="1200" cap="none" spc="0" normalizeH="0" baseline="0" noProof="0" dirty="0">
                <a:ln>
                  <a:noFill/>
                </a:ln>
                <a:solidFill>
                  <a:srgbClr val="545859"/>
                </a:solidFill>
                <a:effectLst/>
                <a:uLnTx/>
                <a:uFillTx/>
                <a:latin typeface="Arial" panose="020B0604020202020204"/>
                <a:ea typeface="+mn-ea"/>
                <a:cs typeface="+mn-cs"/>
              </a:rPr>
              <a:t>Tout accès en dehors des règles précitées est passible d’une peine d’emprisonnement et d’une amende, conformément au droit pénal.</a:t>
            </a:r>
            <a:endParaRPr lang="fr-FR" sz="1600" b="0" i="0" u="none" strike="noStrike" kern="1200" cap="none" spc="0" normalizeH="0" baseline="0" noProof="0" dirty="0">
              <a:ln>
                <a:noFill/>
              </a:ln>
              <a:solidFill>
                <a:srgbClr val="545859"/>
              </a:solidFill>
              <a:effectLst/>
              <a:uLnTx/>
              <a:uFillTx/>
              <a:latin typeface="Arial" panose="020B0604020202020204"/>
              <a:cs typeface="Arial" panose="020B0604020202020204"/>
            </a:endParaRPr>
          </a:p>
          <a:p>
            <a:pPr marL="171450" indent="-171450">
              <a:buClr>
                <a:srgbClr val="007FAD"/>
              </a:buClr>
              <a:buFontTx/>
              <a:buChar char="-"/>
              <a:defRPr/>
            </a:pPr>
            <a:r>
              <a:rPr kumimoji="0" lang="fr-FR" sz="1600" b="0" i="0" u="none" strike="noStrike" kern="1200" cap="none" spc="0" normalizeH="0" baseline="0" noProof="0" dirty="0">
                <a:ln>
                  <a:noFill/>
                </a:ln>
                <a:solidFill>
                  <a:srgbClr val="545859"/>
                </a:solidFill>
                <a:effectLst/>
                <a:uLnTx/>
                <a:uFillTx/>
                <a:latin typeface="Arial" panose="020B0604020202020204"/>
                <a:ea typeface="+mn-ea"/>
                <a:cs typeface="+mn-cs"/>
              </a:rPr>
              <a:t>L’ensemble des accès et actions sur un DMP sont tracées. Ces traces sont consultables et utilisables à tout moment par le titulaire du DMP.</a:t>
            </a:r>
            <a:r>
              <a:rPr lang="fr-FR" sz="1600" dirty="0">
                <a:solidFill>
                  <a:srgbClr val="545859"/>
                </a:solidFill>
                <a:latin typeface="Arial" panose="020B0604020202020204"/>
              </a:rPr>
              <a:t> </a:t>
            </a:r>
            <a:endParaRPr lang="fr-FR" sz="1600" b="0" i="0" u="none" strike="noStrike" kern="1200" cap="none" spc="0" normalizeH="0" baseline="0" noProof="0" dirty="0">
              <a:ln>
                <a:noFill/>
              </a:ln>
              <a:solidFill>
                <a:srgbClr val="545859"/>
              </a:solidFill>
              <a:effectLst/>
              <a:uLnTx/>
              <a:uFillTx/>
              <a:latin typeface="Arial" panose="020B0604020202020204"/>
              <a:cs typeface="Arial" panose="020B0604020202020204"/>
            </a:endParaRPr>
          </a:p>
        </p:txBody>
      </p:sp>
      <p:sp>
        <p:nvSpPr>
          <p:cNvPr id="2" name="ZoneTexte 1">
            <a:extLst>
              <a:ext uri="{FF2B5EF4-FFF2-40B4-BE49-F238E27FC236}">
                <a16:creationId xmlns:a16="http://schemas.microsoft.com/office/drawing/2014/main" id="{18DDB4BC-8020-0364-E954-5EF353191C37}"/>
              </a:ext>
            </a:extLst>
          </p:cNvPr>
          <p:cNvSpPr txBox="1"/>
          <p:nvPr/>
        </p:nvSpPr>
        <p:spPr>
          <a:xfrm>
            <a:off x="1524095" y="6041575"/>
            <a:ext cx="6772265" cy="369332"/>
          </a:xfrm>
          <a:prstGeom prst="rect">
            <a:avLst/>
          </a:prstGeom>
          <a:noFill/>
        </p:spPr>
        <p:txBody>
          <a:bodyPr wrap="square" rtlCol="0">
            <a:spAutoFit/>
          </a:bodyPr>
          <a:lstStyle/>
          <a:p>
            <a:r>
              <a:rPr lang="fr-FR" dirty="0">
                <a:hlinkClick r:id="rId5"/>
              </a:rPr>
              <a:t>Matrice d'habilitations des PS pour le DMP (monespacesante.fr)</a:t>
            </a:r>
            <a:endParaRPr lang="fr-FR" dirty="0"/>
          </a:p>
        </p:txBody>
      </p:sp>
    </p:spTree>
    <p:extLst>
      <p:ext uri="{BB962C8B-B14F-4D97-AF65-F5344CB8AC3E}">
        <p14:creationId xmlns:p14="http://schemas.microsoft.com/office/powerpoint/2010/main" val="4093539229"/>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B79ECBF-B4B6-48C9-AFD9-91D6D2A2747E}"/>
              </a:ext>
            </a:extLst>
          </p:cNvPr>
          <p:cNvSpPr>
            <a:spLocks noGrp="1"/>
          </p:cNvSpPr>
          <p:nvPr>
            <p:ph type="title"/>
          </p:nvPr>
        </p:nvSpPr>
        <p:spPr>
          <a:xfrm>
            <a:off x="2313517" y="16625"/>
            <a:ext cx="9322013" cy="1133342"/>
          </a:xfrm>
        </p:spPr>
        <p:txBody>
          <a:bodyPr>
            <a:normAutofit/>
          </a:bodyPr>
          <a:lstStyle/>
          <a:p>
            <a:r>
              <a:rPr lang="fr-FR" sz="3500" b="1" spc="-70">
                <a:solidFill>
                  <a:srgbClr val="005C9B"/>
                </a:solidFill>
                <a:latin typeface="Arial" panose="020B0604020202020204" pitchFamily="34" charset="0"/>
                <a:cs typeface="Arial" panose="020B0604020202020204" pitchFamily="34" charset="0"/>
              </a:rPr>
              <a:t>Droits d’accès des professionnels de santé </a:t>
            </a:r>
          </a:p>
        </p:txBody>
      </p:sp>
      <p:sp>
        <p:nvSpPr>
          <p:cNvPr id="5" name="ZoneTexte 16">
            <a:extLst>
              <a:ext uri="{FF2B5EF4-FFF2-40B4-BE49-F238E27FC236}">
                <a16:creationId xmlns:a16="http://schemas.microsoft.com/office/drawing/2014/main" id="{F2D1F606-3C17-4A0B-B95E-115735D3AC1B}"/>
              </a:ext>
            </a:extLst>
          </p:cNvPr>
          <p:cNvSpPr txBox="1">
            <a:spLocks noChangeArrowheads="1"/>
          </p:cNvSpPr>
          <p:nvPr/>
        </p:nvSpPr>
        <p:spPr bwMode="auto">
          <a:xfrm>
            <a:off x="1720977" y="1752719"/>
            <a:ext cx="4176464" cy="36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8" tIns="45715" rIns="91428" bIns="45715">
            <a:spAutoFit/>
          </a:bodyPr>
          <a:lstStyle>
            <a:lvl1pPr algn="l">
              <a:spcBef>
                <a:spcPct val="20000"/>
              </a:spcBef>
              <a:buClr>
                <a:schemeClr val="folHlink"/>
              </a:buClr>
              <a:buFont typeface="Wingdings" pitchFamily="2" charset="2"/>
              <a:buChar char="è"/>
              <a:defRPr sz="2400" b="1">
                <a:solidFill>
                  <a:srgbClr val="0C419A"/>
                </a:solidFill>
                <a:latin typeface="Arial" charset="0"/>
              </a:defRPr>
            </a:lvl1pPr>
            <a:lvl2pPr marL="742950" indent="-285750" algn="l">
              <a:spcBef>
                <a:spcPct val="20000"/>
              </a:spcBef>
              <a:buSzPct val="80000"/>
              <a:buFont typeface="Wingdings" pitchFamily="2" charset="2"/>
              <a:buChar char="l"/>
              <a:defRPr sz="2000">
                <a:solidFill>
                  <a:srgbClr val="0C419A"/>
                </a:solidFill>
                <a:latin typeface="Arial" charset="0"/>
              </a:defRPr>
            </a:lvl2pPr>
            <a:lvl3pPr marL="1143000" indent="-228600" algn="l">
              <a:spcBef>
                <a:spcPct val="20000"/>
              </a:spcBef>
              <a:buClr>
                <a:schemeClr val="folHlink"/>
              </a:buClr>
              <a:buFont typeface="Wingdings" pitchFamily="2" charset="2"/>
              <a:buChar char="ü"/>
              <a:defRPr>
                <a:solidFill>
                  <a:srgbClr val="0C419A"/>
                </a:solidFill>
                <a:latin typeface="Arial" charset="0"/>
              </a:defRPr>
            </a:lvl3pPr>
            <a:lvl4pPr marL="1600200" indent="-228600" algn="l">
              <a:spcBef>
                <a:spcPct val="20000"/>
              </a:spcBef>
              <a:buChar char="_"/>
              <a:defRPr sz="2300">
                <a:solidFill>
                  <a:srgbClr val="0C419A"/>
                </a:solidFill>
                <a:latin typeface="Arial" charset="0"/>
              </a:defRPr>
            </a:lvl4pPr>
            <a:lvl5pPr marL="2057400" indent="-228600" algn="l">
              <a:spcBef>
                <a:spcPct val="20000"/>
              </a:spcBef>
              <a:buChar char="_"/>
              <a:defRPr sz="2300">
                <a:solidFill>
                  <a:srgbClr val="0C419A"/>
                </a:solidFill>
                <a:latin typeface="Arial" charset="0"/>
              </a:defRPr>
            </a:lvl5pPr>
            <a:lvl6pPr marL="2514600" indent="-228600" eaLnBrk="0" fontAlgn="base" hangingPunct="0">
              <a:spcBef>
                <a:spcPct val="20000"/>
              </a:spcBef>
              <a:spcAft>
                <a:spcPct val="0"/>
              </a:spcAft>
              <a:buChar char="_"/>
              <a:defRPr sz="2300">
                <a:solidFill>
                  <a:srgbClr val="0C419A"/>
                </a:solidFill>
                <a:latin typeface="Arial" charset="0"/>
              </a:defRPr>
            </a:lvl6pPr>
            <a:lvl7pPr marL="2971800" indent="-228600" eaLnBrk="0" fontAlgn="base" hangingPunct="0">
              <a:spcBef>
                <a:spcPct val="20000"/>
              </a:spcBef>
              <a:spcAft>
                <a:spcPct val="0"/>
              </a:spcAft>
              <a:buChar char="_"/>
              <a:defRPr sz="2300">
                <a:solidFill>
                  <a:srgbClr val="0C419A"/>
                </a:solidFill>
                <a:latin typeface="Arial" charset="0"/>
              </a:defRPr>
            </a:lvl7pPr>
            <a:lvl8pPr marL="3429000" indent="-228600" eaLnBrk="0" fontAlgn="base" hangingPunct="0">
              <a:spcBef>
                <a:spcPct val="20000"/>
              </a:spcBef>
              <a:spcAft>
                <a:spcPct val="0"/>
              </a:spcAft>
              <a:buChar char="_"/>
              <a:defRPr sz="2300">
                <a:solidFill>
                  <a:srgbClr val="0C419A"/>
                </a:solidFill>
                <a:latin typeface="Arial" charset="0"/>
              </a:defRPr>
            </a:lvl8pPr>
            <a:lvl9pPr marL="3886200" indent="-228600" eaLnBrk="0" fontAlgn="base" hangingPunct="0">
              <a:spcBef>
                <a:spcPct val="20000"/>
              </a:spcBef>
              <a:spcAft>
                <a:spcPct val="0"/>
              </a:spcAft>
              <a:buChar char="_"/>
              <a:defRPr sz="2300">
                <a:solidFill>
                  <a:srgbClr val="0C419A"/>
                </a:solidFill>
                <a:latin typeface="Arial" charset="0"/>
              </a:defRPr>
            </a:lvl9pPr>
          </a:lstStyle>
          <a:p>
            <a:pPr marL="0" marR="0" lvl="0" indent="0" algn="ctr" defTabSz="914400" rtl="0" eaLnBrk="1" fontAlgn="auto" latinLnBrk="0" hangingPunct="1">
              <a:lnSpc>
                <a:spcPct val="100000"/>
              </a:lnSpc>
              <a:spcBef>
                <a:spcPct val="0"/>
              </a:spcBef>
              <a:spcAft>
                <a:spcPts val="0"/>
              </a:spcAft>
              <a:buClrTx/>
              <a:buSzTx/>
              <a:buFont typeface="Wingdings" pitchFamily="2" charset="2"/>
              <a:buNone/>
              <a:tabLst/>
              <a:defRPr/>
            </a:pPr>
            <a:r>
              <a:rPr kumimoji="0" lang="fr-FR" altLang="fr-FR" sz="1800" b="0" i="0" u="none" strike="noStrike" kern="1200" cap="none" spc="0" normalizeH="0" baseline="0" noProof="0">
                <a:ln>
                  <a:noFill/>
                </a:ln>
                <a:solidFill>
                  <a:srgbClr val="007FAD"/>
                </a:solidFill>
                <a:effectLst/>
                <a:uLnTx/>
                <a:uFillTx/>
                <a:latin typeface="Calibri" pitchFamily="34" charset="0"/>
                <a:ea typeface="MS PGothic" pitchFamily="34" charset="-128"/>
                <a:cs typeface="+mn-cs"/>
              </a:rPr>
              <a:t>  Un professionnel de santé autorisé peut</a:t>
            </a:r>
          </a:p>
        </p:txBody>
      </p:sp>
      <p:sp>
        <p:nvSpPr>
          <p:cNvPr id="6" name="ZoneTexte 5">
            <a:extLst>
              <a:ext uri="{FF2B5EF4-FFF2-40B4-BE49-F238E27FC236}">
                <a16:creationId xmlns:a16="http://schemas.microsoft.com/office/drawing/2014/main" id="{BE7AEE56-78C4-4E2E-95AD-76A779BC82D3}"/>
              </a:ext>
            </a:extLst>
          </p:cNvPr>
          <p:cNvSpPr txBox="1"/>
          <p:nvPr/>
        </p:nvSpPr>
        <p:spPr>
          <a:xfrm>
            <a:off x="1432945" y="2332155"/>
            <a:ext cx="4680000" cy="3231644"/>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wrap="square" lIns="91428" tIns="45715" rIns="91428" bIns="45715">
            <a:spAutoFit/>
          </a:bodyPr>
          <a:lstStyle/>
          <a:p>
            <a:pPr marL="361905" marR="0" lvl="0" indent="-361905"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fr-FR" altLang="fr-FR" sz="1200" b="1" i="0" u="none" strike="noStrike" kern="0" cap="none" spc="0" normalizeH="0" baseline="0" noProof="0">
                <a:ln>
                  <a:noFill/>
                </a:ln>
                <a:solidFill>
                  <a:srgbClr val="5E5E5E"/>
                </a:solidFill>
                <a:effectLst/>
                <a:uLnTx/>
                <a:uFillTx/>
                <a:latin typeface="Helvetica Neue"/>
                <a:ea typeface="+mn-ea"/>
                <a:cs typeface="Arial" pitchFamily="34" charset="0"/>
              </a:rPr>
              <a:t>Consulter les documents contenus dans Mon espace santé </a:t>
            </a:r>
            <a:r>
              <a:rPr kumimoji="0" lang="fr-FR" altLang="fr-FR" sz="1200" b="0" i="0" u="none" strike="noStrike" kern="0" cap="none" spc="0" normalizeH="0" baseline="0" noProof="0">
                <a:ln>
                  <a:noFill/>
                </a:ln>
                <a:solidFill>
                  <a:srgbClr val="5E5E5E"/>
                </a:solidFill>
                <a:effectLst/>
                <a:uLnTx/>
                <a:uFillTx/>
                <a:latin typeface="Helvetica Neue"/>
                <a:ea typeface="+mn-ea"/>
                <a:cs typeface="Arial" pitchFamily="34" charset="0"/>
              </a:rPr>
              <a:t>(selon </a:t>
            </a:r>
            <a:r>
              <a:rPr kumimoji="0" lang="fr-FR" altLang="fr-FR" sz="1200" b="0" i="0" u="none" strike="noStrike" kern="0" cap="none" spc="0" normalizeH="0" baseline="0" noProof="0">
                <a:ln>
                  <a:noFill/>
                </a:ln>
                <a:solidFill>
                  <a:srgbClr val="5E5E5E"/>
                </a:solidFill>
                <a:effectLst/>
                <a:uLnTx/>
                <a:uFillTx/>
                <a:latin typeface="Helvetica Neue"/>
                <a:ea typeface="+mn-ea"/>
                <a:cs typeface="Arial" pitchFamily="34" charset="0"/>
                <a:hlinkClick r:id="rId2">
                  <a:extLst>
                    <a:ext uri="{A12FA001-AC4F-418D-AE19-62706E023703}">
                      <ahyp:hlinkClr xmlns:ahyp="http://schemas.microsoft.com/office/drawing/2018/hyperlinkcolor" val="tx"/>
                    </a:ext>
                  </a:extLst>
                </a:hlinkClick>
              </a:rPr>
              <a:t>matrice d’habilitation</a:t>
            </a:r>
            <a:r>
              <a:rPr kumimoji="0" lang="fr-FR" altLang="fr-FR" sz="1200" b="0" i="0" u="none" strike="noStrike" kern="0" cap="none" spc="0" normalizeH="0" baseline="0" noProof="0">
                <a:ln>
                  <a:noFill/>
                </a:ln>
                <a:solidFill>
                  <a:srgbClr val="5E5E5E"/>
                </a:solidFill>
                <a:effectLst/>
                <a:uLnTx/>
                <a:uFillTx/>
                <a:latin typeface="Helvetica Neue"/>
                <a:ea typeface="+mn-ea"/>
                <a:cs typeface="Arial" pitchFamily="34" charset="0"/>
              </a:rPr>
              <a:t>)</a:t>
            </a:r>
          </a:p>
          <a:p>
            <a:pPr marL="361905" marR="0" lvl="0" indent="-361905"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fr-FR" altLang="fr-FR" sz="1200" b="1" i="0" u="none" strike="noStrike" kern="0" cap="none" spc="0" normalizeH="0" baseline="0" noProof="0">
                <a:ln>
                  <a:noFill/>
                </a:ln>
                <a:solidFill>
                  <a:srgbClr val="5E5E5E"/>
                </a:solidFill>
                <a:effectLst/>
                <a:uLnTx/>
                <a:uFillTx/>
                <a:latin typeface="Helvetica Neue"/>
                <a:ea typeface="+mn-ea"/>
                <a:cs typeface="Arial" pitchFamily="34" charset="0"/>
              </a:rPr>
              <a:t>Déposer les documents et informations utiles </a:t>
            </a:r>
            <a:r>
              <a:rPr kumimoji="0" lang="fr-FR" altLang="fr-FR" sz="1200" b="0" i="0" u="none" strike="noStrike" kern="0" cap="none" spc="0" normalizeH="0" baseline="0" noProof="0">
                <a:ln>
                  <a:noFill/>
                </a:ln>
                <a:solidFill>
                  <a:srgbClr val="5E5E5E"/>
                </a:solidFill>
                <a:effectLst/>
                <a:uLnTx/>
                <a:uFillTx/>
                <a:latin typeface="Helvetica Neue"/>
                <a:ea typeface="+mn-ea"/>
                <a:cs typeface="Arial" pitchFamily="34" charset="0"/>
              </a:rPr>
              <a:t>à sa prise en charge coordonnée</a:t>
            </a:r>
          </a:p>
          <a:p>
            <a:pPr marL="361905" marR="0" lvl="0" indent="-361905"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fr-FR" altLang="fr-FR" sz="1200" b="1" i="0" u="none" strike="noStrike" kern="0" cap="none" spc="0" normalizeH="0" baseline="0" noProof="0">
                <a:ln>
                  <a:noFill/>
                </a:ln>
                <a:solidFill>
                  <a:srgbClr val="5E5E5E"/>
                </a:solidFill>
                <a:effectLst/>
                <a:uLnTx/>
                <a:uFillTx/>
                <a:latin typeface="Helvetica Neue"/>
                <a:ea typeface="+mn-ea"/>
                <a:cs typeface="Arial" pitchFamily="34" charset="0"/>
              </a:rPr>
              <a:t>Supprimer un document </a:t>
            </a:r>
            <a:r>
              <a:rPr kumimoji="0" lang="fr-FR" altLang="fr-FR" sz="1200" b="0" i="0" u="none" strike="noStrike" kern="0" cap="none" spc="0" normalizeH="0" baseline="0" noProof="0">
                <a:ln>
                  <a:noFill/>
                </a:ln>
                <a:solidFill>
                  <a:srgbClr val="5E5E5E"/>
                </a:solidFill>
                <a:effectLst/>
                <a:uLnTx/>
                <a:uFillTx/>
                <a:latin typeface="Helvetica Neue"/>
                <a:ea typeface="+mn-ea"/>
                <a:cs typeface="Arial" pitchFamily="34" charset="0"/>
              </a:rPr>
              <a:t>dont il est l'auteur</a:t>
            </a:r>
          </a:p>
          <a:p>
            <a:pPr marL="361905" marR="0" lvl="0" indent="-361905"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fr-FR" altLang="fr-FR" sz="1200" b="1" i="0" u="none" strike="noStrike" kern="0" cap="none" spc="0" normalizeH="0" baseline="0" noProof="0">
                <a:ln>
                  <a:noFill/>
                </a:ln>
                <a:solidFill>
                  <a:srgbClr val="5E5E5E"/>
                </a:solidFill>
                <a:effectLst/>
                <a:uLnTx/>
                <a:uFillTx/>
                <a:latin typeface="Helvetica Neue"/>
                <a:ea typeface="+mn-ea"/>
                <a:cs typeface="Arial" pitchFamily="34" charset="0"/>
              </a:rPr>
              <a:t>Masquer un document  à la demande du patient, </a:t>
            </a:r>
            <a:r>
              <a:rPr kumimoji="0" lang="fr-FR" altLang="fr-FR" sz="1200" b="0" i="0" u="none" strike="noStrike" kern="0" cap="none" spc="0" normalizeH="0" baseline="0" noProof="0">
                <a:ln>
                  <a:noFill/>
                </a:ln>
                <a:solidFill>
                  <a:srgbClr val="5E5E5E"/>
                </a:solidFill>
                <a:effectLst/>
                <a:uLnTx/>
                <a:uFillTx/>
                <a:latin typeface="Helvetica Neue"/>
                <a:ea typeface="+mn-ea"/>
                <a:cs typeface="Arial" pitchFamily="34" charset="0"/>
              </a:rPr>
              <a:t>dont il est l'auteur</a:t>
            </a:r>
          </a:p>
          <a:p>
            <a:pPr marL="361905" marR="0" lvl="0" indent="-361905"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fr-FR" altLang="fr-FR" sz="1200" b="1" i="0" u="none" strike="noStrike" kern="0" cap="none" spc="0" normalizeH="0" baseline="0" noProof="0">
                <a:ln>
                  <a:noFill/>
                </a:ln>
                <a:solidFill>
                  <a:srgbClr val="5E5E5E"/>
                </a:solidFill>
                <a:effectLst/>
                <a:uLnTx/>
                <a:uFillTx/>
                <a:latin typeface="Helvetica Neue"/>
                <a:ea typeface="+mn-ea"/>
                <a:cs typeface="Arial" pitchFamily="34" charset="0"/>
              </a:rPr>
              <a:t>Masquer </a:t>
            </a:r>
            <a:r>
              <a:rPr kumimoji="0" lang="fr-FR" altLang="fr-FR" sz="1200" b="0" i="0" u="none" strike="noStrike" kern="0" cap="none" spc="0" normalizeH="0" baseline="0" noProof="0">
                <a:ln>
                  <a:noFill/>
                </a:ln>
                <a:solidFill>
                  <a:srgbClr val="5E5E5E"/>
                </a:solidFill>
                <a:effectLst/>
                <a:uLnTx/>
                <a:uFillTx/>
                <a:latin typeface="Helvetica Neue"/>
                <a:ea typeface="+mn-ea"/>
                <a:cs typeface="Arial" pitchFamily="34" charset="0"/>
              </a:rPr>
              <a:t>un document au patient dans l’attente d’une consultation  d’annonce</a:t>
            </a:r>
          </a:p>
          <a:p>
            <a:pPr marL="361905" marR="0" lvl="0" indent="-361905"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fr-FR" sz="1200" b="1" i="0" u="none" strike="noStrike" kern="0" cap="none" spc="0" normalizeH="0" baseline="0" noProof="0">
                <a:ln>
                  <a:noFill/>
                </a:ln>
                <a:solidFill>
                  <a:srgbClr val="5E5E5E"/>
                </a:solidFill>
                <a:effectLst/>
                <a:uLnTx/>
                <a:uFillTx/>
                <a:latin typeface="Helvetica Neue"/>
                <a:ea typeface="+mn-ea"/>
                <a:cs typeface="Arial" pitchFamily="34" charset="0"/>
              </a:rPr>
              <a:t>Consulte</a:t>
            </a:r>
            <a:r>
              <a:rPr kumimoji="0" lang="fr-FR" sz="1200" b="0" i="0" u="none" strike="noStrike" kern="0" cap="none" spc="0" normalizeH="0" baseline="0" noProof="0">
                <a:ln>
                  <a:noFill/>
                </a:ln>
                <a:solidFill>
                  <a:srgbClr val="5E5E5E"/>
                </a:solidFill>
                <a:effectLst/>
                <a:uLnTx/>
                <a:uFillTx/>
                <a:latin typeface="Helvetica Neue"/>
                <a:ea typeface="+mn-ea"/>
                <a:cs typeface="Arial" pitchFamily="34" charset="0"/>
              </a:rPr>
              <a:t>r l’historique de soins et la rubrique Entourage &amp; Volontés</a:t>
            </a:r>
          </a:p>
          <a:p>
            <a:pPr marL="361905" marR="0" lvl="0" indent="-361905"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fr-FR" sz="1200" b="1" i="0" u="none" strike="noStrike" kern="0" cap="none" spc="0" normalizeH="0" baseline="0" noProof="0">
                <a:ln>
                  <a:noFill/>
                </a:ln>
                <a:solidFill>
                  <a:srgbClr val="5E5E5E"/>
                </a:solidFill>
                <a:effectLst/>
                <a:uLnTx/>
                <a:uFillTx/>
                <a:latin typeface="Helvetica Neue"/>
                <a:ea typeface="+mn-ea"/>
                <a:cs typeface="Arial" pitchFamily="34" charset="0"/>
              </a:rPr>
              <a:t>Consulter et ajouter </a:t>
            </a:r>
            <a:r>
              <a:rPr kumimoji="0" lang="fr-FR" sz="1200" b="0" i="0" u="none" strike="noStrike" kern="0" cap="none" spc="0" normalizeH="0" baseline="0" noProof="0">
                <a:ln>
                  <a:noFill/>
                </a:ln>
                <a:solidFill>
                  <a:srgbClr val="5E5E5E"/>
                </a:solidFill>
                <a:effectLst/>
                <a:uLnTx/>
                <a:uFillTx/>
                <a:latin typeface="Helvetica Neue"/>
                <a:ea typeface="+mn-ea"/>
                <a:cs typeface="Arial" pitchFamily="34" charset="0"/>
              </a:rPr>
              <a:t>une vaccination</a:t>
            </a:r>
            <a:endParaRPr kumimoji="0" lang="fr-FR" sz="1200" b="0" i="0" u="none" strike="noStrike" kern="0" cap="none" spc="0" normalizeH="0" baseline="0" noProof="0">
              <a:ln>
                <a:noFill/>
              </a:ln>
              <a:solidFill>
                <a:srgbClr val="5E5E5E"/>
              </a:solidFill>
              <a:effectLst/>
              <a:uLnTx/>
              <a:uFillTx/>
              <a:latin typeface="Helvetica Neue"/>
              <a:ea typeface="+mn-ea"/>
              <a:cs typeface="+mn-cs"/>
            </a:endParaRPr>
          </a:p>
        </p:txBody>
      </p:sp>
      <p:sp>
        <p:nvSpPr>
          <p:cNvPr id="7" name="ZoneTexte 24">
            <a:extLst>
              <a:ext uri="{FF2B5EF4-FFF2-40B4-BE49-F238E27FC236}">
                <a16:creationId xmlns:a16="http://schemas.microsoft.com/office/drawing/2014/main" id="{333B611D-9EA4-460C-AED5-C1AF39008BF6}"/>
              </a:ext>
            </a:extLst>
          </p:cNvPr>
          <p:cNvSpPr txBox="1">
            <a:spLocks noChangeArrowheads="1"/>
          </p:cNvSpPr>
          <p:nvPr/>
        </p:nvSpPr>
        <p:spPr bwMode="auto">
          <a:xfrm>
            <a:off x="6570985" y="1752719"/>
            <a:ext cx="4676984" cy="36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8" tIns="45715" rIns="91428" bIns="45715">
            <a:spAutoFit/>
          </a:bodyPr>
          <a:lstStyle>
            <a:lvl1pPr algn="l">
              <a:spcBef>
                <a:spcPct val="20000"/>
              </a:spcBef>
              <a:buClr>
                <a:schemeClr val="folHlink"/>
              </a:buClr>
              <a:buFont typeface="Wingdings" pitchFamily="2" charset="2"/>
              <a:buChar char="è"/>
              <a:defRPr sz="2400" b="1">
                <a:solidFill>
                  <a:srgbClr val="0C419A"/>
                </a:solidFill>
                <a:latin typeface="Arial" charset="0"/>
              </a:defRPr>
            </a:lvl1pPr>
            <a:lvl2pPr marL="742950" indent="-285750" algn="l">
              <a:spcBef>
                <a:spcPct val="20000"/>
              </a:spcBef>
              <a:buSzPct val="80000"/>
              <a:buFont typeface="Wingdings" pitchFamily="2" charset="2"/>
              <a:buChar char="l"/>
              <a:defRPr sz="2000">
                <a:solidFill>
                  <a:srgbClr val="0C419A"/>
                </a:solidFill>
                <a:latin typeface="Arial" charset="0"/>
              </a:defRPr>
            </a:lvl2pPr>
            <a:lvl3pPr marL="1143000" indent="-228600" algn="l">
              <a:spcBef>
                <a:spcPct val="20000"/>
              </a:spcBef>
              <a:buClr>
                <a:schemeClr val="folHlink"/>
              </a:buClr>
              <a:buFont typeface="Wingdings" pitchFamily="2" charset="2"/>
              <a:buChar char="ü"/>
              <a:defRPr>
                <a:solidFill>
                  <a:srgbClr val="0C419A"/>
                </a:solidFill>
                <a:latin typeface="Arial" charset="0"/>
              </a:defRPr>
            </a:lvl3pPr>
            <a:lvl4pPr marL="1600200" indent="-228600" algn="l">
              <a:spcBef>
                <a:spcPct val="20000"/>
              </a:spcBef>
              <a:buChar char="_"/>
              <a:defRPr sz="2300">
                <a:solidFill>
                  <a:srgbClr val="0C419A"/>
                </a:solidFill>
                <a:latin typeface="Arial" charset="0"/>
              </a:defRPr>
            </a:lvl4pPr>
            <a:lvl5pPr marL="2057400" indent="-228600" algn="l">
              <a:spcBef>
                <a:spcPct val="20000"/>
              </a:spcBef>
              <a:buChar char="_"/>
              <a:defRPr sz="2300">
                <a:solidFill>
                  <a:srgbClr val="0C419A"/>
                </a:solidFill>
                <a:latin typeface="Arial" charset="0"/>
              </a:defRPr>
            </a:lvl5pPr>
            <a:lvl6pPr marL="2514600" indent="-228600" eaLnBrk="0" fontAlgn="base" hangingPunct="0">
              <a:spcBef>
                <a:spcPct val="20000"/>
              </a:spcBef>
              <a:spcAft>
                <a:spcPct val="0"/>
              </a:spcAft>
              <a:buChar char="_"/>
              <a:defRPr sz="2300">
                <a:solidFill>
                  <a:srgbClr val="0C419A"/>
                </a:solidFill>
                <a:latin typeface="Arial" charset="0"/>
              </a:defRPr>
            </a:lvl6pPr>
            <a:lvl7pPr marL="2971800" indent="-228600" eaLnBrk="0" fontAlgn="base" hangingPunct="0">
              <a:spcBef>
                <a:spcPct val="20000"/>
              </a:spcBef>
              <a:spcAft>
                <a:spcPct val="0"/>
              </a:spcAft>
              <a:buChar char="_"/>
              <a:defRPr sz="2300">
                <a:solidFill>
                  <a:srgbClr val="0C419A"/>
                </a:solidFill>
                <a:latin typeface="Arial" charset="0"/>
              </a:defRPr>
            </a:lvl7pPr>
            <a:lvl8pPr marL="3429000" indent="-228600" eaLnBrk="0" fontAlgn="base" hangingPunct="0">
              <a:spcBef>
                <a:spcPct val="20000"/>
              </a:spcBef>
              <a:spcAft>
                <a:spcPct val="0"/>
              </a:spcAft>
              <a:buChar char="_"/>
              <a:defRPr sz="2300">
                <a:solidFill>
                  <a:srgbClr val="0C419A"/>
                </a:solidFill>
                <a:latin typeface="Arial" charset="0"/>
              </a:defRPr>
            </a:lvl8pPr>
            <a:lvl9pPr marL="3886200" indent="-228600" eaLnBrk="0" fontAlgn="base" hangingPunct="0">
              <a:spcBef>
                <a:spcPct val="20000"/>
              </a:spcBef>
              <a:spcAft>
                <a:spcPct val="0"/>
              </a:spcAft>
              <a:buChar char="_"/>
              <a:defRPr sz="2300">
                <a:solidFill>
                  <a:srgbClr val="0C419A"/>
                </a:solidFill>
                <a:latin typeface="Arial" charset="0"/>
              </a:defRPr>
            </a:lvl9pPr>
          </a:lstStyle>
          <a:p>
            <a:pPr marL="0" marR="0" lvl="0" indent="0" algn="ctr" defTabSz="914400" rtl="0" eaLnBrk="1" fontAlgn="auto" latinLnBrk="0" hangingPunct="1">
              <a:lnSpc>
                <a:spcPct val="100000"/>
              </a:lnSpc>
              <a:spcBef>
                <a:spcPct val="0"/>
              </a:spcBef>
              <a:spcAft>
                <a:spcPts val="0"/>
              </a:spcAft>
              <a:buClrTx/>
              <a:buSzTx/>
              <a:buFont typeface="Wingdings" pitchFamily="2" charset="2"/>
              <a:buNone/>
              <a:tabLst/>
              <a:defRPr/>
            </a:pPr>
            <a:r>
              <a:rPr kumimoji="0" lang="fr-FR" altLang="fr-FR" sz="1800" b="0" i="0" u="none" strike="noStrike" kern="1200" cap="none" spc="0" normalizeH="0" baseline="0" noProof="0">
                <a:ln>
                  <a:noFill/>
                </a:ln>
                <a:solidFill>
                  <a:srgbClr val="007FAD"/>
                </a:solidFill>
                <a:effectLst/>
                <a:uLnTx/>
                <a:uFillTx/>
                <a:latin typeface="Calibri" pitchFamily="34" charset="0"/>
                <a:ea typeface="MS PGothic" pitchFamily="34" charset="-128"/>
                <a:cs typeface="+mn-cs"/>
              </a:rPr>
              <a:t>  Des droits élargis pour les PS administrateurs :</a:t>
            </a:r>
          </a:p>
        </p:txBody>
      </p:sp>
      <p:sp>
        <p:nvSpPr>
          <p:cNvPr id="8" name="ZoneTexte 7">
            <a:extLst>
              <a:ext uri="{FF2B5EF4-FFF2-40B4-BE49-F238E27FC236}">
                <a16:creationId xmlns:a16="http://schemas.microsoft.com/office/drawing/2014/main" id="{69EE80A7-A3F6-41C0-B3DF-71505D7F9310}"/>
              </a:ext>
            </a:extLst>
          </p:cNvPr>
          <p:cNvSpPr txBox="1"/>
          <p:nvPr/>
        </p:nvSpPr>
        <p:spPr>
          <a:xfrm>
            <a:off x="6567969" y="2344027"/>
            <a:ext cx="4680000" cy="2369869"/>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wrap="square" lIns="91428" tIns="45715" rIns="91428" bIns="45715">
            <a:spAutoFit/>
          </a:bodyPr>
          <a:lstStyle/>
          <a:p>
            <a:pPr marL="361905" marR="0" lvl="0" indent="-361905"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fr-FR" altLang="fr-FR" sz="1200" b="1" i="0" u="none" strike="noStrike" kern="0" cap="none" spc="0" normalizeH="0" baseline="0" noProof="0">
                <a:ln>
                  <a:noFill/>
                </a:ln>
                <a:solidFill>
                  <a:srgbClr val="5E5E5E"/>
                </a:solidFill>
                <a:effectLst/>
                <a:uLnTx/>
                <a:uFillTx/>
                <a:latin typeface="Helvetica Neue"/>
                <a:ea typeface="+mn-ea"/>
                <a:cs typeface="Arial" pitchFamily="34" charset="0"/>
              </a:rPr>
              <a:t>Les droits cités précédemment </a:t>
            </a:r>
            <a:r>
              <a:rPr kumimoji="0" lang="fr-FR" altLang="fr-FR" sz="1200" b="0" i="0" u="none" strike="noStrike" kern="0" cap="none" spc="0" normalizeH="0" baseline="0" noProof="0">
                <a:ln>
                  <a:noFill/>
                </a:ln>
                <a:solidFill>
                  <a:srgbClr val="5E5E5E"/>
                </a:solidFill>
                <a:effectLst/>
                <a:uLnTx/>
                <a:uFillTx/>
                <a:latin typeface="Helvetica Neue"/>
                <a:ea typeface="+mn-ea"/>
                <a:cs typeface="Arial" pitchFamily="34" charset="0"/>
              </a:rPr>
              <a:t>plus :</a:t>
            </a:r>
          </a:p>
          <a:p>
            <a:pPr marL="361905" marR="0" lvl="0" indent="-361905"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fr-FR" altLang="fr-FR" sz="1200" b="1" i="0" u="none" strike="noStrike" kern="0" cap="none" spc="0" normalizeH="0" baseline="0" noProof="0">
                <a:ln>
                  <a:noFill/>
                </a:ln>
                <a:solidFill>
                  <a:srgbClr val="5E5E5E"/>
                </a:solidFill>
                <a:effectLst/>
                <a:uLnTx/>
                <a:uFillTx/>
                <a:latin typeface="Helvetica Neue"/>
                <a:ea typeface="+mn-ea"/>
                <a:cs typeface="Arial" pitchFamily="34" charset="0"/>
              </a:rPr>
              <a:t>Masquer </a:t>
            </a:r>
            <a:r>
              <a:rPr kumimoji="0" lang="fr-FR" altLang="fr-FR" sz="1200" b="0" i="0" u="none" strike="noStrike" kern="0" cap="none" spc="0" normalizeH="0" baseline="0" noProof="0">
                <a:ln>
                  <a:noFill/>
                </a:ln>
                <a:solidFill>
                  <a:srgbClr val="5E5E5E"/>
                </a:solidFill>
                <a:effectLst/>
                <a:uLnTx/>
                <a:uFillTx/>
                <a:latin typeface="Helvetica Neue"/>
                <a:ea typeface="+mn-ea"/>
                <a:cs typeface="Arial" pitchFamily="34" charset="0"/>
              </a:rPr>
              <a:t>un ou plusieurs documents à la demande du patient, même s’il n’en est pas l’auteur</a:t>
            </a:r>
          </a:p>
          <a:p>
            <a:pPr marL="361905" marR="0" lvl="0" indent="-361905"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fr-FR" altLang="fr-FR" sz="1200" b="1" i="0" u="none" strike="noStrike" kern="0" cap="none" spc="0" normalizeH="0" baseline="0" noProof="0">
                <a:ln>
                  <a:noFill/>
                </a:ln>
                <a:solidFill>
                  <a:srgbClr val="5E5E5E"/>
                </a:solidFill>
                <a:effectLst/>
                <a:uLnTx/>
                <a:uFillTx/>
                <a:latin typeface="Helvetica Neue"/>
                <a:ea typeface="+mn-ea"/>
                <a:cs typeface="Arial" pitchFamily="34" charset="0"/>
              </a:rPr>
              <a:t>Bloquer </a:t>
            </a:r>
            <a:r>
              <a:rPr kumimoji="0" lang="fr-FR" altLang="fr-FR" sz="1200" b="0" i="0" u="none" strike="noStrike" kern="0" cap="none" spc="0" normalizeH="0" baseline="0" noProof="0">
                <a:ln>
                  <a:noFill/>
                </a:ln>
                <a:solidFill>
                  <a:srgbClr val="5E5E5E"/>
                </a:solidFill>
                <a:effectLst/>
                <a:uLnTx/>
                <a:uFillTx/>
                <a:latin typeface="Helvetica Neue"/>
                <a:ea typeface="+mn-ea"/>
                <a:cs typeface="Arial" pitchFamily="34" charset="0"/>
              </a:rPr>
              <a:t>l’accès à Mon espace santé à un professionnel de santé</a:t>
            </a:r>
          </a:p>
          <a:p>
            <a:pPr marL="361905" marR="0" lvl="0" indent="-361905"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fr-FR" altLang="fr-FR" sz="1200" b="1" i="0" u="none" strike="noStrike" kern="0" cap="none" spc="0" normalizeH="0" baseline="0" noProof="0">
                <a:ln>
                  <a:noFill/>
                </a:ln>
                <a:solidFill>
                  <a:srgbClr val="5E5E5E"/>
                </a:solidFill>
                <a:effectLst/>
                <a:uLnTx/>
                <a:uFillTx/>
                <a:latin typeface="Helvetica Neue"/>
                <a:ea typeface="+mn-ea"/>
                <a:cs typeface="Arial" pitchFamily="34" charset="0"/>
              </a:rPr>
              <a:t>Consulter l’historique </a:t>
            </a:r>
            <a:r>
              <a:rPr kumimoji="0" lang="fr-FR" altLang="fr-FR" sz="1200" b="0" i="0" u="none" strike="noStrike" kern="0" cap="none" spc="0" normalizeH="0" baseline="0" noProof="0">
                <a:ln>
                  <a:noFill/>
                </a:ln>
                <a:solidFill>
                  <a:srgbClr val="5E5E5E"/>
                </a:solidFill>
                <a:effectLst/>
                <a:uLnTx/>
                <a:uFillTx/>
                <a:latin typeface="Helvetica Neue"/>
                <a:ea typeface="+mn-ea"/>
                <a:cs typeface="Arial" pitchFamily="34" charset="0"/>
              </a:rPr>
              <a:t>de tous les accès au profil Mon espace santé du patient </a:t>
            </a:r>
          </a:p>
          <a:p>
            <a:pPr marL="361905" marR="0" lvl="0" indent="-361905"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fr-FR" altLang="fr-FR" sz="1200" b="1" i="0" u="none" strike="noStrike" kern="0" cap="none" spc="0" normalizeH="0" baseline="0" noProof="0">
                <a:ln>
                  <a:noFill/>
                </a:ln>
                <a:solidFill>
                  <a:srgbClr val="5E5E5E"/>
                </a:solidFill>
                <a:effectLst/>
                <a:uLnTx/>
                <a:uFillTx/>
                <a:latin typeface="Helvetica Neue"/>
                <a:ea typeface="+mn-ea"/>
                <a:cs typeface="Arial" pitchFamily="34" charset="0"/>
              </a:rPr>
              <a:t>Accéder aux documents que le patient a choisi de masquer </a:t>
            </a:r>
            <a:r>
              <a:rPr kumimoji="0" lang="fr-FR" altLang="fr-FR" sz="1200" b="0" i="0" u="none" strike="noStrike" kern="0" cap="none" spc="0" normalizeH="0" baseline="0" noProof="0">
                <a:ln>
                  <a:noFill/>
                </a:ln>
                <a:solidFill>
                  <a:srgbClr val="5E5E5E"/>
                </a:solidFill>
                <a:effectLst/>
                <a:uLnTx/>
                <a:uFillTx/>
                <a:latin typeface="Helvetica Neue"/>
                <a:ea typeface="+mn-ea"/>
                <a:cs typeface="Arial" pitchFamily="34" charset="0"/>
              </a:rPr>
              <a:t>aux autres professionnels de santé</a:t>
            </a:r>
          </a:p>
        </p:txBody>
      </p:sp>
      <p:sp>
        <p:nvSpPr>
          <p:cNvPr id="9" name="ZoneTexte 8">
            <a:extLst>
              <a:ext uri="{FF2B5EF4-FFF2-40B4-BE49-F238E27FC236}">
                <a16:creationId xmlns:a16="http://schemas.microsoft.com/office/drawing/2014/main" id="{32E27882-DE02-4F54-BDBC-5B32DD5DDCAF}"/>
              </a:ext>
            </a:extLst>
          </p:cNvPr>
          <p:cNvSpPr txBox="1"/>
          <p:nvPr/>
        </p:nvSpPr>
        <p:spPr>
          <a:xfrm>
            <a:off x="1432945" y="5650433"/>
            <a:ext cx="4680000" cy="523220"/>
          </a:xfrm>
          <a:prstGeom prst="rect">
            <a:avLst/>
          </a:prstGeom>
          <a:solidFill>
            <a:srgbClr val="DF268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Arial" panose="020B0604020202020204"/>
                <a:ea typeface="+mn-ea"/>
                <a:cs typeface="+mn-cs"/>
              </a:rPr>
              <a:t>Chaque action d’un PS et d’un tiers donne lieu à une notification par e-mail</a:t>
            </a:r>
          </a:p>
        </p:txBody>
      </p:sp>
      <p:pic>
        <p:nvPicPr>
          <p:cNvPr id="10" name="Picture 2" descr="C:\Users\ROSAYE-09813\Downloads\info.png">
            <a:extLst>
              <a:ext uri="{FF2B5EF4-FFF2-40B4-BE49-F238E27FC236}">
                <a16:creationId xmlns:a16="http://schemas.microsoft.com/office/drawing/2014/main" id="{96E3E4F4-E20D-4518-804E-283E6B61D681}"/>
              </a:ext>
            </a:extLst>
          </p:cNvPr>
          <p:cNvPicPr>
            <a:picLocks noChangeAspect="1" noChangeArrowheads="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21259" y="5268391"/>
            <a:ext cx="432000" cy="432000"/>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a:extLst>
              <a:ext uri="{FF2B5EF4-FFF2-40B4-BE49-F238E27FC236}">
                <a16:creationId xmlns:a16="http://schemas.microsoft.com/office/drawing/2014/main" id="{21BFBAC6-ED14-4E9A-AD9A-067A62D664C3}"/>
              </a:ext>
            </a:extLst>
          </p:cNvPr>
          <p:cNvSpPr txBox="1"/>
          <p:nvPr/>
        </p:nvSpPr>
        <p:spPr>
          <a:xfrm>
            <a:off x="7053259" y="5074369"/>
            <a:ext cx="419471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mn-cs"/>
              </a:rPr>
              <a:t>L’ensemble des actions réalisées par un tiers sont visibles dans l’historique d’activité de Mon espace santé</a:t>
            </a:r>
          </a:p>
        </p:txBody>
      </p:sp>
    </p:spTree>
    <p:extLst>
      <p:ext uri="{BB962C8B-B14F-4D97-AF65-F5344CB8AC3E}">
        <p14:creationId xmlns:p14="http://schemas.microsoft.com/office/powerpoint/2010/main" val="2519599350"/>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CB7F303E-A407-4103-AFD2-D94270D1C683}"/>
              </a:ext>
            </a:extLst>
          </p:cNvPr>
          <p:cNvSpPr>
            <a:spLocks noGrp="1"/>
          </p:cNvSpPr>
          <p:nvPr>
            <p:ph type="title"/>
          </p:nvPr>
        </p:nvSpPr>
        <p:spPr/>
        <p:txBody>
          <a:bodyPr>
            <a:normAutofit/>
          </a:bodyPr>
          <a:lstStyle/>
          <a:p>
            <a:r>
              <a:rPr lang="fr-FR" sz="3500" b="1" spc="-70">
                <a:solidFill>
                  <a:srgbClr val="005C9B"/>
                </a:solidFill>
                <a:latin typeface="Arial" panose="020B0604020202020204" pitchFamily="34" charset="0"/>
                <a:cs typeface="Arial" panose="020B0604020202020204" pitchFamily="34" charset="0"/>
              </a:rPr>
              <a:t>La sécurité des données </a:t>
            </a:r>
          </a:p>
        </p:txBody>
      </p:sp>
      <p:pic>
        <p:nvPicPr>
          <p:cNvPr id="12" name="Picture 2">
            <a:extLst>
              <a:ext uri="{FF2B5EF4-FFF2-40B4-BE49-F238E27FC236}">
                <a16:creationId xmlns:a16="http://schemas.microsoft.com/office/drawing/2014/main" id="{A11219FA-91D9-4ECD-A211-586CE18D3B2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1293" y="4763533"/>
            <a:ext cx="5214427" cy="17230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a:extLst>
              <a:ext uri="{FF2B5EF4-FFF2-40B4-BE49-F238E27FC236}">
                <a16:creationId xmlns:a16="http://schemas.microsoft.com/office/drawing/2014/main" id="{BD63836F-BBB0-4BE1-9C80-B9D6D0BFDA43}"/>
              </a:ext>
            </a:extLst>
          </p:cNvPr>
          <p:cNvSpPr/>
          <p:nvPr/>
        </p:nvSpPr>
        <p:spPr>
          <a:xfrm>
            <a:off x="1099646" y="2301320"/>
            <a:ext cx="5040560" cy="2462213"/>
          </a:xfrm>
          <a:prstGeom prst="rect">
            <a:avLst/>
          </a:prstGeom>
        </p:spPr>
        <p:txBody>
          <a:bodyPr wrap="square">
            <a:spAutoFit/>
          </a:bodyPr>
          <a:lstStyle/>
          <a:p>
            <a:r>
              <a:rPr lang="fr-FR" sz="1400">
                <a:solidFill>
                  <a:srgbClr val="545859"/>
                </a:solidFill>
                <a:latin typeface="Arial" panose="020B0604020202020204"/>
              </a:rPr>
              <a:t>Les données de Mon espace santé sont </a:t>
            </a:r>
            <a:r>
              <a:rPr lang="fr-FR" sz="1400" b="1">
                <a:solidFill>
                  <a:srgbClr val="007FAD"/>
                </a:solidFill>
                <a:latin typeface="Arial" panose="020B0604020202020204"/>
              </a:rPr>
              <a:t>hébergées en France</a:t>
            </a:r>
            <a:r>
              <a:rPr lang="fr-FR" sz="1400">
                <a:solidFill>
                  <a:srgbClr val="545859"/>
                </a:solidFill>
                <a:latin typeface="Arial" panose="020B0604020202020204"/>
              </a:rPr>
              <a:t>.</a:t>
            </a:r>
          </a:p>
          <a:p>
            <a:r>
              <a:rPr lang="fr-FR" sz="1400">
                <a:solidFill>
                  <a:srgbClr val="545859"/>
                </a:solidFill>
                <a:latin typeface="Arial" panose="020B0604020202020204"/>
              </a:rPr>
              <a:t>Le système de sécurisation des données de santé conservées dans Mon espace santé s’appuie sur un ensemble de garanties techniques :</a:t>
            </a:r>
          </a:p>
          <a:p>
            <a:pPr marL="285750" indent="-285750">
              <a:buFont typeface="Arial" panose="020B0604020202020204" pitchFamily="34" charset="0"/>
              <a:buChar char="•"/>
            </a:pPr>
            <a:r>
              <a:rPr lang="fr-FR" sz="1400">
                <a:solidFill>
                  <a:srgbClr val="545859"/>
                </a:solidFill>
                <a:latin typeface="Arial" panose="020B0604020202020204"/>
              </a:rPr>
              <a:t>la conception et l’hébergement en environnement certifié </a:t>
            </a:r>
            <a:r>
              <a:rPr lang="fr-FR" sz="1400" b="1">
                <a:solidFill>
                  <a:srgbClr val="007FAD"/>
                </a:solidFill>
                <a:latin typeface="Arial" panose="020B0604020202020204"/>
              </a:rPr>
              <a:t>Hébergeurs de Données de Santé</a:t>
            </a:r>
            <a:r>
              <a:rPr lang="fr-FR" sz="1400">
                <a:solidFill>
                  <a:srgbClr val="545859"/>
                </a:solidFill>
                <a:latin typeface="Arial" panose="020B0604020202020204"/>
              </a:rPr>
              <a:t> (HDS) ;</a:t>
            </a:r>
          </a:p>
          <a:p>
            <a:pPr marL="285750" indent="-285750">
              <a:buFont typeface="Arial" panose="020B0604020202020204" pitchFamily="34" charset="0"/>
              <a:buChar char="•"/>
            </a:pPr>
            <a:r>
              <a:rPr lang="fr-FR" sz="1400">
                <a:solidFill>
                  <a:srgbClr val="545859"/>
                </a:solidFill>
                <a:latin typeface="Arial" panose="020B0604020202020204"/>
              </a:rPr>
              <a:t>l’accompagnement par </a:t>
            </a:r>
            <a:r>
              <a:rPr lang="fr-FR" sz="1400" b="1">
                <a:solidFill>
                  <a:srgbClr val="007FAD"/>
                </a:solidFill>
                <a:latin typeface="Arial" panose="020B0604020202020204"/>
              </a:rPr>
              <a:t>l’Agence Nationale de la Sécurité des Systèmes d’Information</a:t>
            </a:r>
            <a:r>
              <a:rPr lang="fr-FR" sz="1400">
                <a:solidFill>
                  <a:srgbClr val="545859"/>
                </a:solidFill>
                <a:latin typeface="Arial" panose="020B0604020202020204"/>
              </a:rPr>
              <a:t> (ANSSI) ;</a:t>
            </a:r>
          </a:p>
          <a:p>
            <a:pPr marL="285750" indent="-285750">
              <a:buFont typeface="Arial" panose="020B0604020202020204" pitchFamily="34" charset="0"/>
              <a:buChar char="•"/>
            </a:pPr>
            <a:r>
              <a:rPr lang="fr-FR" sz="1400">
                <a:solidFill>
                  <a:srgbClr val="545859"/>
                </a:solidFill>
                <a:latin typeface="Arial" panose="020B0604020202020204"/>
              </a:rPr>
              <a:t>l’homologation du produit Mon espace santé au </a:t>
            </a:r>
            <a:r>
              <a:rPr lang="fr-FR" sz="1400" b="1">
                <a:solidFill>
                  <a:srgbClr val="007FAD"/>
                </a:solidFill>
                <a:latin typeface="Arial" panose="020B0604020202020204"/>
              </a:rPr>
              <a:t>Référentiel Général de Sécurité</a:t>
            </a:r>
            <a:r>
              <a:rPr lang="fr-FR" sz="1400">
                <a:solidFill>
                  <a:srgbClr val="545859"/>
                </a:solidFill>
                <a:latin typeface="Arial" panose="020B0604020202020204"/>
              </a:rPr>
              <a:t> (RGS).</a:t>
            </a:r>
          </a:p>
        </p:txBody>
      </p:sp>
      <p:sp>
        <p:nvSpPr>
          <p:cNvPr id="14" name="ZoneTexte 13">
            <a:extLst>
              <a:ext uri="{FF2B5EF4-FFF2-40B4-BE49-F238E27FC236}">
                <a16:creationId xmlns:a16="http://schemas.microsoft.com/office/drawing/2014/main" id="{559D0674-6BCC-4496-8023-137D0977E816}"/>
              </a:ext>
            </a:extLst>
          </p:cNvPr>
          <p:cNvSpPr txBox="1"/>
          <p:nvPr/>
        </p:nvSpPr>
        <p:spPr>
          <a:xfrm>
            <a:off x="1380382" y="1797264"/>
            <a:ext cx="3600400" cy="369332"/>
          </a:xfrm>
          <a:prstGeom prst="rect">
            <a:avLst/>
          </a:prstGeom>
          <a:noFill/>
        </p:spPr>
        <p:txBody>
          <a:bodyPr wrap="square" rtlCol="0">
            <a:spAutoFit/>
          </a:bodyPr>
          <a:lstStyle/>
          <a:p>
            <a:pPr algn="ctr"/>
            <a:r>
              <a:rPr lang="fr-FR" b="1">
                <a:solidFill>
                  <a:srgbClr val="007FAD"/>
                </a:solidFill>
                <a:latin typeface="Arial" panose="020B0604020202020204"/>
              </a:rPr>
              <a:t>Sécurité du produit</a:t>
            </a:r>
          </a:p>
        </p:txBody>
      </p:sp>
      <p:sp>
        <p:nvSpPr>
          <p:cNvPr id="15" name="Rectangle 14">
            <a:extLst>
              <a:ext uri="{FF2B5EF4-FFF2-40B4-BE49-F238E27FC236}">
                <a16:creationId xmlns:a16="http://schemas.microsoft.com/office/drawing/2014/main" id="{FEF65A5C-DD82-45AD-A3B0-B4FB5573604C}"/>
              </a:ext>
            </a:extLst>
          </p:cNvPr>
          <p:cNvSpPr/>
          <p:nvPr/>
        </p:nvSpPr>
        <p:spPr>
          <a:xfrm>
            <a:off x="6708974" y="2421544"/>
            <a:ext cx="5040560" cy="307777"/>
          </a:xfrm>
          <a:prstGeom prst="rect">
            <a:avLst/>
          </a:prstGeom>
        </p:spPr>
        <p:txBody>
          <a:bodyPr wrap="square">
            <a:spAutoFit/>
          </a:bodyPr>
          <a:lstStyle/>
          <a:p>
            <a:endParaRPr lang="fr-FR" sz="1400">
              <a:solidFill>
                <a:srgbClr val="545859"/>
              </a:solidFill>
              <a:latin typeface="Arial" panose="020B0604020202020204"/>
            </a:endParaRPr>
          </a:p>
        </p:txBody>
      </p:sp>
      <p:sp>
        <p:nvSpPr>
          <p:cNvPr id="16" name="ZoneTexte 15">
            <a:extLst>
              <a:ext uri="{FF2B5EF4-FFF2-40B4-BE49-F238E27FC236}">
                <a16:creationId xmlns:a16="http://schemas.microsoft.com/office/drawing/2014/main" id="{D5822347-22BC-4C10-A063-539CEDAAF050}"/>
              </a:ext>
            </a:extLst>
          </p:cNvPr>
          <p:cNvSpPr txBox="1"/>
          <p:nvPr/>
        </p:nvSpPr>
        <p:spPr>
          <a:xfrm>
            <a:off x="7429054" y="1917488"/>
            <a:ext cx="3600400" cy="369332"/>
          </a:xfrm>
          <a:prstGeom prst="rect">
            <a:avLst/>
          </a:prstGeom>
          <a:noFill/>
        </p:spPr>
        <p:txBody>
          <a:bodyPr wrap="square" rtlCol="0">
            <a:spAutoFit/>
          </a:bodyPr>
          <a:lstStyle/>
          <a:p>
            <a:pPr algn="ctr"/>
            <a:r>
              <a:rPr lang="fr-FR" b="1">
                <a:solidFill>
                  <a:srgbClr val="007FAD"/>
                </a:solidFill>
                <a:latin typeface="Arial" panose="020B0604020202020204"/>
              </a:rPr>
              <a:t>Sécurité de l’accès usager</a:t>
            </a:r>
          </a:p>
        </p:txBody>
      </p:sp>
      <p:sp>
        <p:nvSpPr>
          <p:cNvPr id="17" name="Rectangle 16">
            <a:extLst>
              <a:ext uri="{FF2B5EF4-FFF2-40B4-BE49-F238E27FC236}">
                <a16:creationId xmlns:a16="http://schemas.microsoft.com/office/drawing/2014/main" id="{460C2BA7-FFCD-4C7D-A3AA-77CC86F00EBC}"/>
              </a:ext>
            </a:extLst>
          </p:cNvPr>
          <p:cNvSpPr/>
          <p:nvPr/>
        </p:nvSpPr>
        <p:spPr>
          <a:xfrm>
            <a:off x="6708974" y="2441683"/>
            <a:ext cx="5040560" cy="1600438"/>
          </a:xfrm>
          <a:prstGeom prst="rect">
            <a:avLst/>
          </a:prstGeom>
        </p:spPr>
        <p:txBody>
          <a:bodyPr wrap="square">
            <a:spAutoFit/>
          </a:bodyPr>
          <a:lstStyle/>
          <a:p>
            <a:pPr marL="285750" indent="-285750">
              <a:buFont typeface="Arial" panose="020B0604020202020204" pitchFamily="34" charset="0"/>
              <a:buChar char="•"/>
            </a:pPr>
            <a:r>
              <a:rPr lang="fr-FR" sz="1400">
                <a:solidFill>
                  <a:srgbClr val="545859"/>
                </a:solidFill>
                <a:latin typeface="Arial" panose="020B0604020202020204"/>
              </a:rPr>
              <a:t>Vérification de </a:t>
            </a:r>
            <a:r>
              <a:rPr lang="fr-FR" sz="1400">
                <a:solidFill>
                  <a:srgbClr val="007FAD"/>
                </a:solidFill>
                <a:latin typeface="Arial" panose="020B0604020202020204"/>
              </a:rPr>
              <a:t>3 données d’identification personnelles </a:t>
            </a:r>
            <a:r>
              <a:rPr lang="fr-FR" sz="1400">
                <a:solidFill>
                  <a:srgbClr val="545859"/>
                </a:solidFill>
                <a:latin typeface="Arial" panose="020B0604020202020204"/>
              </a:rPr>
              <a:t>pour activer Mon espace santé (code provisoire, numéro de sécurité sociale, numéro de série de la carte Vitale)</a:t>
            </a:r>
          </a:p>
          <a:p>
            <a:pPr marL="285750" indent="-285750">
              <a:buFont typeface="Arial" panose="020B0604020202020204" pitchFamily="34" charset="0"/>
              <a:buChar char="•"/>
            </a:pPr>
            <a:r>
              <a:rPr lang="fr-FR" sz="1400">
                <a:solidFill>
                  <a:srgbClr val="545859"/>
                </a:solidFill>
                <a:latin typeface="Arial" panose="020B0604020202020204"/>
              </a:rPr>
              <a:t>Besoin d’un </a:t>
            </a:r>
            <a:r>
              <a:rPr lang="fr-FR" sz="1400">
                <a:solidFill>
                  <a:srgbClr val="007FAD"/>
                </a:solidFill>
                <a:latin typeface="Arial" panose="020B0604020202020204"/>
              </a:rPr>
              <a:t>code d’accès unique </a:t>
            </a:r>
            <a:r>
              <a:rPr lang="fr-FR" sz="1400">
                <a:solidFill>
                  <a:srgbClr val="545859"/>
                </a:solidFill>
                <a:latin typeface="Arial" panose="020B0604020202020204"/>
              </a:rPr>
              <a:t>à chaque connexion en plus de la saisie de l’identifiant et du mot de passe</a:t>
            </a:r>
          </a:p>
          <a:p>
            <a:pPr marL="285750" indent="-285750">
              <a:buFont typeface="Arial" panose="020B0604020202020204" pitchFamily="34" charset="0"/>
              <a:buChar char="•"/>
            </a:pPr>
            <a:r>
              <a:rPr lang="fr-FR" sz="1400">
                <a:solidFill>
                  <a:srgbClr val="007FAD"/>
                </a:solidFill>
                <a:latin typeface="Arial" panose="020B0604020202020204"/>
              </a:rPr>
              <a:t>Identification biométrique </a:t>
            </a:r>
            <a:r>
              <a:rPr lang="fr-FR" sz="1400">
                <a:solidFill>
                  <a:srgbClr val="545859"/>
                </a:solidFill>
                <a:latin typeface="Arial" panose="020B0604020202020204"/>
              </a:rPr>
              <a:t>possible pour se connecter depuis l’appli smartphone</a:t>
            </a:r>
          </a:p>
        </p:txBody>
      </p:sp>
      <p:pic>
        <p:nvPicPr>
          <p:cNvPr id="18" name="Picture 2">
            <a:extLst>
              <a:ext uri="{FF2B5EF4-FFF2-40B4-BE49-F238E27FC236}">
                <a16:creationId xmlns:a16="http://schemas.microsoft.com/office/drawing/2014/main" id="{BBDA900A-F501-45D4-BC74-0DB844F4B0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39328" y="4165000"/>
            <a:ext cx="3584487" cy="2449731"/>
          </a:xfrm>
          <a:prstGeom prst="rect">
            <a:avLst/>
          </a:prstGeom>
          <a:noFill/>
          <a:ln w="76200">
            <a:solidFill>
              <a:srgbClr val="0C419A">
                <a:lumMod val="20000"/>
                <a:lumOff val="80000"/>
              </a:srgb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37733296"/>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a:extLst>
              <a:ext uri="{FF2B5EF4-FFF2-40B4-BE49-F238E27FC236}">
                <a16:creationId xmlns:a16="http://schemas.microsoft.com/office/drawing/2014/main" id="{9F396323-7A89-7442-94E9-7DF91CA2A4B3}"/>
              </a:ext>
            </a:extLst>
          </p:cNvPr>
          <p:cNvSpPr>
            <a:spLocks noGrp="1"/>
          </p:cNvSpPr>
          <p:nvPr>
            <p:ph type="title"/>
          </p:nvPr>
        </p:nvSpPr>
        <p:spPr>
          <a:xfrm>
            <a:off x="3439279" y="2349917"/>
            <a:ext cx="8149970" cy="2324100"/>
          </a:xfrm>
        </p:spPr>
        <p:txBody>
          <a:bodyPr>
            <a:normAutofit/>
          </a:bodyPr>
          <a:lstStyle/>
          <a:p>
            <a:r>
              <a:rPr lang="fr-FR"/>
              <a:t>Mes premiers pas d'ambassadeurs</a:t>
            </a:r>
            <a:endParaRPr lang="en-US"/>
          </a:p>
        </p:txBody>
      </p:sp>
      <p:sp>
        <p:nvSpPr>
          <p:cNvPr id="6" name="1.">
            <a:extLst>
              <a:ext uri="{FF2B5EF4-FFF2-40B4-BE49-F238E27FC236}">
                <a16:creationId xmlns:a16="http://schemas.microsoft.com/office/drawing/2014/main" id="{A022ABC0-7EE1-1E4D-A697-D33BE5E70E50}"/>
              </a:ext>
            </a:extLst>
          </p:cNvPr>
          <p:cNvSpPr txBox="1"/>
          <p:nvPr/>
        </p:nvSpPr>
        <p:spPr>
          <a:xfrm>
            <a:off x="9287728" y="2809674"/>
            <a:ext cx="2483535" cy="205184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400" tIns="25400" rIns="25400" bIns="25400" anchor="ctr">
            <a:spAutoFit/>
          </a:bodyPr>
          <a:lstStyle>
            <a:lvl1pPr algn="l">
              <a:defRPr sz="20000" cap="all">
                <a:solidFill>
                  <a:srgbClr val="DB3080"/>
                </a:solidFill>
                <a:latin typeface="+mj-lt"/>
                <a:ea typeface="+mj-ea"/>
                <a:cs typeface="+mj-cs"/>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000" b="0" i="0" u="none" strike="noStrike" kern="1200" cap="all" spc="-300" normalizeH="0" baseline="0" noProof="0">
              <a:ln>
                <a:noFill/>
              </a:ln>
              <a:solidFill>
                <a:srgbClr val="DB3080"/>
              </a:solidFill>
              <a:effectLst/>
              <a:uLnTx/>
              <a:uFillTx/>
              <a:latin typeface="Arial"/>
              <a:cs typeface="Arial"/>
              <a:sym typeface="Arial"/>
            </a:endParaRPr>
          </a:p>
        </p:txBody>
      </p:sp>
    </p:spTree>
    <p:extLst>
      <p:ext uri="{BB962C8B-B14F-4D97-AF65-F5344CB8AC3E}">
        <p14:creationId xmlns:p14="http://schemas.microsoft.com/office/powerpoint/2010/main" val="3832080432"/>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62C5FBFD-B6AD-411B-AA70-1C2B9A4E9321}"/>
              </a:ext>
            </a:extLst>
          </p:cNvPr>
          <p:cNvSpPr>
            <a:spLocks noGrp="1"/>
          </p:cNvSpPr>
          <p:nvPr>
            <p:ph type="sldNum" sz="quarter" idx="2"/>
          </p:nvPr>
        </p:nvSpPr>
        <p:spPr>
          <a:xfrm>
            <a:off x="11792336" y="6510245"/>
            <a:ext cx="166712" cy="241092"/>
          </a:xfrm>
        </p:spPr>
        <p:txBody>
          <a:bodyPr/>
          <a:lstStyle/>
          <a:p>
            <a:fld id="{86CB4B4D-7CA3-9044-876B-883B54F8677D}" type="slidenum">
              <a:rPr lang="fr-FR" smtClean="0"/>
              <a:t>34</a:t>
            </a:fld>
            <a:endParaRPr lang="fr-FR"/>
          </a:p>
        </p:txBody>
      </p:sp>
      <p:sp>
        <p:nvSpPr>
          <p:cNvPr id="4" name="Titre 3">
            <a:extLst>
              <a:ext uri="{FF2B5EF4-FFF2-40B4-BE49-F238E27FC236}">
                <a16:creationId xmlns:a16="http://schemas.microsoft.com/office/drawing/2014/main" id="{38EA9DC3-4DBC-48ED-90A4-8728EF7508B0}"/>
              </a:ext>
            </a:extLst>
          </p:cNvPr>
          <p:cNvSpPr>
            <a:spLocks noGrp="1"/>
          </p:cNvSpPr>
          <p:nvPr>
            <p:ph type="title"/>
          </p:nvPr>
        </p:nvSpPr>
        <p:spPr>
          <a:xfrm>
            <a:off x="2313517" y="16625"/>
            <a:ext cx="9306555" cy="1133342"/>
          </a:xfrm>
        </p:spPr>
        <p:txBody>
          <a:bodyPr>
            <a:normAutofit/>
          </a:bodyPr>
          <a:lstStyle/>
          <a:p>
            <a:r>
              <a:rPr lang="fr-FR" kern="1200">
                <a:cs typeface="Arial"/>
              </a:rPr>
              <a:t>La démarche ambassadeurs</a:t>
            </a:r>
          </a:p>
        </p:txBody>
      </p:sp>
      <p:sp>
        <p:nvSpPr>
          <p:cNvPr id="30" name="TextBox 29">
            <a:extLst>
              <a:ext uri="{FF2B5EF4-FFF2-40B4-BE49-F238E27FC236}">
                <a16:creationId xmlns:a16="http://schemas.microsoft.com/office/drawing/2014/main" id="{48619D6A-6C04-4667-95AC-A9C9CA0E6D80}"/>
              </a:ext>
            </a:extLst>
          </p:cNvPr>
          <p:cNvSpPr txBox="1"/>
          <p:nvPr/>
        </p:nvSpPr>
        <p:spPr>
          <a:xfrm>
            <a:off x="679110" y="2370132"/>
            <a:ext cx="10794203" cy="2367549"/>
          </a:xfrm>
          <a:prstGeom prst="rect">
            <a:avLst/>
          </a:prstGeom>
          <a:noFill/>
        </p:spPr>
        <p:txBody>
          <a:bodyPr wrap="square" lIns="58652" tIns="29326" rIns="58652" bIns="29326" anchor="t">
            <a:spAutoFit/>
          </a:bodyPr>
          <a:lstStyle/>
          <a:p>
            <a:pPr algn="just" defTabSz="293248">
              <a:spcBef>
                <a:spcPts val="600"/>
              </a:spcBef>
              <a:spcAft>
                <a:spcPts val="600"/>
              </a:spcAft>
            </a:pPr>
            <a:r>
              <a:rPr lang="fr-FR" sz="1300">
                <a:solidFill>
                  <a:srgbClr val="000000"/>
                </a:solidFill>
                <a:latin typeface="Arial"/>
                <a:cs typeface="Arial"/>
              </a:rPr>
              <a:t>La démarche « ambassadeur Mon espace santé » est un programme mis en place par la Délégation ministérielle du numérique en santé qui a pour ambition </a:t>
            </a:r>
            <a:r>
              <a:rPr lang="fr-FR" sz="1300" b="1">
                <a:solidFill>
                  <a:srgbClr val="000000"/>
                </a:solidFill>
                <a:latin typeface="Arial"/>
                <a:cs typeface="Arial"/>
              </a:rPr>
              <a:t>d’accompagner tous les citoyens dans la prise en main de Mon espace santé, et notamment ceux éloignés du numérique.</a:t>
            </a:r>
          </a:p>
          <a:p>
            <a:pPr algn="just" defTabSz="293248">
              <a:spcBef>
                <a:spcPts val="600"/>
              </a:spcBef>
              <a:spcAft>
                <a:spcPts val="600"/>
              </a:spcAft>
            </a:pPr>
            <a:r>
              <a:rPr lang="fr-FR" sz="1300" b="1">
                <a:solidFill>
                  <a:srgbClr val="000000"/>
                </a:solidFill>
                <a:latin typeface="Arial"/>
                <a:cs typeface="Arial"/>
              </a:rPr>
              <a:t>L’ambassadeur </a:t>
            </a:r>
            <a:r>
              <a:rPr lang="fr-FR" sz="1300">
                <a:solidFill>
                  <a:srgbClr val="000000"/>
                </a:solidFill>
                <a:latin typeface="Arial"/>
                <a:cs typeface="Arial"/>
              </a:rPr>
              <a:t>est un volontaire issu du monde de la médiation numérique, de la santé ou d’autres réseaux professionnels, capable de présenter et former le citoyen à l’usage de Mon espace santé. </a:t>
            </a:r>
          </a:p>
          <a:p>
            <a:pPr algn="just" defTabSz="293248">
              <a:spcBef>
                <a:spcPts val="600"/>
              </a:spcBef>
              <a:spcAft>
                <a:spcPts val="600"/>
              </a:spcAft>
            </a:pPr>
            <a:r>
              <a:rPr lang="fr-FR" sz="1300" b="1">
                <a:solidFill>
                  <a:srgbClr val="000000"/>
                </a:solidFill>
                <a:latin typeface="Arial"/>
                <a:cs typeface="Arial"/>
              </a:rPr>
              <a:t>Un ambassadeur Mon espace santé dispose d’un rôle varié en fonction de sa disponibilité, ses missions professionnelles et son appétence</a:t>
            </a:r>
            <a:r>
              <a:rPr lang="fr-FR" sz="1300">
                <a:solidFill>
                  <a:srgbClr val="000000"/>
                </a:solidFill>
                <a:latin typeface="Arial"/>
                <a:cs typeface="Arial"/>
              </a:rPr>
              <a:t>. Il peut réaliser des missions de sensibilisation, information et communication à destination du public qu’il accompagne, comme choisir de se mobiliser pour réaliser des ateliers de sensibilisation et actions au plus près du terrain. Vous pouvez être un relais vers les autres dispositifs, lieux et services d'inclusion numérique portés par l’Etat (France Services, Aidant </a:t>
            </a:r>
            <a:r>
              <a:rPr lang="fr-FR" sz="1300" err="1">
                <a:solidFill>
                  <a:srgbClr val="000000"/>
                </a:solidFill>
                <a:latin typeface="Arial"/>
                <a:cs typeface="Arial"/>
              </a:rPr>
              <a:t>Connect</a:t>
            </a:r>
            <a:r>
              <a:rPr lang="fr-FR" sz="1300">
                <a:solidFill>
                  <a:srgbClr val="000000"/>
                </a:solidFill>
                <a:latin typeface="Arial"/>
                <a:cs typeface="Arial"/>
              </a:rPr>
              <a:t>, ...) ou les structures de médiation numérique. De même, si vous disposez d’un espace physique, vous pouvez accueillir d’autres ambassadeurs pour venir présenter Mon espace santé ou animer un atelier. </a:t>
            </a:r>
          </a:p>
        </p:txBody>
      </p:sp>
      <p:sp>
        <p:nvSpPr>
          <p:cNvPr id="29" name="TextBox 28">
            <a:extLst>
              <a:ext uri="{FF2B5EF4-FFF2-40B4-BE49-F238E27FC236}">
                <a16:creationId xmlns:a16="http://schemas.microsoft.com/office/drawing/2014/main" id="{CB85B56B-8751-4720-85AE-AB272BD91C4A}"/>
              </a:ext>
            </a:extLst>
          </p:cNvPr>
          <p:cNvSpPr txBox="1"/>
          <p:nvPr/>
        </p:nvSpPr>
        <p:spPr>
          <a:xfrm>
            <a:off x="811403" y="1808481"/>
            <a:ext cx="4680000" cy="360000"/>
          </a:xfrm>
          <a:prstGeom prst="rect">
            <a:avLst/>
          </a:prstGeom>
          <a:noFill/>
        </p:spPr>
        <p:txBody>
          <a:bodyPr wrap="square">
            <a:spAutoFit/>
          </a:bodyPr>
          <a:lstStyle/>
          <a:p>
            <a:pPr defTabSz="293248"/>
            <a:r>
              <a:rPr lang="fr-FR" b="1">
                <a:solidFill>
                  <a:prstClr val="black"/>
                </a:solidFill>
                <a:latin typeface="Arial Narrow" panose="020B0606020202030204" pitchFamily="34" charset="0"/>
                <a:cs typeface="Arial" panose="020B0604020202020204" pitchFamily="34" charset="0"/>
              </a:rPr>
              <a:t>Qu’est-ce qu’un ambassadeur Mon espace santé</a:t>
            </a:r>
          </a:p>
        </p:txBody>
      </p:sp>
      <p:cxnSp>
        <p:nvCxnSpPr>
          <p:cNvPr id="34" name="Straight Connector 33">
            <a:extLst>
              <a:ext uri="{FF2B5EF4-FFF2-40B4-BE49-F238E27FC236}">
                <a16:creationId xmlns:a16="http://schemas.microsoft.com/office/drawing/2014/main" id="{FD499368-49ED-4A75-A5ED-DBF03A5C6EC6}"/>
              </a:ext>
            </a:extLst>
          </p:cNvPr>
          <p:cNvCxnSpPr/>
          <p:nvPr/>
        </p:nvCxnSpPr>
        <p:spPr>
          <a:xfrm>
            <a:off x="908227" y="2165368"/>
            <a:ext cx="1322251" cy="0"/>
          </a:xfrm>
          <a:prstGeom prst="line">
            <a:avLst/>
          </a:prstGeom>
          <a:ln w="38100">
            <a:solidFill>
              <a:srgbClr val="E83182"/>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7712E63D-DA8C-4FC8-A024-88F5B2B9C27C}"/>
              </a:ext>
            </a:extLst>
          </p:cNvPr>
          <p:cNvSpPr txBox="1"/>
          <p:nvPr/>
        </p:nvSpPr>
        <p:spPr>
          <a:xfrm>
            <a:off x="417011" y="1651607"/>
            <a:ext cx="309248" cy="769441"/>
          </a:xfrm>
          <a:prstGeom prst="rect">
            <a:avLst/>
          </a:prstGeom>
          <a:noFill/>
        </p:spPr>
        <p:txBody>
          <a:bodyPr wrap="square">
            <a:spAutoFit/>
          </a:bodyPr>
          <a:lstStyle/>
          <a:p>
            <a:pPr defTabSz="293248"/>
            <a:r>
              <a:rPr lang="fr-FR" sz="4400" b="1">
                <a:solidFill>
                  <a:srgbClr val="E83182"/>
                </a:solidFill>
                <a:latin typeface="Arial" panose="020B0604020202020204" pitchFamily="34" charset="0"/>
                <a:cs typeface="Arial" panose="020B0604020202020204" pitchFamily="34" charset="0"/>
              </a:rPr>
              <a:t>?</a:t>
            </a:r>
          </a:p>
        </p:txBody>
      </p:sp>
      <p:grpSp>
        <p:nvGrpSpPr>
          <p:cNvPr id="45" name="Group 44">
            <a:extLst>
              <a:ext uri="{FF2B5EF4-FFF2-40B4-BE49-F238E27FC236}">
                <a16:creationId xmlns:a16="http://schemas.microsoft.com/office/drawing/2014/main" id="{43BC27A2-CF93-46C3-B838-355C3C80A534}"/>
              </a:ext>
            </a:extLst>
          </p:cNvPr>
          <p:cNvGrpSpPr/>
          <p:nvPr/>
        </p:nvGrpSpPr>
        <p:grpSpPr>
          <a:xfrm>
            <a:off x="735409" y="4897092"/>
            <a:ext cx="10737904" cy="1137756"/>
            <a:chOff x="447735" y="3751340"/>
            <a:chExt cx="4172109" cy="1339120"/>
          </a:xfrm>
        </p:grpSpPr>
        <p:sp>
          <p:nvSpPr>
            <p:cNvPr id="33" name="Rectangle 32">
              <a:extLst>
                <a:ext uri="{FF2B5EF4-FFF2-40B4-BE49-F238E27FC236}">
                  <a16:creationId xmlns:a16="http://schemas.microsoft.com/office/drawing/2014/main" id="{4BC20CA8-060B-4BA6-A6AF-B9807EA4B97D}"/>
                </a:ext>
              </a:extLst>
            </p:cNvPr>
            <p:cNvSpPr/>
            <p:nvPr/>
          </p:nvSpPr>
          <p:spPr>
            <a:xfrm>
              <a:off x="447735" y="3751340"/>
              <a:ext cx="4172109" cy="1339120"/>
            </a:xfrm>
            <a:prstGeom prst="rect">
              <a:avLst/>
            </a:prstGeom>
            <a:noFill/>
            <a:ln>
              <a:solidFill>
                <a:srgbClr val="E8318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93248"/>
              <a:endParaRPr lang="fr-FR">
                <a:solidFill>
                  <a:prstClr val="white"/>
                </a:solidFill>
                <a:latin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id="{59D261E9-0765-4777-82F1-174D33B9C335}"/>
                </a:ext>
              </a:extLst>
            </p:cNvPr>
            <p:cNvSpPr txBox="1"/>
            <p:nvPr/>
          </p:nvSpPr>
          <p:spPr>
            <a:xfrm>
              <a:off x="544507" y="3812411"/>
              <a:ext cx="3990012" cy="1159193"/>
            </a:xfrm>
            <a:prstGeom prst="rect">
              <a:avLst/>
            </a:prstGeom>
            <a:noFill/>
          </p:spPr>
          <p:txBody>
            <a:bodyPr wrap="square">
              <a:spAutoFit/>
            </a:bodyPr>
            <a:lstStyle/>
            <a:p>
              <a:pPr algn="just" defTabSz="293248"/>
              <a:r>
                <a:rPr lang="fr-FR" sz="1200" b="1" u="sng">
                  <a:solidFill>
                    <a:srgbClr val="E83182"/>
                  </a:solidFill>
                  <a:latin typeface="Arial" panose="020B0604020202020204" pitchFamily="34" charset="0"/>
                  <a:cs typeface="Arial" panose="020B0604020202020204" pitchFamily="34" charset="0"/>
                </a:rPr>
                <a:t>Les missions de l’ambassadeur Mon espace santé : </a:t>
              </a:r>
            </a:p>
            <a:p>
              <a:pPr marL="171450" indent="-171450" algn="just" defTabSz="293248">
                <a:spcBef>
                  <a:spcPts val="385"/>
                </a:spcBef>
                <a:buFont typeface="Arial" panose="020B0604020202020204" pitchFamily="34" charset="0"/>
                <a:buChar char="•"/>
              </a:pPr>
              <a:r>
                <a:rPr lang="fr-FR" sz="1200">
                  <a:solidFill>
                    <a:srgbClr val="000000"/>
                  </a:solidFill>
                  <a:latin typeface="Arial" panose="020B0604020202020204" pitchFamily="34" charset="0"/>
                  <a:cs typeface="Arial" panose="020B0604020202020204" pitchFamily="34" charset="0"/>
                </a:rPr>
                <a:t>Informer et former les citoyens sur Mon espace santé</a:t>
              </a:r>
            </a:p>
            <a:p>
              <a:pPr marL="171450" indent="-171450" algn="just" defTabSz="293248">
                <a:spcBef>
                  <a:spcPts val="385"/>
                </a:spcBef>
                <a:buFont typeface="Arial" panose="020B0604020202020204" pitchFamily="34" charset="0"/>
                <a:buChar char="•"/>
              </a:pPr>
              <a:r>
                <a:rPr lang="fr-FR" sz="1200">
                  <a:solidFill>
                    <a:srgbClr val="000000"/>
                  </a:solidFill>
                  <a:latin typeface="Arial" panose="020B0604020202020204" pitchFamily="34" charset="0"/>
                  <a:cs typeface="Arial" panose="020B0604020202020204" pitchFamily="34" charset="0"/>
                </a:rPr>
                <a:t>Accompagner les citoyens vers l’autonomie, la prise en main de son compte Mon espace santé </a:t>
              </a:r>
            </a:p>
            <a:p>
              <a:pPr marL="171450" indent="-171450" algn="just" defTabSz="293248">
                <a:spcBef>
                  <a:spcPts val="385"/>
                </a:spcBef>
                <a:buFont typeface="Arial" panose="020B0604020202020204" pitchFamily="34" charset="0"/>
                <a:buChar char="•"/>
              </a:pPr>
              <a:r>
                <a:rPr lang="fr-FR" sz="1200">
                  <a:solidFill>
                    <a:srgbClr val="000000"/>
                  </a:solidFill>
                  <a:latin typeface="Arial" panose="020B0604020202020204" pitchFamily="34" charset="0"/>
                  <a:cs typeface="Arial" panose="020B0604020202020204" pitchFamily="34" charset="0"/>
                </a:rPr>
                <a:t>Déployer des actions en interne de sa structure et/ou son territoire en fonction des besoins identifiés par les usagers.</a:t>
              </a:r>
            </a:p>
          </p:txBody>
        </p:sp>
      </p:grpSp>
    </p:spTree>
    <p:extLst>
      <p:ext uri="{BB962C8B-B14F-4D97-AF65-F5344CB8AC3E}">
        <p14:creationId xmlns:p14="http://schemas.microsoft.com/office/powerpoint/2010/main" val="3574827652"/>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62C5FBFD-B6AD-411B-AA70-1C2B9A4E9321}"/>
              </a:ext>
            </a:extLst>
          </p:cNvPr>
          <p:cNvSpPr>
            <a:spLocks noGrp="1"/>
          </p:cNvSpPr>
          <p:nvPr>
            <p:ph type="sldNum" sz="quarter" idx="2"/>
          </p:nvPr>
        </p:nvSpPr>
        <p:spPr>
          <a:xfrm>
            <a:off x="11792336" y="6510245"/>
            <a:ext cx="166712" cy="241092"/>
          </a:xfrm>
        </p:spPr>
        <p:txBody>
          <a:bodyPr/>
          <a:lstStyle/>
          <a:p>
            <a:fld id="{86CB4B4D-7CA3-9044-876B-883B54F8677D}" type="slidenum">
              <a:rPr lang="fr-FR" smtClean="0"/>
              <a:t>35</a:t>
            </a:fld>
            <a:endParaRPr lang="fr-FR"/>
          </a:p>
        </p:txBody>
      </p:sp>
      <p:sp>
        <p:nvSpPr>
          <p:cNvPr id="4" name="Titre 3">
            <a:extLst>
              <a:ext uri="{FF2B5EF4-FFF2-40B4-BE49-F238E27FC236}">
                <a16:creationId xmlns:a16="http://schemas.microsoft.com/office/drawing/2014/main" id="{38EA9DC3-4DBC-48ED-90A4-8728EF7508B0}"/>
              </a:ext>
            </a:extLst>
          </p:cNvPr>
          <p:cNvSpPr>
            <a:spLocks noGrp="1"/>
          </p:cNvSpPr>
          <p:nvPr>
            <p:ph type="title"/>
          </p:nvPr>
        </p:nvSpPr>
        <p:spPr>
          <a:xfrm>
            <a:off x="2313517" y="16625"/>
            <a:ext cx="9306555" cy="1133342"/>
          </a:xfrm>
        </p:spPr>
        <p:txBody>
          <a:bodyPr>
            <a:normAutofit/>
          </a:bodyPr>
          <a:lstStyle/>
          <a:p>
            <a:r>
              <a:rPr lang="fr-FR" kern="1200">
                <a:cs typeface="Arial"/>
              </a:rPr>
              <a:t>Les coordinateurs régionaux</a:t>
            </a:r>
          </a:p>
        </p:txBody>
      </p:sp>
      <p:sp>
        <p:nvSpPr>
          <p:cNvPr id="32" name="TextBox 31">
            <a:extLst>
              <a:ext uri="{FF2B5EF4-FFF2-40B4-BE49-F238E27FC236}">
                <a16:creationId xmlns:a16="http://schemas.microsoft.com/office/drawing/2014/main" id="{3E4FE2CE-BE1D-4C5C-969B-AB63E4701170}"/>
              </a:ext>
            </a:extLst>
          </p:cNvPr>
          <p:cNvSpPr txBox="1"/>
          <p:nvPr/>
        </p:nvSpPr>
        <p:spPr>
          <a:xfrm>
            <a:off x="632728" y="2350881"/>
            <a:ext cx="5544179" cy="892552"/>
          </a:xfrm>
          <a:prstGeom prst="rect">
            <a:avLst/>
          </a:prstGeom>
          <a:noFill/>
        </p:spPr>
        <p:txBody>
          <a:bodyPr wrap="square">
            <a:spAutoFit/>
          </a:bodyPr>
          <a:lstStyle/>
          <a:p>
            <a:pPr algn="just" defTabSz="293248" fontAlgn="base"/>
            <a:r>
              <a:rPr lang="fr-FR" sz="1300" b="1">
                <a:solidFill>
                  <a:srgbClr val="000000"/>
                </a:solidFill>
                <a:latin typeface="Arial" panose="020B0604020202020204" pitchFamily="34" charset="0"/>
                <a:cs typeface="Arial" panose="020B0604020202020204" pitchFamily="34" charset="0"/>
              </a:rPr>
              <a:t>18 coordinateurs régionaux </a:t>
            </a:r>
            <a:r>
              <a:rPr lang="fr-FR" sz="1300">
                <a:solidFill>
                  <a:srgbClr val="000000"/>
                </a:solidFill>
                <a:latin typeface="Arial" panose="020B0604020202020204" pitchFamily="34" charset="0"/>
                <a:cs typeface="Arial" panose="020B0604020202020204" pitchFamily="34" charset="0"/>
              </a:rPr>
              <a:t>Mon espace santé ont pour mission le recrutement et l’animation du dispositif ambassadeurs sur les territoires. </a:t>
            </a:r>
          </a:p>
          <a:p>
            <a:pPr algn="just" defTabSz="293248" fontAlgn="base"/>
            <a:r>
              <a:rPr lang="fr-FR" sz="1300">
                <a:solidFill>
                  <a:srgbClr val="000000"/>
                </a:solidFill>
                <a:latin typeface="Arial" panose="020B0604020202020204" pitchFamily="34" charset="0"/>
                <a:cs typeface="Arial" panose="020B0604020202020204" pitchFamily="34" charset="0"/>
              </a:rPr>
              <a:t>Ce coordinateur sera votre point de contact privilégié et il est notamment chargé d’animer le réseau des ambassadeurs sur le territoire. </a:t>
            </a:r>
          </a:p>
        </p:txBody>
      </p:sp>
      <p:sp>
        <p:nvSpPr>
          <p:cNvPr id="31" name="TextBox 30">
            <a:extLst>
              <a:ext uri="{FF2B5EF4-FFF2-40B4-BE49-F238E27FC236}">
                <a16:creationId xmlns:a16="http://schemas.microsoft.com/office/drawing/2014/main" id="{1B19CF01-A2DC-45A6-8BB4-DAC0EF4BC631}"/>
              </a:ext>
            </a:extLst>
          </p:cNvPr>
          <p:cNvSpPr txBox="1"/>
          <p:nvPr/>
        </p:nvSpPr>
        <p:spPr>
          <a:xfrm>
            <a:off x="749032" y="1792110"/>
            <a:ext cx="4680000" cy="360000"/>
          </a:xfrm>
          <a:prstGeom prst="rect">
            <a:avLst/>
          </a:prstGeom>
          <a:noFill/>
        </p:spPr>
        <p:txBody>
          <a:bodyPr wrap="square">
            <a:spAutoFit/>
          </a:bodyPr>
          <a:lstStyle/>
          <a:p>
            <a:pPr defTabSz="293248"/>
            <a:r>
              <a:rPr lang="fr-FR" b="1">
                <a:solidFill>
                  <a:prstClr val="black"/>
                </a:solidFill>
                <a:latin typeface="Arial Narrow" panose="020B0606020202030204" pitchFamily="34" charset="0"/>
                <a:cs typeface="Arial" panose="020B0604020202020204" pitchFamily="34" charset="0"/>
              </a:rPr>
              <a:t>Quel est le rôle du coordinateur régional</a:t>
            </a:r>
            <a:endParaRPr lang="fr-FR" sz="1100" b="1">
              <a:solidFill>
                <a:prstClr val="white"/>
              </a:solidFill>
              <a:highlight>
                <a:srgbClr val="E83182"/>
              </a:highlight>
              <a:latin typeface="Arial" panose="020B0604020202020204" pitchFamily="34" charset="0"/>
              <a:cs typeface="Arial" panose="020B0604020202020204" pitchFamily="34" charset="0"/>
            </a:endParaRPr>
          </a:p>
        </p:txBody>
      </p:sp>
      <p:cxnSp>
        <p:nvCxnSpPr>
          <p:cNvPr id="38" name="Straight Connector 37">
            <a:extLst>
              <a:ext uri="{FF2B5EF4-FFF2-40B4-BE49-F238E27FC236}">
                <a16:creationId xmlns:a16="http://schemas.microsoft.com/office/drawing/2014/main" id="{4AC20186-1F55-4149-8995-545B1034F5F3}"/>
              </a:ext>
            </a:extLst>
          </p:cNvPr>
          <p:cNvCxnSpPr/>
          <p:nvPr/>
        </p:nvCxnSpPr>
        <p:spPr>
          <a:xfrm>
            <a:off x="844261" y="2148292"/>
            <a:ext cx="1322251" cy="0"/>
          </a:xfrm>
          <a:prstGeom prst="line">
            <a:avLst/>
          </a:prstGeom>
          <a:ln w="38100">
            <a:solidFill>
              <a:srgbClr val="E83182"/>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CD8C7081-08D8-4582-9171-5AF15B5E688D}"/>
              </a:ext>
            </a:extLst>
          </p:cNvPr>
          <p:cNvSpPr txBox="1"/>
          <p:nvPr/>
        </p:nvSpPr>
        <p:spPr>
          <a:xfrm>
            <a:off x="370629" y="1632356"/>
            <a:ext cx="309248" cy="769441"/>
          </a:xfrm>
          <a:prstGeom prst="rect">
            <a:avLst/>
          </a:prstGeom>
          <a:noFill/>
        </p:spPr>
        <p:txBody>
          <a:bodyPr wrap="square">
            <a:spAutoFit/>
          </a:bodyPr>
          <a:lstStyle/>
          <a:p>
            <a:pPr defTabSz="293248"/>
            <a:r>
              <a:rPr lang="fr-FR" sz="4400" b="1">
                <a:solidFill>
                  <a:srgbClr val="E83182"/>
                </a:solidFill>
                <a:latin typeface="Arial" panose="020B0604020202020204" pitchFamily="34" charset="0"/>
                <a:cs typeface="Arial" panose="020B0604020202020204" pitchFamily="34" charset="0"/>
              </a:rPr>
              <a:t>?</a:t>
            </a:r>
          </a:p>
        </p:txBody>
      </p:sp>
      <p:grpSp>
        <p:nvGrpSpPr>
          <p:cNvPr id="44" name="Group 43">
            <a:extLst>
              <a:ext uri="{FF2B5EF4-FFF2-40B4-BE49-F238E27FC236}">
                <a16:creationId xmlns:a16="http://schemas.microsoft.com/office/drawing/2014/main" id="{9613BC64-7DC2-4355-AD97-2BDE46671143}"/>
              </a:ext>
            </a:extLst>
          </p:cNvPr>
          <p:cNvGrpSpPr/>
          <p:nvPr/>
        </p:nvGrpSpPr>
        <p:grpSpPr>
          <a:xfrm>
            <a:off x="689026" y="3553932"/>
            <a:ext cx="5479241" cy="2634377"/>
            <a:chOff x="6226562" y="3232839"/>
            <a:chExt cx="4160613" cy="2583591"/>
          </a:xfrm>
        </p:grpSpPr>
        <p:sp>
          <p:nvSpPr>
            <p:cNvPr id="39" name="Rectangle 38">
              <a:extLst>
                <a:ext uri="{FF2B5EF4-FFF2-40B4-BE49-F238E27FC236}">
                  <a16:creationId xmlns:a16="http://schemas.microsoft.com/office/drawing/2014/main" id="{DF01FC32-EB85-488C-9EAF-17153149B6DE}"/>
                </a:ext>
              </a:extLst>
            </p:cNvPr>
            <p:cNvSpPr/>
            <p:nvPr/>
          </p:nvSpPr>
          <p:spPr>
            <a:xfrm>
              <a:off x="6226562" y="3232839"/>
              <a:ext cx="4160613" cy="2583591"/>
            </a:xfrm>
            <a:prstGeom prst="rect">
              <a:avLst/>
            </a:prstGeom>
            <a:noFill/>
            <a:ln>
              <a:solidFill>
                <a:srgbClr val="E8318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93248"/>
              <a:endParaRPr lang="fr-FR">
                <a:solidFill>
                  <a:prstClr val="white"/>
                </a:solidFill>
                <a:latin typeface="Arial" panose="020B0604020202020204" pitchFamily="34" charset="0"/>
                <a:cs typeface="Arial" panose="020B0604020202020204" pitchFamily="34" charset="0"/>
              </a:endParaRPr>
            </a:p>
          </p:txBody>
        </p:sp>
        <p:sp>
          <p:nvSpPr>
            <p:cNvPr id="43" name="TextBox 42">
              <a:extLst>
                <a:ext uri="{FF2B5EF4-FFF2-40B4-BE49-F238E27FC236}">
                  <a16:creationId xmlns:a16="http://schemas.microsoft.com/office/drawing/2014/main" id="{BE25E877-E672-4DEE-998F-917C0D31225C}"/>
                </a:ext>
              </a:extLst>
            </p:cNvPr>
            <p:cNvSpPr txBox="1"/>
            <p:nvPr/>
          </p:nvSpPr>
          <p:spPr>
            <a:xfrm>
              <a:off x="6323334" y="3277022"/>
              <a:ext cx="4032252" cy="2457736"/>
            </a:xfrm>
            <a:prstGeom prst="rect">
              <a:avLst/>
            </a:prstGeom>
            <a:solidFill>
              <a:schemeClr val="bg1"/>
            </a:solidFill>
          </p:spPr>
          <p:txBody>
            <a:bodyPr wrap="square" lIns="58652" tIns="29326" rIns="58652" bIns="29326" anchor="t">
              <a:spAutoFit/>
            </a:bodyPr>
            <a:lstStyle/>
            <a:p>
              <a:pPr defTabSz="293248"/>
              <a:r>
                <a:rPr lang="fr-FR" sz="1200" b="1" u="sng">
                  <a:solidFill>
                    <a:srgbClr val="E83182"/>
                  </a:solidFill>
                  <a:latin typeface="Arial" panose="020B0604020202020204" pitchFamily="34" charset="0"/>
                  <a:cs typeface="Arial" panose="020B0604020202020204" pitchFamily="34" charset="0"/>
                </a:rPr>
                <a:t>Les missions du coordinateur Mon espace santé : </a:t>
              </a:r>
            </a:p>
            <a:p>
              <a:pPr marL="109968" indent="-109968" defTabSz="293248">
                <a:spcBef>
                  <a:spcPts val="385"/>
                </a:spcBef>
                <a:buFont typeface="Arial" panose="020B0604020202020204" pitchFamily="34" charset="0"/>
                <a:buChar char="•"/>
              </a:pPr>
              <a:r>
                <a:rPr lang="fr-FR" sz="1200">
                  <a:solidFill>
                    <a:srgbClr val="000000"/>
                  </a:solidFill>
                  <a:latin typeface="Arial" panose="020B0604020202020204" pitchFamily="34" charset="0"/>
                  <a:cs typeface="Arial" panose="020B0604020202020204" pitchFamily="34" charset="0"/>
                </a:rPr>
                <a:t>Constituer et développer le réseau des Ambassadeurs à l’échelle de la région en y associant des partenaires régionaux </a:t>
              </a:r>
            </a:p>
            <a:p>
              <a:pPr defTabSz="293248">
                <a:spcBef>
                  <a:spcPts val="192"/>
                </a:spcBef>
              </a:pPr>
              <a:r>
                <a:rPr lang="fr-FR" sz="1200">
                  <a:solidFill>
                    <a:srgbClr val="E83182"/>
                  </a:solidFill>
                  <a:latin typeface="Arial" panose="020B0604020202020204" pitchFamily="34" charset="0"/>
                  <a:cs typeface="Arial" panose="020B0604020202020204" pitchFamily="34" charset="0"/>
                  <a:sym typeface="Wingdings" panose="05000000000000000000" pitchFamily="2" charset="2"/>
                </a:rPr>
                <a:t> Ils peuvent vous informer à tout moment des actions menées sur Mon espace santé pour informer vos accompagnés ou vous-même. </a:t>
              </a:r>
              <a:endParaRPr lang="fr-FR" sz="1200">
                <a:solidFill>
                  <a:srgbClr val="E83182"/>
                </a:solidFill>
                <a:latin typeface="Arial" panose="020B0604020202020204" pitchFamily="34" charset="0"/>
                <a:cs typeface="Arial" panose="020B0604020202020204" pitchFamily="34" charset="0"/>
              </a:endParaRPr>
            </a:p>
            <a:p>
              <a:pPr marL="109968" indent="-109968" defTabSz="293248">
                <a:spcBef>
                  <a:spcPts val="385"/>
                </a:spcBef>
                <a:buFont typeface="Arial" panose="020B0604020202020204" pitchFamily="34" charset="0"/>
                <a:buChar char="•"/>
              </a:pPr>
              <a:r>
                <a:rPr lang="fr-FR" sz="1200">
                  <a:solidFill>
                    <a:srgbClr val="000000"/>
                  </a:solidFill>
                  <a:latin typeface="Arial" panose="020B0604020202020204" pitchFamily="34" charset="0"/>
                  <a:cs typeface="Arial" panose="020B0604020202020204" pitchFamily="34" charset="0"/>
                </a:rPr>
                <a:t>Assurer la formation des ambassadeurs en lien avec la Délégation ministérielle au numérique en santé</a:t>
              </a:r>
            </a:p>
            <a:p>
              <a:pPr defTabSz="293248">
                <a:spcBef>
                  <a:spcPts val="192"/>
                </a:spcBef>
              </a:pPr>
              <a:r>
                <a:rPr lang="fr-FR" sz="1200">
                  <a:solidFill>
                    <a:srgbClr val="E83182"/>
                  </a:solidFill>
                  <a:latin typeface="Arial" panose="020B0604020202020204" pitchFamily="34" charset="0"/>
                  <a:cs typeface="Arial" panose="020B0604020202020204" pitchFamily="34" charset="0"/>
                  <a:sym typeface="Wingdings" panose="05000000000000000000" pitchFamily="2" charset="2"/>
                </a:rPr>
                <a:t> Ils assurent un niveau de connaissance suffisant des ambassadeurs.</a:t>
              </a:r>
              <a:endParaRPr lang="fr-FR" sz="1200">
                <a:solidFill>
                  <a:srgbClr val="E83182"/>
                </a:solidFill>
                <a:latin typeface="Arial" panose="020B0604020202020204" pitchFamily="34" charset="0"/>
                <a:cs typeface="Arial" panose="020B0604020202020204" pitchFamily="34" charset="0"/>
              </a:endParaRPr>
            </a:p>
            <a:p>
              <a:pPr marL="109968" indent="-109968" defTabSz="293248">
                <a:spcBef>
                  <a:spcPts val="385"/>
                </a:spcBef>
                <a:buFont typeface="Arial" panose="020B0604020202020204" pitchFamily="34" charset="0"/>
                <a:buChar char="•"/>
              </a:pPr>
              <a:r>
                <a:rPr lang="fr-FR" sz="1200">
                  <a:solidFill>
                    <a:srgbClr val="000000"/>
                  </a:solidFill>
                  <a:latin typeface="Arial" panose="020B0604020202020204" pitchFamily="34" charset="0"/>
                  <a:cs typeface="Arial" panose="020B0604020202020204" pitchFamily="34" charset="0"/>
                </a:rPr>
                <a:t>Superviser le déploiement des actions de sensibilisation / formation par les ambassadeurs</a:t>
              </a:r>
            </a:p>
            <a:p>
              <a:pPr defTabSz="293248">
                <a:spcBef>
                  <a:spcPts val="192"/>
                </a:spcBef>
              </a:pPr>
              <a:r>
                <a:rPr lang="fr-FR" sz="1200">
                  <a:solidFill>
                    <a:srgbClr val="E83182"/>
                  </a:solidFill>
                  <a:latin typeface="Arial" panose="020B0604020202020204" pitchFamily="34" charset="0"/>
                  <a:cs typeface="Arial" panose="020B0604020202020204" pitchFamily="34" charset="0"/>
                  <a:sym typeface="Wingdings" panose="05000000000000000000" pitchFamily="2" charset="2"/>
                </a:rPr>
                <a:t> Ils peuvent vous accompagner dans la mise en place d’action de sensibilisation au sein de votre structure.</a:t>
              </a:r>
              <a:endParaRPr lang="fr-FR" sz="1200">
                <a:solidFill>
                  <a:srgbClr val="E83182"/>
                </a:solidFill>
                <a:latin typeface="Arial" panose="020B0604020202020204" pitchFamily="34" charset="0"/>
                <a:cs typeface="Arial" panose="020B0604020202020204" pitchFamily="34" charset="0"/>
              </a:endParaRPr>
            </a:p>
          </p:txBody>
        </p:sp>
      </p:grpSp>
      <p:cxnSp>
        <p:nvCxnSpPr>
          <p:cNvPr id="21" name="Straight Connector 20">
            <a:extLst>
              <a:ext uri="{FF2B5EF4-FFF2-40B4-BE49-F238E27FC236}">
                <a16:creationId xmlns:a16="http://schemas.microsoft.com/office/drawing/2014/main" id="{59BFF804-33A5-4CED-9F15-6D04A321B3AE}"/>
              </a:ext>
            </a:extLst>
          </p:cNvPr>
          <p:cNvCxnSpPr>
            <a:cxnSpLocks/>
          </p:cNvCxnSpPr>
          <p:nvPr/>
        </p:nvCxnSpPr>
        <p:spPr>
          <a:xfrm>
            <a:off x="6677709" y="2013910"/>
            <a:ext cx="4942363" cy="8073"/>
          </a:xfrm>
          <a:prstGeom prst="line">
            <a:avLst/>
          </a:prstGeom>
          <a:ln w="38100">
            <a:solidFill>
              <a:srgbClr val="005CA9"/>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2BEAED66-F118-4882-B44C-05B99715A93E}"/>
              </a:ext>
            </a:extLst>
          </p:cNvPr>
          <p:cNvSpPr/>
          <p:nvPr/>
        </p:nvSpPr>
        <p:spPr>
          <a:xfrm>
            <a:off x="6748413" y="6120684"/>
            <a:ext cx="4902219" cy="500372"/>
          </a:xfrm>
          <a:prstGeom prst="rect">
            <a:avLst/>
          </a:prstGeom>
          <a:solidFill>
            <a:srgbClr val="FAD1DF"/>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93248"/>
            <a:endParaRPr lang="fr-FR" sz="1155">
              <a:solidFill>
                <a:prstClr val="white"/>
              </a:solidFill>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796EB2BF-8638-4A14-8FB6-DEF40B6D3AED}"/>
              </a:ext>
            </a:extLst>
          </p:cNvPr>
          <p:cNvSpPr txBox="1"/>
          <p:nvPr/>
        </p:nvSpPr>
        <p:spPr>
          <a:xfrm>
            <a:off x="6855875" y="6136937"/>
            <a:ext cx="4936460" cy="230512"/>
          </a:xfrm>
          <a:prstGeom prst="rect">
            <a:avLst/>
          </a:prstGeom>
          <a:noFill/>
        </p:spPr>
        <p:txBody>
          <a:bodyPr wrap="square">
            <a:spAutoFit/>
          </a:bodyPr>
          <a:lstStyle/>
          <a:p>
            <a:pPr defTabSz="293248"/>
            <a:r>
              <a:rPr lang="fr-FR" sz="898" b="1" i="1">
                <a:solidFill>
                  <a:prstClr val="black"/>
                </a:solidFill>
                <a:highlight>
                  <a:srgbClr val="FFFFFF"/>
                </a:highlight>
                <a:latin typeface="Arial Narrow" panose="020B0606020202030204" pitchFamily="34" charset="0"/>
                <a:cs typeface="Arial" panose="020B0604020202020204" pitchFamily="34" charset="0"/>
              </a:rPr>
              <a:t>Votre coordinateur n’est pas recruté ou vous souhaitez être tenus informés des actualités du national ?</a:t>
            </a:r>
          </a:p>
        </p:txBody>
      </p:sp>
      <p:sp>
        <p:nvSpPr>
          <p:cNvPr id="25" name="TextBox 24">
            <a:extLst>
              <a:ext uri="{FF2B5EF4-FFF2-40B4-BE49-F238E27FC236}">
                <a16:creationId xmlns:a16="http://schemas.microsoft.com/office/drawing/2014/main" id="{BF5A557A-6D00-4247-A6B8-0CB37808FA07}"/>
              </a:ext>
            </a:extLst>
          </p:cNvPr>
          <p:cNvSpPr txBox="1"/>
          <p:nvPr/>
        </p:nvSpPr>
        <p:spPr>
          <a:xfrm>
            <a:off x="6916288" y="6304447"/>
            <a:ext cx="3776833" cy="270074"/>
          </a:xfrm>
          <a:prstGeom prst="rect">
            <a:avLst/>
          </a:prstGeom>
          <a:noFill/>
        </p:spPr>
        <p:txBody>
          <a:bodyPr wrap="square">
            <a:spAutoFit/>
          </a:bodyPr>
          <a:lstStyle/>
          <a:p>
            <a:pPr defTabSz="293248"/>
            <a:r>
              <a:rPr lang="fr-FR" sz="1155" b="1">
                <a:solidFill>
                  <a:schemeClr val="tx1">
                    <a:lumMod val="50000"/>
                  </a:schemeClr>
                </a:solidFill>
                <a:latin typeface="Arial Narrow" panose="020B0606020202030204" pitchFamily="34" charset="0"/>
                <a:cs typeface="Arial" panose="020B0604020202020204" pitchFamily="34" charset="0"/>
              </a:rPr>
              <a:t>Contactez : </a:t>
            </a:r>
            <a:r>
              <a:rPr lang="fr-FR" sz="1155" b="1" u="sng">
                <a:solidFill>
                  <a:srgbClr val="E83182"/>
                </a:solidFill>
                <a:latin typeface="Arial Narrow" panose="020B0606020202030204" pitchFamily="34" charset="0"/>
                <a:cs typeface="Arial" panose="020B0604020202020204" pitchFamily="34" charset="0"/>
              </a:rPr>
              <a:t>dns-ambassadeurs@sante.gouv.fr</a:t>
            </a:r>
          </a:p>
        </p:txBody>
      </p:sp>
      <p:cxnSp>
        <p:nvCxnSpPr>
          <p:cNvPr id="26" name="Straight Connector 25">
            <a:extLst>
              <a:ext uri="{FF2B5EF4-FFF2-40B4-BE49-F238E27FC236}">
                <a16:creationId xmlns:a16="http://schemas.microsoft.com/office/drawing/2014/main" id="{3242D042-0725-44F0-B56E-0B72B6F2D996}"/>
              </a:ext>
            </a:extLst>
          </p:cNvPr>
          <p:cNvCxnSpPr>
            <a:cxnSpLocks/>
          </p:cNvCxnSpPr>
          <p:nvPr/>
        </p:nvCxnSpPr>
        <p:spPr>
          <a:xfrm>
            <a:off x="6842772" y="6188309"/>
            <a:ext cx="0" cy="396000"/>
          </a:xfrm>
          <a:prstGeom prst="line">
            <a:avLst/>
          </a:prstGeom>
          <a:ln w="38100">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A06A571B-D6A8-4F17-AE8C-8CF771965CF2}"/>
              </a:ext>
            </a:extLst>
          </p:cNvPr>
          <p:cNvGrpSpPr>
            <a:grpSpLocks noChangeAspect="1"/>
          </p:cNvGrpSpPr>
          <p:nvPr/>
        </p:nvGrpSpPr>
        <p:grpSpPr>
          <a:xfrm>
            <a:off x="6917394" y="2514817"/>
            <a:ext cx="4733239" cy="3276000"/>
            <a:chOff x="2888362" y="3906294"/>
            <a:chExt cx="1065540" cy="731493"/>
          </a:xfrm>
          <a:solidFill>
            <a:srgbClr val="5E74B8">
              <a:lumMod val="20000"/>
              <a:lumOff val="80000"/>
            </a:srgbClr>
          </a:solidFill>
        </p:grpSpPr>
        <p:sp>
          <p:nvSpPr>
            <p:cNvPr id="28" name="Freeform 6">
              <a:extLst>
                <a:ext uri="{FF2B5EF4-FFF2-40B4-BE49-F238E27FC236}">
                  <a16:creationId xmlns:a16="http://schemas.microsoft.com/office/drawing/2014/main" id="{7A09F366-0765-4585-9FCC-847C6A9C0815}"/>
                </a:ext>
              </a:extLst>
            </p:cNvPr>
            <p:cNvSpPr>
              <a:spLocks noChangeAspect="1"/>
            </p:cNvSpPr>
            <p:nvPr/>
          </p:nvSpPr>
          <p:spPr bwMode="auto">
            <a:xfrm>
              <a:off x="3425986" y="4066486"/>
              <a:ext cx="158741" cy="193254"/>
            </a:xfrm>
            <a:custGeom>
              <a:avLst/>
              <a:gdLst>
                <a:gd name="T0" fmla="*/ 812 w 20000"/>
                <a:gd name="T1" fmla="*/ 806 h 20000"/>
                <a:gd name="T2" fmla="*/ 777 w 20000"/>
                <a:gd name="T3" fmla="*/ 845 h 20000"/>
                <a:gd name="T4" fmla="*/ 735 w 20000"/>
                <a:gd name="T5" fmla="*/ 873 h 20000"/>
                <a:gd name="T6" fmla="*/ 696 w 20000"/>
                <a:gd name="T7" fmla="*/ 894 h 20000"/>
                <a:gd name="T8" fmla="*/ 689 w 20000"/>
                <a:gd name="T9" fmla="*/ 932 h 20000"/>
                <a:gd name="T10" fmla="*/ 626 w 20000"/>
                <a:gd name="T11" fmla="*/ 954 h 20000"/>
                <a:gd name="T12" fmla="*/ 577 w 20000"/>
                <a:gd name="T13" fmla="*/ 989 h 20000"/>
                <a:gd name="T14" fmla="*/ 520 w 20000"/>
                <a:gd name="T15" fmla="*/ 989 h 20000"/>
                <a:gd name="T16" fmla="*/ 467 w 20000"/>
                <a:gd name="T17" fmla="*/ 978 h 20000"/>
                <a:gd name="T18" fmla="*/ 429 w 20000"/>
                <a:gd name="T19" fmla="*/ 1003 h 20000"/>
                <a:gd name="T20" fmla="*/ 390 w 20000"/>
                <a:gd name="T21" fmla="*/ 995 h 20000"/>
                <a:gd name="T22" fmla="*/ 351 w 20000"/>
                <a:gd name="T23" fmla="*/ 999 h 20000"/>
                <a:gd name="T24" fmla="*/ 309 w 20000"/>
                <a:gd name="T25" fmla="*/ 1003 h 20000"/>
                <a:gd name="T26" fmla="*/ 292 w 20000"/>
                <a:gd name="T27" fmla="*/ 978 h 20000"/>
                <a:gd name="T28" fmla="*/ 246 w 20000"/>
                <a:gd name="T29" fmla="*/ 929 h 20000"/>
                <a:gd name="T30" fmla="*/ 229 w 20000"/>
                <a:gd name="T31" fmla="*/ 866 h 20000"/>
                <a:gd name="T32" fmla="*/ 204 w 20000"/>
                <a:gd name="T33" fmla="*/ 834 h 20000"/>
                <a:gd name="T34" fmla="*/ 176 w 20000"/>
                <a:gd name="T35" fmla="*/ 796 h 20000"/>
                <a:gd name="T36" fmla="*/ 144 w 20000"/>
                <a:gd name="T37" fmla="*/ 757 h 20000"/>
                <a:gd name="T38" fmla="*/ 105 w 20000"/>
                <a:gd name="T39" fmla="*/ 782 h 20000"/>
                <a:gd name="T40" fmla="*/ 67 w 20000"/>
                <a:gd name="T41" fmla="*/ 757 h 20000"/>
                <a:gd name="T42" fmla="*/ 39 w 20000"/>
                <a:gd name="T43" fmla="*/ 722 h 20000"/>
                <a:gd name="T44" fmla="*/ 4 w 20000"/>
                <a:gd name="T45" fmla="*/ 701 h 20000"/>
                <a:gd name="T46" fmla="*/ 28 w 20000"/>
                <a:gd name="T47" fmla="*/ 624 h 20000"/>
                <a:gd name="T48" fmla="*/ 49 w 20000"/>
                <a:gd name="T49" fmla="*/ 551 h 20000"/>
                <a:gd name="T50" fmla="*/ 99 w 20000"/>
                <a:gd name="T51" fmla="*/ 529 h 20000"/>
                <a:gd name="T52" fmla="*/ 151 w 20000"/>
                <a:gd name="T53" fmla="*/ 498 h 20000"/>
                <a:gd name="T54" fmla="*/ 179 w 20000"/>
                <a:gd name="T55" fmla="*/ 459 h 20000"/>
                <a:gd name="T56" fmla="*/ 211 w 20000"/>
                <a:gd name="T57" fmla="*/ 410 h 20000"/>
                <a:gd name="T58" fmla="*/ 208 w 20000"/>
                <a:gd name="T59" fmla="*/ 340 h 20000"/>
                <a:gd name="T60" fmla="*/ 232 w 20000"/>
                <a:gd name="T61" fmla="*/ 305 h 20000"/>
                <a:gd name="T62" fmla="*/ 211 w 20000"/>
                <a:gd name="T63" fmla="*/ 256 h 20000"/>
                <a:gd name="T64" fmla="*/ 229 w 20000"/>
                <a:gd name="T65" fmla="*/ 231 h 20000"/>
                <a:gd name="T66" fmla="*/ 253 w 20000"/>
                <a:gd name="T67" fmla="*/ 179 h 20000"/>
                <a:gd name="T68" fmla="*/ 232 w 20000"/>
                <a:gd name="T69" fmla="*/ 144 h 20000"/>
                <a:gd name="T70" fmla="*/ 239 w 20000"/>
                <a:gd name="T71" fmla="*/ 88 h 20000"/>
                <a:gd name="T72" fmla="*/ 299 w 20000"/>
                <a:gd name="T73" fmla="*/ 67 h 20000"/>
                <a:gd name="T74" fmla="*/ 348 w 20000"/>
                <a:gd name="T75" fmla="*/ 70 h 20000"/>
                <a:gd name="T76" fmla="*/ 373 w 20000"/>
                <a:gd name="T77" fmla="*/ 32 h 20000"/>
                <a:gd name="T78" fmla="*/ 397 w 20000"/>
                <a:gd name="T79" fmla="*/ 4 h 20000"/>
                <a:gd name="T80" fmla="*/ 415 w 20000"/>
                <a:gd name="T81" fmla="*/ 32 h 20000"/>
                <a:gd name="T82" fmla="*/ 419 w 20000"/>
                <a:gd name="T83" fmla="*/ 67 h 20000"/>
                <a:gd name="T84" fmla="*/ 425 w 20000"/>
                <a:gd name="T85" fmla="*/ 105 h 20000"/>
                <a:gd name="T86" fmla="*/ 450 w 20000"/>
                <a:gd name="T87" fmla="*/ 140 h 20000"/>
                <a:gd name="T88" fmla="*/ 485 w 20000"/>
                <a:gd name="T89" fmla="*/ 193 h 20000"/>
                <a:gd name="T90" fmla="*/ 517 w 20000"/>
                <a:gd name="T91" fmla="*/ 214 h 20000"/>
                <a:gd name="T92" fmla="*/ 538 w 20000"/>
                <a:gd name="T93" fmla="*/ 259 h 20000"/>
                <a:gd name="T94" fmla="*/ 580 w 20000"/>
                <a:gd name="T95" fmla="*/ 238 h 20000"/>
                <a:gd name="T96" fmla="*/ 623 w 20000"/>
                <a:gd name="T97" fmla="*/ 249 h 20000"/>
                <a:gd name="T98" fmla="*/ 664 w 20000"/>
                <a:gd name="T99" fmla="*/ 288 h 20000"/>
                <a:gd name="T100" fmla="*/ 668 w 20000"/>
                <a:gd name="T101" fmla="*/ 315 h 20000"/>
                <a:gd name="T102" fmla="*/ 728 w 20000"/>
                <a:gd name="T103" fmla="*/ 309 h 20000"/>
                <a:gd name="T104" fmla="*/ 781 w 20000"/>
                <a:gd name="T105" fmla="*/ 312 h 20000"/>
                <a:gd name="T106" fmla="*/ 815 w 20000"/>
                <a:gd name="T107" fmla="*/ 354 h 20000"/>
                <a:gd name="T108" fmla="*/ 815 w 20000"/>
                <a:gd name="T109" fmla="*/ 392 h 20000"/>
                <a:gd name="T110" fmla="*/ 798 w 20000"/>
                <a:gd name="T111" fmla="*/ 425 h 20000"/>
                <a:gd name="T112" fmla="*/ 752 w 20000"/>
                <a:gd name="T113" fmla="*/ 480 h 20000"/>
                <a:gd name="T114" fmla="*/ 777 w 20000"/>
                <a:gd name="T115" fmla="*/ 505 h 20000"/>
                <a:gd name="T116" fmla="*/ 759 w 20000"/>
                <a:gd name="T117" fmla="*/ 547 h 20000"/>
                <a:gd name="T118" fmla="*/ 766 w 20000"/>
                <a:gd name="T119" fmla="*/ 575 h 20000"/>
                <a:gd name="T120" fmla="*/ 770 w 20000"/>
                <a:gd name="T121" fmla="*/ 642 h 20000"/>
                <a:gd name="T122" fmla="*/ 798 w 20000"/>
                <a:gd name="T123" fmla="*/ 708 h 200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000"/>
                <a:gd name="T187" fmla="*/ 0 h 20000"/>
                <a:gd name="T188" fmla="*/ 20000 w 20000"/>
                <a:gd name="T189" fmla="*/ 20000 h 200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000" h="20000">
                  <a:moveTo>
                    <a:pt x="19650" y="14614"/>
                  </a:moveTo>
                  <a:lnTo>
                    <a:pt x="19729" y="14614"/>
                  </a:lnTo>
                  <a:lnTo>
                    <a:pt x="19816" y="14748"/>
                  </a:lnTo>
                  <a:lnTo>
                    <a:pt x="19816" y="14890"/>
                  </a:lnTo>
                  <a:lnTo>
                    <a:pt x="19729" y="15025"/>
                  </a:lnTo>
                  <a:lnTo>
                    <a:pt x="19729" y="15167"/>
                  </a:lnTo>
                  <a:lnTo>
                    <a:pt x="19816" y="15301"/>
                  </a:lnTo>
                  <a:lnTo>
                    <a:pt x="19729" y="15514"/>
                  </a:lnTo>
                  <a:lnTo>
                    <a:pt x="19650" y="15719"/>
                  </a:lnTo>
                  <a:lnTo>
                    <a:pt x="19729" y="15854"/>
                  </a:lnTo>
                  <a:lnTo>
                    <a:pt x="19729" y="16201"/>
                  </a:lnTo>
                  <a:lnTo>
                    <a:pt x="19650" y="16265"/>
                  </a:lnTo>
                  <a:lnTo>
                    <a:pt x="19650" y="16407"/>
                  </a:lnTo>
                  <a:lnTo>
                    <a:pt x="19554" y="16478"/>
                  </a:lnTo>
                  <a:lnTo>
                    <a:pt x="19475" y="16619"/>
                  </a:lnTo>
                  <a:lnTo>
                    <a:pt x="19047" y="16541"/>
                  </a:lnTo>
                  <a:lnTo>
                    <a:pt x="18968" y="16619"/>
                  </a:lnTo>
                  <a:lnTo>
                    <a:pt x="18881" y="16619"/>
                  </a:lnTo>
                  <a:lnTo>
                    <a:pt x="18706" y="16619"/>
                  </a:lnTo>
                  <a:lnTo>
                    <a:pt x="18706" y="16754"/>
                  </a:lnTo>
                  <a:lnTo>
                    <a:pt x="18618" y="16754"/>
                  </a:lnTo>
                  <a:lnTo>
                    <a:pt x="18540" y="16818"/>
                  </a:lnTo>
                  <a:lnTo>
                    <a:pt x="18540" y="16896"/>
                  </a:lnTo>
                  <a:lnTo>
                    <a:pt x="18365" y="16960"/>
                  </a:lnTo>
                  <a:lnTo>
                    <a:pt x="18365" y="17172"/>
                  </a:lnTo>
                  <a:lnTo>
                    <a:pt x="18277" y="17172"/>
                  </a:lnTo>
                  <a:lnTo>
                    <a:pt x="18199" y="17030"/>
                  </a:lnTo>
                  <a:lnTo>
                    <a:pt x="17936" y="17094"/>
                  </a:lnTo>
                  <a:lnTo>
                    <a:pt x="17857" y="17172"/>
                  </a:lnTo>
                  <a:lnTo>
                    <a:pt x="17770" y="17236"/>
                  </a:lnTo>
                  <a:lnTo>
                    <a:pt x="17595" y="16960"/>
                  </a:lnTo>
                  <a:lnTo>
                    <a:pt x="17333" y="17030"/>
                  </a:lnTo>
                  <a:lnTo>
                    <a:pt x="17333" y="17172"/>
                  </a:lnTo>
                  <a:lnTo>
                    <a:pt x="17254" y="17172"/>
                  </a:lnTo>
                  <a:lnTo>
                    <a:pt x="17254" y="17236"/>
                  </a:lnTo>
                  <a:lnTo>
                    <a:pt x="17167" y="17307"/>
                  </a:lnTo>
                  <a:lnTo>
                    <a:pt x="16992" y="17442"/>
                  </a:lnTo>
                  <a:lnTo>
                    <a:pt x="16913" y="17371"/>
                  </a:lnTo>
                  <a:lnTo>
                    <a:pt x="16826" y="17512"/>
                  </a:lnTo>
                  <a:lnTo>
                    <a:pt x="16913" y="17583"/>
                  </a:lnTo>
                  <a:lnTo>
                    <a:pt x="16826" y="17647"/>
                  </a:lnTo>
                  <a:lnTo>
                    <a:pt x="16747" y="17647"/>
                  </a:lnTo>
                  <a:lnTo>
                    <a:pt x="16747" y="17583"/>
                  </a:lnTo>
                  <a:lnTo>
                    <a:pt x="16484" y="17647"/>
                  </a:lnTo>
                  <a:lnTo>
                    <a:pt x="16484" y="17718"/>
                  </a:lnTo>
                  <a:lnTo>
                    <a:pt x="16659" y="17782"/>
                  </a:lnTo>
                  <a:lnTo>
                    <a:pt x="16659" y="17994"/>
                  </a:lnTo>
                  <a:lnTo>
                    <a:pt x="16484" y="18058"/>
                  </a:lnTo>
                  <a:lnTo>
                    <a:pt x="16572" y="18200"/>
                  </a:lnTo>
                  <a:lnTo>
                    <a:pt x="16659" y="18136"/>
                  </a:lnTo>
                  <a:lnTo>
                    <a:pt x="16747" y="18335"/>
                  </a:lnTo>
                  <a:lnTo>
                    <a:pt x="16826" y="18476"/>
                  </a:lnTo>
                  <a:lnTo>
                    <a:pt x="16484" y="18611"/>
                  </a:lnTo>
                  <a:lnTo>
                    <a:pt x="16318" y="18753"/>
                  </a:lnTo>
                  <a:lnTo>
                    <a:pt x="16222" y="18753"/>
                  </a:lnTo>
                  <a:lnTo>
                    <a:pt x="16222" y="18689"/>
                  </a:lnTo>
                  <a:lnTo>
                    <a:pt x="16143" y="18689"/>
                  </a:lnTo>
                  <a:lnTo>
                    <a:pt x="16143" y="18753"/>
                  </a:lnTo>
                  <a:lnTo>
                    <a:pt x="15977" y="18753"/>
                  </a:lnTo>
                  <a:lnTo>
                    <a:pt x="15977" y="18611"/>
                  </a:lnTo>
                  <a:lnTo>
                    <a:pt x="15715" y="18753"/>
                  </a:lnTo>
                  <a:lnTo>
                    <a:pt x="15208" y="18753"/>
                  </a:lnTo>
                  <a:lnTo>
                    <a:pt x="15129" y="18753"/>
                  </a:lnTo>
                  <a:lnTo>
                    <a:pt x="14867" y="18958"/>
                  </a:lnTo>
                  <a:lnTo>
                    <a:pt x="14867" y="19029"/>
                  </a:lnTo>
                  <a:lnTo>
                    <a:pt x="14867" y="19164"/>
                  </a:lnTo>
                  <a:lnTo>
                    <a:pt x="14692" y="19100"/>
                  </a:lnTo>
                  <a:lnTo>
                    <a:pt x="14526" y="19511"/>
                  </a:lnTo>
                  <a:lnTo>
                    <a:pt x="14351" y="19511"/>
                  </a:lnTo>
                  <a:lnTo>
                    <a:pt x="14185" y="19511"/>
                  </a:lnTo>
                  <a:lnTo>
                    <a:pt x="14010" y="19440"/>
                  </a:lnTo>
                  <a:lnTo>
                    <a:pt x="13922" y="19511"/>
                  </a:lnTo>
                  <a:lnTo>
                    <a:pt x="13843" y="19511"/>
                  </a:lnTo>
                  <a:lnTo>
                    <a:pt x="13581" y="19511"/>
                  </a:lnTo>
                  <a:lnTo>
                    <a:pt x="13415" y="19511"/>
                  </a:lnTo>
                  <a:lnTo>
                    <a:pt x="13415" y="19575"/>
                  </a:lnTo>
                  <a:lnTo>
                    <a:pt x="13319" y="19575"/>
                  </a:lnTo>
                  <a:lnTo>
                    <a:pt x="13153" y="19511"/>
                  </a:lnTo>
                  <a:lnTo>
                    <a:pt x="12899" y="19511"/>
                  </a:lnTo>
                  <a:lnTo>
                    <a:pt x="12645" y="19440"/>
                  </a:lnTo>
                  <a:lnTo>
                    <a:pt x="12645" y="19376"/>
                  </a:lnTo>
                  <a:lnTo>
                    <a:pt x="12567" y="19376"/>
                  </a:lnTo>
                  <a:lnTo>
                    <a:pt x="12470" y="19376"/>
                  </a:lnTo>
                  <a:lnTo>
                    <a:pt x="12208" y="19440"/>
                  </a:lnTo>
                  <a:lnTo>
                    <a:pt x="12042" y="19376"/>
                  </a:lnTo>
                  <a:lnTo>
                    <a:pt x="11963" y="19376"/>
                  </a:lnTo>
                  <a:lnTo>
                    <a:pt x="11963" y="19440"/>
                  </a:lnTo>
                  <a:lnTo>
                    <a:pt x="11701" y="19440"/>
                  </a:lnTo>
                  <a:lnTo>
                    <a:pt x="11535" y="19440"/>
                  </a:lnTo>
                  <a:lnTo>
                    <a:pt x="11360" y="19235"/>
                  </a:lnTo>
                  <a:lnTo>
                    <a:pt x="11019" y="19298"/>
                  </a:lnTo>
                  <a:lnTo>
                    <a:pt x="11098" y="19298"/>
                  </a:lnTo>
                  <a:lnTo>
                    <a:pt x="11098" y="19440"/>
                  </a:lnTo>
                  <a:lnTo>
                    <a:pt x="11019" y="19653"/>
                  </a:lnTo>
                  <a:lnTo>
                    <a:pt x="10931" y="19717"/>
                  </a:lnTo>
                  <a:lnTo>
                    <a:pt x="10756" y="19717"/>
                  </a:lnTo>
                  <a:lnTo>
                    <a:pt x="10678" y="19511"/>
                  </a:lnTo>
                  <a:lnTo>
                    <a:pt x="10590" y="19511"/>
                  </a:lnTo>
                  <a:lnTo>
                    <a:pt x="10512" y="19575"/>
                  </a:lnTo>
                  <a:lnTo>
                    <a:pt x="10415" y="19717"/>
                  </a:lnTo>
                  <a:lnTo>
                    <a:pt x="10337" y="19787"/>
                  </a:lnTo>
                  <a:lnTo>
                    <a:pt x="10249" y="19717"/>
                  </a:lnTo>
                  <a:lnTo>
                    <a:pt x="10171" y="19653"/>
                  </a:lnTo>
                  <a:lnTo>
                    <a:pt x="10171" y="19511"/>
                  </a:lnTo>
                  <a:lnTo>
                    <a:pt x="10083" y="19511"/>
                  </a:lnTo>
                  <a:lnTo>
                    <a:pt x="10004" y="19575"/>
                  </a:lnTo>
                  <a:lnTo>
                    <a:pt x="9908" y="19653"/>
                  </a:lnTo>
                  <a:lnTo>
                    <a:pt x="9742" y="19717"/>
                  </a:lnTo>
                  <a:lnTo>
                    <a:pt x="9646" y="19511"/>
                  </a:lnTo>
                  <a:lnTo>
                    <a:pt x="9567" y="19440"/>
                  </a:lnTo>
                  <a:lnTo>
                    <a:pt x="9480" y="19575"/>
                  </a:lnTo>
                  <a:lnTo>
                    <a:pt x="9305" y="19575"/>
                  </a:lnTo>
                  <a:lnTo>
                    <a:pt x="9305" y="19717"/>
                  </a:lnTo>
                  <a:lnTo>
                    <a:pt x="9226" y="19717"/>
                  </a:lnTo>
                  <a:lnTo>
                    <a:pt x="9226" y="19787"/>
                  </a:lnTo>
                  <a:lnTo>
                    <a:pt x="8972" y="19929"/>
                  </a:lnTo>
                  <a:lnTo>
                    <a:pt x="8972" y="19993"/>
                  </a:lnTo>
                  <a:lnTo>
                    <a:pt x="8885" y="19993"/>
                  </a:lnTo>
                  <a:lnTo>
                    <a:pt x="8719" y="19851"/>
                  </a:lnTo>
                  <a:lnTo>
                    <a:pt x="8631" y="19787"/>
                  </a:lnTo>
                  <a:lnTo>
                    <a:pt x="8535" y="19717"/>
                  </a:lnTo>
                  <a:lnTo>
                    <a:pt x="8535" y="19653"/>
                  </a:lnTo>
                  <a:lnTo>
                    <a:pt x="8456" y="19653"/>
                  </a:lnTo>
                  <a:lnTo>
                    <a:pt x="8456" y="19575"/>
                  </a:lnTo>
                  <a:lnTo>
                    <a:pt x="8194" y="19653"/>
                  </a:lnTo>
                  <a:lnTo>
                    <a:pt x="8194" y="19717"/>
                  </a:lnTo>
                  <a:lnTo>
                    <a:pt x="8194" y="19851"/>
                  </a:lnTo>
                  <a:lnTo>
                    <a:pt x="8028" y="19851"/>
                  </a:lnTo>
                  <a:lnTo>
                    <a:pt x="7949" y="19787"/>
                  </a:lnTo>
                  <a:lnTo>
                    <a:pt x="7774" y="19787"/>
                  </a:lnTo>
                  <a:lnTo>
                    <a:pt x="7687" y="19851"/>
                  </a:lnTo>
                  <a:lnTo>
                    <a:pt x="7521" y="19851"/>
                  </a:lnTo>
                  <a:lnTo>
                    <a:pt x="7521" y="19717"/>
                  </a:lnTo>
                  <a:lnTo>
                    <a:pt x="7346" y="19787"/>
                  </a:lnTo>
                  <a:lnTo>
                    <a:pt x="7258" y="19787"/>
                  </a:lnTo>
                  <a:lnTo>
                    <a:pt x="7433" y="19575"/>
                  </a:lnTo>
                  <a:lnTo>
                    <a:pt x="7346" y="19575"/>
                  </a:lnTo>
                  <a:lnTo>
                    <a:pt x="7521" y="19376"/>
                  </a:lnTo>
                  <a:lnTo>
                    <a:pt x="7346" y="19376"/>
                  </a:lnTo>
                  <a:lnTo>
                    <a:pt x="7346" y="19298"/>
                  </a:lnTo>
                  <a:lnTo>
                    <a:pt x="7180" y="19298"/>
                  </a:lnTo>
                  <a:lnTo>
                    <a:pt x="7084" y="19235"/>
                  </a:lnTo>
                  <a:lnTo>
                    <a:pt x="7005" y="19100"/>
                  </a:lnTo>
                  <a:lnTo>
                    <a:pt x="7084" y="19100"/>
                  </a:lnTo>
                  <a:lnTo>
                    <a:pt x="7005" y="18887"/>
                  </a:lnTo>
                  <a:lnTo>
                    <a:pt x="7084" y="18824"/>
                  </a:lnTo>
                  <a:lnTo>
                    <a:pt x="6917" y="18689"/>
                  </a:lnTo>
                  <a:lnTo>
                    <a:pt x="6839" y="18611"/>
                  </a:lnTo>
                  <a:lnTo>
                    <a:pt x="6235" y="18547"/>
                  </a:lnTo>
                  <a:lnTo>
                    <a:pt x="6323" y="18476"/>
                  </a:lnTo>
                  <a:lnTo>
                    <a:pt x="6235" y="18335"/>
                  </a:lnTo>
                  <a:lnTo>
                    <a:pt x="6069" y="18335"/>
                  </a:lnTo>
                  <a:lnTo>
                    <a:pt x="5973" y="18271"/>
                  </a:lnTo>
                  <a:lnTo>
                    <a:pt x="5728" y="18200"/>
                  </a:lnTo>
                  <a:lnTo>
                    <a:pt x="5728" y="18136"/>
                  </a:lnTo>
                  <a:lnTo>
                    <a:pt x="5553" y="18058"/>
                  </a:lnTo>
                  <a:lnTo>
                    <a:pt x="5553" y="17994"/>
                  </a:lnTo>
                  <a:lnTo>
                    <a:pt x="5387" y="17782"/>
                  </a:lnTo>
                  <a:lnTo>
                    <a:pt x="5553" y="17647"/>
                  </a:lnTo>
                  <a:lnTo>
                    <a:pt x="5553" y="17512"/>
                  </a:lnTo>
                  <a:lnTo>
                    <a:pt x="5553" y="17442"/>
                  </a:lnTo>
                  <a:lnTo>
                    <a:pt x="5632" y="17307"/>
                  </a:lnTo>
                  <a:lnTo>
                    <a:pt x="5632" y="17236"/>
                  </a:lnTo>
                  <a:lnTo>
                    <a:pt x="5553" y="17030"/>
                  </a:lnTo>
                  <a:lnTo>
                    <a:pt x="5466" y="17030"/>
                  </a:lnTo>
                  <a:lnTo>
                    <a:pt x="5387" y="16960"/>
                  </a:lnTo>
                  <a:lnTo>
                    <a:pt x="5291" y="16896"/>
                  </a:lnTo>
                  <a:lnTo>
                    <a:pt x="5212" y="16818"/>
                  </a:lnTo>
                  <a:lnTo>
                    <a:pt x="5125" y="16818"/>
                  </a:lnTo>
                  <a:lnTo>
                    <a:pt x="5046" y="16619"/>
                  </a:lnTo>
                  <a:lnTo>
                    <a:pt x="4958" y="16619"/>
                  </a:lnTo>
                  <a:lnTo>
                    <a:pt x="4958" y="16407"/>
                  </a:lnTo>
                  <a:lnTo>
                    <a:pt x="4871" y="16343"/>
                  </a:lnTo>
                  <a:lnTo>
                    <a:pt x="4784" y="16201"/>
                  </a:lnTo>
                  <a:lnTo>
                    <a:pt x="4871" y="16130"/>
                  </a:lnTo>
                  <a:lnTo>
                    <a:pt x="4617" y="16067"/>
                  </a:lnTo>
                  <a:lnTo>
                    <a:pt x="4696" y="15996"/>
                  </a:lnTo>
                  <a:lnTo>
                    <a:pt x="4617" y="15996"/>
                  </a:lnTo>
                  <a:lnTo>
                    <a:pt x="4521" y="15996"/>
                  </a:lnTo>
                  <a:lnTo>
                    <a:pt x="4443" y="15925"/>
                  </a:lnTo>
                  <a:lnTo>
                    <a:pt x="4355" y="15854"/>
                  </a:lnTo>
                  <a:lnTo>
                    <a:pt x="4276" y="15719"/>
                  </a:lnTo>
                  <a:lnTo>
                    <a:pt x="4276" y="15656"/>
                  </a:lnTo>
                  <a:lnTo>
                    <a:pt x="4180" y="15514"/>
                  </a:lnTo>
                  <a:lnTo>
                    <a:pt x="4180" y="15301"/>
                  </a:lnTo>
                  <a:lnTo>
                    <a:pt x="4180" y="15167"/>
                  </a:lnTo>
                  <a:lnTo>
                    <a:pt x="3935" y="15103"/>
                  </a:lnTo>
                  <a:lnTo>
                    <a:pt x="3935" y="15025"/>
                  </a:lnTo>
                  <a:lnTo>
                    <a:pt x="3760" y="15025"/>
                  </a:lnTo>
                  <a:lnTo>
                    <a:pt x="3673" y="15025"/>
                  </a:lnTo>
                  <a:lnTo>
                    <a:pt x="3673" y="14961"/>
                  </a:lnTo>
                  <a:lnTo>
                    <a:pt x="3673" y="14890"/>
                  </a:lnTo>
                  <a:lnTo>
                    <a:pt x="3507" y="14890"/>
                  </a:lnTo>
                  <a:lnTo>
                    <a:pt x="3332" y="14890"/>
                  </a:lnTo>
                  <a:lnTo>
                    <a:pt x="3332" y="14961"/>
                  </a:lnTo>
                  <a:lnTo>
                    <a:pt x="3332" y="15103"/>
                  </a:lnTo>
                  <a:lnTo>
                    <a:pt x="3594" y="15167"/>
                  </a:lnTo>
                  <a:lnTo>
                    <a:pt x="3594" y="15237"/>
                  </a:lnTo>
                  <a:lnTo>
                    <a:pt x="3244" y="15237"/>
                  </a:lnTo>
                  <a:lnTo>
                    <a:pt x="2991" y="15237"/>
                  </a:lnTo>
                  <a:lnTo>
                    <a:pt x="2825" y="15301"/>
                  </a:lnTo>
                  <a:lnTo>
                    <a:pt x="2562" y="15379"/>
                  </a:lnTo>
                  <a:lnTo>
                    <a:pt x="2484" y="15443"/>
                  </a:lnTo>
                  <a:lnTo>
                    <a:pt x="2300" y="15379"/>
                  </a:lnTo>
                  <a:lnTo>
                    <a:pt x="2134" y="15379"/>
                  </a:lnTo>
                  <a:lnTo>
                    <a:pt x="1959" y="15301"/>
                  </a:lnTo>
                  <a:lnTo>
                    <a:pt x="1880" y="15379"/>
                  </a:lnTo>
                  <a:lnTo>
                    <a:pt x="1714" y="15443"/>
                  </a:lnTo>
                  <a:lnTo>
                    <a:pt x="1618" y="15237"/>
                  </a:lnTo>
                  <a:lnTo>
                    <a:pt x="1618" y="15167"/>
                  </a:lnTo>
                  <a:lnTo>
                    <a:pt x="1618" y="15103"/>
                  </a:lnTo>
                  <a:lnTo>
                    <a:pt x="1539" y="14961"/>
                  </a:lnTo>
                  <a:lnTo>
                    <a:pt x="1618" y="14890"/>
                  </a:lnTo>
                  <a:lnTo>
                    <a:pt x="1618" y="14748"/>
                  </a:lnTo>
                  <a:lnTo>
                    <a:pt x="1714" y="14685"/>
                  </a:lnTo>
                  <a:lnTo>
                    <a:pt x="1618" y="14479"/>
                  </a:lnTo>
                  <a:lnTo>
                    <a:pt x="1373" y="14550"/>
                  </a:lnTo>
                  <a:lnTo>
                    <a:pt x="1452" y="14415"/>
                  </a:lnTo>
                  <a:lnTo>
                    <a:pt x="1198" y="14337"/>
                  </a:lnTo>
                  <a:lnTo>
                    <a:pt x="1023" y="14479"/>
                  </a:lnTo>
                  <a:lnTo>
                    <a:pt x="944" y="14415"/>
                  </a:lnTo>
                  <a:lnTo>
                    <a:pt x="848" y="14415"/>
                  </a:lnTo>
                  <a:lnTo>
                    <a:pt x="770" y="14337"/>
                  </a:lnTo>
                  <a:lnTo>
                    <a:pt x="944" y="14203"/>
                  </a:lnTo>
                  <a:lnTo>
                    <a:pt x="848" y="14061"/>
                  </a:lnTo>
                  <a:lnTo>
                    <a:pt x="848" y="13997"/>
                  </a:lnTo>
                  <a:lnTo>
                    <a:pt x="682" y="14061"/>
                  </a:lnTo>
                  <a:lnTo>
                    <a:pt x="603" y="14061"/>
                  </a:lnTo>
                  <a:lnTo>
                    <a:pt x="603" y="13926"/>
                  </a:lnTo>
                  <a:lnTo>
                    <a:pt x="341" y="13863"/>
                  </a:lnTo>
                  <a:lnTo>
                    <a:pt x="341" y="13926"/>
                  </a:lnTo>
                  <a:lnTo>
                    <a:pt x="262" y="13926"/>
                  </a:lnTo>
                  <a:lnTo>
                    <a:pt x="166" y="13785"/>
                  </a:lnTo>
                  <a:lnTo>
                    <a:pt x="87" y="13785"/>
                  </a:lnTo>
                  <a:lnTo>
                    <a:pt x="0" y="13586"/>
                  </a:lnTo>
                  <a:lnTo>
                    <a:pt x="87" y="13444"/>
                  </a:lnTo>
                  <a:lnTo>
                    <a:pt x="0" y="13310"/>
                  </a:lnTo>
                  <a:lnTo>
                    <a:pt x="166" y="13168"/>
                  </a:lnTo>
                  <a:lnTo>
                    <a:pt x="166" y="13097"/>
                  </a:lnTo>
                  <a:lnTo>
                    <a:pt x="166" y="12821"/>
                  </a:lnTo>
                  <a:lnTo>
                    <a:pt x="262" y="12757"/>
                  </a:lnTo>
                  <a:lnTo>
                    <a:pt x="341" y="12544"/>
                  </a:lnTo>
                  <a:lnTo>
                    <a:pt x="507" y="12346"/>
                  </a:lnTo>
                  <a:lnTo>
                    <a:pt x="682" y="12268"/>
                  </a:lnTo>
                  <a:lnTo>
                    <a:pt x="603" y="12069"/>
                  </a:lnTo>
                  <a:lnTo>
                    <a:pt x="770" y="12069"/>
                  </a:lnTo>
                  <a:lnTo>
                    <a:pt x="848" y="11928"/>
                  </a:lnTo>
                  <a:lnTo>
                    <a:pt x="848" y="11857"/>
                  </a:lnTo>
                  <a:lnTo>
                    <a:pt x="770" y="11793"/>
                  </a:lnTo>
                  <a:lnTo>
                    <a:pt x="944" y="11580"/>
                  </a:lnTo>
                  <a:lnTo>
                    <a:pt x="944" y="11382"/>
                  </a:lnTo>
                  <a:lnTo>
                    <a:pt x="1023" y="11240"/>
                  </a:lnTo>
                  <a:lnTo>
                    <a:pt x="1023" y="11106"/>
                  </a:lnTo>
                  <a:lnTo>
                    <a:pt x="1198" y="11028"/>
                  </a:lnTo>
                  <a:lnTo>
                    <a:pt x="1198" y="10829"/>
                  </a:lnTo>
                  <a:lnTo>
                    <a:pt x="1023" y="10751"/>
                  </a:lnTo>
                  <a:lnTo>
                    <a:pt x="1198" y="10475"/>
                  </a:lnTo>
                  <a:lnTo>
                    <a:pt x="1286" y="10411"/>
                  </a:lnTo>
                  <a:lnTo>
                    <a:pt x="1286" y="10135"/>
                  </a:lnTo>
                  <a:lnTo>
                    <a:pt x="1452" y="10135"/>
                  </a:lnTo>
                  <a:lnTo>
                    <a:pt x="1618" y="10276"/>
                  </a:lnTo>
                  <a:lnTo>
                    <a:pt x="1880" y="10340"/>
                  </a:lnTo>
                  <a:lnTo>
                    <a:pt x="1959" y="10411"/>
                  </a:lnTo>
                  <a:lnTo>
                    <a:pt x="2221" y="10475"/>
                  </a:lnTo>
                  <a:lnTo>
                    <a:pt x="2396" y="10411"/>
                  </a:lnTo>
                  <a:lnTo>
                    <a:pt x="2396" y="10340"/>
                  </a:lnTo>
                  <a:lnTo>
                    <a:pt x="2221" y="10064"/>
                  </a:lnTo>
                  <a:lnTo>
                    <a:pt x="2300" y="10000"/>
                  </a:lnTo>
                  <a:lnTo>
                    <a:pt x="2396" y="10000"/>
                  </a:lnTo>
                  <a:lnTo>
                    <a:pt x="2562" y="10135"/>
                  </a:lnTo>
                  <a:lnTo>
                    <a:pt x="2728" y="10135"/>
                  </a:lnTo>
                  <a:lnTo>
                    <a:pt x="2825" y="9929"/>
                  </a:lnTo>
                  <a:lnTo>
                    <a:pt x="3070" y="9929"/>
                  </a:lnTo>
                  <a:lnTo>
                    <a:pt x="3411" y="9787"/>
                  </a:lnTo>
                  <a:lnTo>
                    <a:pt x="3411" y="9724"/>
                  </a:lnTo>
                  <a:lnTo>
                    <a:pt x="3673" y="9787"/>
                  </a:lnTo>
                  <a:lnTo>
                    <a:pt x="3848" y="9653"/>
                  </a:lnTo>
                  <a:lnTo>
                    <a:pt x="3848" y="9589"/>
                  </a:lnTo>
                  <a:lnTo>
                    <a:pt x="3673" y="9653"/>
                  </a:lnTo>
                  <a:lnTo>
                    <a:pt x="3594" y="9447"/>
                  </a:lnTo>
                  <a:lnTo>
                    <a:pt x="3848" y="9313"/>
                  </a:lnTo>
                  <a:lnTo>
                    <a:pt x="3848" y="9171"/>
                  </a:lnTo>
                  <a:lnTo>
                    <a:pt x="4014" y="9100"/>
                  </a:lnTo>
                  <a:lnTo>
                    <a:pt x="4180" y="9036"/>
                  </a:lnTo>
                  <a:lnTo>
                    <a:pt x="4355" y="9036"/>
                  </a:lnTo>
                  <a:lnTo>
                    <a:pt x="4355" y="8894"/>
                  </a:lnTo>
                  <a:lnTo>
                    <a:pt x="4443" y="8824"/>
                  </a:lnTo>
                  <a:lnTo>
                    <a:pt x="4617" y="8760"/>
                  </a:lnTo>
                  <a:lnTo>
                    <a:pt x="4784" y="8547"/>
                  </a:lnTo>
                  <a:lnTo>
                    <a:pt x="4871" y="8412"/>
                  </a:lnTo>
                  <a:lnTo>
                    <a:pt x="4784" y="8271"/>
                  </a:lnTo>
                  <a:lnTo>
                    <a:pt x="4784" y="7994"/>
                  </a:lnTo>
                  <a:lnTo>
                    <a:pt x="4958" y="7931"/>
                  </a:lnTo>
                  <a:lnTo>
                    <a:pt x="5125" y="8072"/>
                  </a:lnTo>
                  <a:lnTo>
                    <a:pt x="5125" y="7994"/>
                  </a:lnTo>
                  <a:lnTo>
                    <a:pt x="5125" y="7718"/>
                  </a:lnTo>
                  <a:lnTo>
                    <a:pt x="5387" y="7718"/>
                  </a:lnTo>
                  <a:lnTo>
                    <a:pt x="5291" y="7583"/>
                  </a:lnTo>
                  <a:lnTo>
                    <a:pt x="5212" y="7442"/>
                  </a:lnTo>
                  <a:lnTo>
                    <a:pt x="5212" y="7378"/>
                  </a:lnTo>
                  <a:lnTo>
                    <a:pt x="5291" y="7172"/>
                  </a:lnTo>
                  <a:lnTo>
                    <a:pt x="5291" y="7030"/>
                  </a:lnTo>
                  <a:lnTo>
                    <a:pt x="5046" y="6967"/>
                  </a:lnTo>
                  <a:lnTo>
                    <a:pt x="5046" y="6690"/>
                  </a:lnTo>
                  <a:lnTo>
                    <a:pt x="5291" y="6690"/>
                  </a:lnTo>
                  <a:lnTo>
                    <a:pt x="5387" y="6556"/>
                  </a:lnTo>
                  <a:lnTo>
                    <a:pt x="5212" y="6556"/>
                  </a:lnTo>
                  <a:lnTo>
                    <a:pt x="5212" y="6478"/>
                  </a:lnTo>
                  <a:lnTo>
                    <a:pt x="5387" y="6414"/>
                  </a:lnTo>
                  <a:lnTo>
                    <a:pt x="5387" y="6279"/>
                  </a:lnTo>
                  <a:lnTo>
                    <a:pt x="5466" y="6201"/>
                  </a:lnTo>
                  <a:lnTo>
                    <a:pt x="5807" y="6201"/>
                  </a:lnTo>
                  <a:lnTo>
                    <a:pt x="5807" y="6137"/>
                  </a:lnTo>
                  <a:lnTo>
                    <a:pt x="5807" y="6067"/>
                  </a:lnTo>
                  <a:lnTo>
                    <a:pt x="5632" y="6003"/>
                  </a:lnTo>
                  <a:lnTo>
                    <a:pt x="5291" y="5925"/>
                  </a:lnTo>
                  <a:lnTo>
                    <a:pt x="5212" y="5925"/>
                  </a:lnTo>
                  <a:lnTo>
                    <a:pt x="5046" y="5726"/>
                  </a:lnTo>
                  <a:lnTo>
                    <a:pt x="5125" y="5726"/>
                  </a:lnTo>
                  <a:lnTo>
                    <a:pt x="5212" y="5592"/>
                  </a:lnTo>
                  <a:lnTo>
                    <a:pt x="5212" y="5514"/>
                  </a:lnTo>
                  <a:lnTo>
                    <a:pt x="5125" y="5379"/>
                  </a:lnTo>
                  <a:lnTo>
                    <a:pt x="5046" y="5174"/>
                  </a:lnTo>
                  <a:lnTo>
                    <a:pt x="5046" y="5103"/>
                  </a:lnTo>
                  <a:lnTo>
                    <a:pt x="5125" y="5039"/>
                  </a:lnTo>
                  <a:lnTo>
                    <a:pt x="4958" y="4897"/>
                  </a:lnTo>
                  <a:lnTo>
                    <a:pt x="4871" y="4897"/>
                  </a:lnTo>
                  <a:lnTo>
                    <a:pt x="4958" y="4685"/>
                  </a:lnTo>
                  <a:lnTo>
                    <a:pt x="5046" y="4621"/>
                  </a:lnTo>
                  <a:lnTo>
                    <a:pt x="5212" y="4550"/>
                  </a:lnTo>
                  <a:lnTo>
                    <a:pt x="5291" y="4621"/>
                  </a:lnTo>
                  <a:lnTo>
                    <a:pt x="5387" y="4550"/>
                  </a:lnTo>
                  <a:lnTo>
                    <a:pt x="5553" y="4550"/>
                  </a:lnTo>
                  <a:lnTo>
                    <a:pt x="5553" y="4486"/>
                  </a:lnTo>
                  <a:lnTo>
                    <a:pt x="5632" y="4486"/>
                  </a:lnTo>
                  <a:lnTo>
                    <a:pt x="5728" y="4415"/>
                  </a:lnTo>
                  <a:lnTo>
                    <a:pt x="5807" y="4415"/>
                  </a:lnTo>
                  <a:lnTo>
                    <a:pt x="5973" y="4274"/>
                  </a:lnTo>
                  <a:lnTo>
                    <a:pt x="6069" y="4210"/>
                  </a:lnTo>
                  <a:lnTo>
                    <a:pt x="6069" y="4075"/>
                  </a:lnTo>
                  <a:lnTo>
                    <a:pt x="6235" y="3863"/>
                  </a:lnTo>
                  <a:lnTo>
                    <a:pt x="6069" y="3721"/>
                  </a:lnTo>
                  <a:lnTo>
                    <a:pt x="6069" y="3586"/>
                  </a:lnTo>
                  <a:lnTo>
                    <a:pt x="6157" y="3522"/>
                  </a:lnTo>
                  <a:lnTo>
                    <a:pt x="6157" y="3444"/>
                  </a:lnTo>
                  <a:lnTo>
                    <a:pt x="6069" y="3381"/>
                  </a:lnTo>
                  <a:lnTo>
                    <a:pt x="6235" y="3246"/>
                  </a:lnTo>
                  <a:lnTo>
                    <a:pt x="6157" y="3168"/>
                  </a:lnTo>
                  <a:lnTo>
                    <a:pt x="5973" y="3104"/>
                  </a:lnTo>
                  <a:lnTo>
                    <a:pt x="6069" y="3033"/>
                  </a:lnTo>
                  <a:lnTo>
                    <a:pt x="5973" y="2970"/>
                  </a:lnTo>
                  <a:lnTo>
                    <a:pt x="5807" y="2899"/>
                  </a:lnTo>
                  <a:lnTo>
                    <a:pt x="5807" y="2828"/>
                  </a:lnTo>
                  <a:lnTo>
                    <a:pt x="5632" y="2828"/>
                  </a:lnTo>
                  <a:lnTo>
                    <a:pt x="5466" y="2757"/>
                  </a:lnTo>
                  <a:lnTo>
                    <a:pt x="5466" y="2558"/>
                  </a:lnTo>
                  <a:lnTo>
                    <a:pt x="5291" y="2558"/>
                  </a:lnTo>
                  <a:lnTo>
                    <a:pt x="5387" y="2346"/>
                  </a:lnTo>
                  <a:lnTo>
                    <a:pt x="5387" y="2204"/>
                  </a:lnTo>
                  <a:lnTo>
                    <a:pt x="5291" y="2069"/>
                  </a:lnTo>
                  <a:lnTo>
                    <a:pt x="5387" y="2006"/>
                  </a:lnTo>
                  <a:lnTo>
                    <a:pt x="5553" y="2006"/>
                  </a:lnTo>
                  <a:lnTo>
                    <a:pt x="5632" y="1864"/>
                  </a:lnTo>
                  <a:lnTo>
                    <a:pt x="5728" y="1729"/>
                  </a:lnTo>
                  <a:lnTo>
                    <a:pt x="5807" y="1729"/>
                  </a:lnTo>
                  <a:lnTo>
                    <a:pt x="5973" y="1793"/>
                  </a:lnTo>
                  <a:lnTo>
                    <a:pt x="6323" y="1588"/>
                  </a:lnTo>
                  <a:lnTo>
                    <a:pt x="6410" y="1651"/>
                  </a:lnTo>
                  <a:lnTo>
                    <a:pt x="6664" y="1588"/>
                  </a:lnTo>
                  <a:lnTo>
                    <a:pt x="6742" y="1588"/>
                  </a:lnTo>
                  <a:lnTo>
                    <a:pt x="6839" y="1382"/>
                  </a:lnTo>
                  <a:lnTo>
                    <a:pt x="6917" y="1453"/>
                  </a:lnTo>
                  <a:lnTo>
                    <a:pt x="7084" y="1382"/>
                  </a:lnTo>
                  <a:lnTo>
                    <a:pt x="7180" y="1453"/>
                  </a:lnTo>
                  <a:lnTo>
                    <a:pt x="7258" y="1311"/>
                  </a:lnTo>
                  <a:lnTo>
                    <a:pt x="7258" y="1176"/>
                  </a:lnTo>
                  <a:lnTo>
                    <a:pt x="7433" y="1176"/>
                  </a:lnTo>
                  <a:lnTo>
                    <a:pt x="7521" y="1311"/>
                  </a:lnTo>
                  <a:lnTo>
                    <a:pt x="7687" y="1311"/>
                  </a:lnTo>
                  <a:lnTo>
                    <a:pt x="7853" y="1382"/>
                  </a:lnTo>
                  <a:lnTo>
                    <a:pt x="7949" y="1311"/>
                  </a:lnTo>
                  <a:lnTo>
                    <a:pt x="8028" y="1311"/>
                  </a:lnTo>
                  <a:lnTo>
                    <a:pt x="8194" y="1453"/>
                  </a:lnTo>
                  <a:lnTo>
                    <a:pt x="8194" y="1382"/>
                  </a:lnTo>
                  <a:lnTo>
                    <a:pt x="8456" y="1382"/>
                  </a:lnTo>
                  <a:lnTo>
                    <a:pt x="8631" y="1382"/>
                  </a:lnTo>
                  <a:lnTo>
                    <a:pt x="8719" y="1240"/>
                  </a:lnTo>
                  <a:lnTo>
                    <a:pt x="8798" y="1240"/>
                  </a:lnTo>
                  <a:lnTo>
                    <a:pt x="8885" y="1106"/>
                  </a:lnTo>
                  <a:lnTo>
                    <a:pt x="8798" y="1042"/>
                  </a:lnTo>
                  <a:lnTo>
                    <a:pt x="8798" y="964"/>
                  </a:lnTo>
                  <a:lnTo>
                    <a:pt x="8798" y="829"/>
                  </a:lnTo>
                  <a:lnTo>
                    <a:pt x="8972" y="765"/>
                  </a:lnTo>
                  <a:lnTo>
                    <a:pt x="9060" y="624"/>
                  </a:lnTo>
                  <a:lnTo>
                    <a:pt x="9226" y="624"/>
                  </a:lnTo>
                  <a:lnTo>
                    <a:pt x="9305" y="553"/>
                  </a:lnTo>
                  <a:lnTo>
                    <a:pt x="9401" y="553"/>
                  </a:lnTo>
                  <a:lnTo>
                    <a:pt x="9480" y="489"/>
                  </a:lnTo>
                  <a:lnTo>
                    <a:pt x="9480" y="347"/>
                  </a:lnTo>
                  <a:lnTo>
                    <a:pt x="9401" y="347"/>
                  </a:lnTo>
                  <a:lnTo>
                    <a:pt x="9401" y="276"/>
                  </a:lnTo>
                  <a:lnTo>
                    <a:pt x="9401" y="135"/>
                  </a:lnTo>
                  <a:lnTo>
                    <a:pt x="9401" y="71"/>
                  </a:lnTo>
                  <a:lnTo>
                    <a:pt x="9646" y="71"/>
                  </a:lnTo>
                  <a:lnTo>
                    <a:pt x="9742" y="0"/>
                  </a:lnTo>
                  <a:lnTo>
                    <a:pt x="9742" y="135"/>
                  </a:lnTo>
                  <a:lnTo>
                    <a:pt x="9821" y="135"/>
                  </a:lnTo>
                  <a:lnTo>
                    <a:pt x="9908" y="213"/>
                  </a:lnTo>
                  <a:lnTo>
                    <a:pt x="9908" y="276"/>
                  </a:lnTo>
                  <a:lnTo>
                    <a:pt x="10083" y="411"/>
                  </a:lnTo>
                  <a:lnTo>
                    <a:pt x="10004" y="489"/>
                  </a:lnTo>
                  <a:lnTo>
                    <a:pt x="9908" y="553"/>
                  </a:lnTo>
                  <a:lnTo>
                    <a:pt x="10004" y="624"/>
                  </a:lnTo>
                  <a:lnTo>
                    <a:pt x="10083" y="624"/>
                  </a:lnTo>
                  <a:lnTo>
                    <a:pt x="10171" y="687"/>
                  </a:lnTo>
                  <a:lnTo>
                    <a:pt x="10171" y="765"/>
                  </a:lnTo>
                  <a:lnTo>
                    <a:pt x="10249" y="765"/>
                  </a:lnTo>
                  <a:lnTo>
                    <a:pt x="10249" y="829"/>
                  </a:lnTo>
                  <a:lnTo>
                    <a:pt x="10171" y="900"/>
                  </a:lnTo>
                  <a:lnTo>
                    <a:pt x="10249" y="964"/>
                  </a:lnTo>
                  <a:lnTo>
                    <a:pt x="10171" y="1042"/>
                  </a:lnTo>
                  <a:lnTo>
                    <a:pt x="10171" y="1240"/>
                  </a:lnTo>
                  <a:lnTo>
                    <a:pt x="10171" y="1311"/>
                  </a:lnTo>
                  <a:lnTo>
                    <a:pt x="10171" y="1382"/>
                  </a:lnTo>
                  <a:lnTo>
                    <a:pt x="10171" y="1453"/>
                  </a:lnTo>
                  <a:lnTo>
                    <a:pt x="10415" y="1517"/>
                  </a:lnTo>
                  <a:lnTo>
                    <a:pt x="10415" y="1588"/>
                  </a:lnTo>
                  <a:lnTo>
                    <a:pt x="10415" y="1651"/>
                  </a:lnTo>
                  <a:lnTo>
                    <a:pt x="10249" y="1793"/>
                  </a:lnTo>
                  <a:lnTo>
                    <a:pt x="10171" y="1928"/>
                  </a:lnTo>
                  <a:lnTo>
                    <a:pt x="10337" y="2006"/>
                  </a:lnTo>
                  <a:lnTo>
                    <a:pt x="10337" y="2069"/>
                  </a:lnTo>
                  <a:lnTo>
                    <a:pt x="10249" y="2140"/>
                  </a:lnTo>
                  <a:lnTo>
                    <a:pt x="10337" y="2204"/>
                  </a:lnTo>
                  <a:lnTo>
                    <a:pt x="10512" y="2282"/>
                  </a:lnTo>
                  <a:lnTo>
                    <a:pt x="10590" y="2346"/>
                  </a:lnTo>
                  <a:lnTo>
                    <a:pt x="10590" y="2417"/>
                  </a:lnTo>
                  <a:lnTo>
                    <a:pt x="10678" y="2558"/>
                  </a:lnTo>
                  <a:lnTo>
                    <a:pt x="10853" y="2558"/>
                  </a:lnTo>
                  <a:lnTo>
                    <a:pt x="11019" y="2558"/>
                  </a:lnTo>
                  <a:lnTo>
                    <a:pt x="11019" y="2622"/>
                  </a:lnTo>
                  <a:lnTo>
                    <a:pt x="10931" y="2757"/>
                  </a:lnTo>
                  <a:lnTo>
                    <a:pt x="10931" y="2828"/>
                  </a:lnTo>
                  <a:lnTo>
                    <a:pt x="11194" y="2828"/>
                  </a:lnTo>
                  <a:lnTo>
                    <a:pt x="11360" y="3033"/>
                  </a:lnTo>
                  <a:lnTo>
                    <a:pt x="11447" y="3033"/>
                  </a:lnTo>
                  <a:lnTo>
                    <a:pt x="11360" y="3310"/>
                  </a:lnTo>
                  <a:lnTo>
                    <a:pt x="11447" y="3444"/>
                  </a:lnTo>
                  <a:lnTo>
                    <a:pt x="11535" y="3522"/>
                  </a:lnTo>
                  <a:lnTo>
                    <a:pt x="11535" y="3721"/>
                  </a:lnTo>
                  <a:lnTo>
                    <a:pt x="11701" y="3721"/>
                  </a:lnTo>
                  <a:lnTo>
                    <a:pt x="11788" y="3799"/>
                  </a:lnTo>
                  <a:lnTo>
                    <a:pt x="11788" y="3863"/>
                  </a:lnTo>
                  <a:lnTo>
                    <a:pt x="11867" y="3863"/>
                  </a:lnTo>
                  <a:lnTo>
                    <a:pt x="12042" y="3933"/>
                  </a:lnTo>
                  <a:lnTo>
                    <a:pt x="12129" y="3933"/>
                  </a:lnTo>
                  <a:lnTo>
                    <a:pt x="12304" y="3799"/>
                  </a:lnTo>
                  <a:lnTo>
                    <a:pt x="12383" y="3799"/>
                  </a:lnTo>
                  <a:lnTo>
                    <a:pt x="12383" y="3933"/>
                  </a:lnTo>
                  <a:lnTo>
                    <a:pt x="12383" y="4075"/>
                  </a:lnTo>
                  <a:lnTo>
                    <a:pt x="12383" y="4210"/>
                  </a:lnTo>
                  <a:lnTo>
                    <a:pt x="12567" y="4210"/>
                  </a:lnTo>
                  <a:lnTo>
                    <a:pt x="12645" y="4210"/>
                  </a:lnTo>
                  <a:lnTo>
                    <a:pt x="12567" y="4344"/>
                  </a:lnTo>
                  <a:lnTo>
                    <a:pt x="12733" y="4486"/>
                  </a:lnTo>
                  <a:lnTo>
                    <a:pt x="12645" y="4550"/>
                  </a:lnTo>
                  <a:lnTo>
                    <a:pt x="12645" y="4763"/>
                  </a:lnTo>
                  <a:lnTo>
                    <a:pt x="12470" y="4897"/>
                  </a:lnTo>
                  <a:lnTo>
                    <a:pt x="12567" y="5039"/>
                  </a:lnTo>
                  <a:lnTo>
                    <a:pt x="12645" y="5039"/>
                  </a:lnTo>
                  <a:lnTo>
                    <a:pt x="12645" y="5103"/>
                  </a:lnTo>
                  <a:lnTo>
                    <a:pt x="12733" y="5103"/>
                  </a:lnTo>
                  <a:lnTo>
                    <a:pt x="13074" y="5103"/>
                  </a:lnTo>
                  <a:lnTo>
                    <a:pt x="13153" y="5039"/>
                  </a:lnTo>
                  <a:lnTo>
                    <a:pt x="13319" y="5039"/>
                  </a:lnTo>
                  <a:lnTo>
                    <a:pt x="13415" y="4961"/>
                  </a:lnTo>
                  <a:lnTo>
                    <a:pt x="13494" y="4961"/>
                  </a:lnTo>
                  <a:lnTo>
                    <a:pt x="13494" y="5039"/>
                  </a:lnTo>
                  <a:lnTo>
                    <a:pt x="13843" y="5039"/>
                  </a:lnTo>
                  <a:lnTo>
                    <a:pt x="13756" y="4897"/>
                  </a:lnTo>
                  <a:lnTo>
                    <a:pt x="13843" y="4897"/>
                  </a:lnTo>
                  <a:lnTo>
                    <a:pt x="13922" y="4897"/>
                  </a:lnTo>
                  <a:lnTo>
                    <a:pt x="14010" y="4763"/>
                  </a:lnTo>
                  <a:lnTo>
                    <a:pt x="14097" y="4685"/>
                  </a:lnTo>
                  <a:lnTo>
                    <a:pt x="14351" y="4763"/>
                  </a:lnTo>
                  <a:lnTo>
                    <a:pt x="14351" y="4897"/>
                  </a:lnTo>
                  <a:lnTo>
                    <a:pt x="14351" y="5039"/>
                  </a:lnTo>
                  <a:lnTo>
                    <a:pt x="14429" y="4961"/>
                  </a:lnTo>
                  <a:lnTo>
                    <a:pt x="14526" y="4897"/>
                  </a:lnTo>
                  <a:lnTo>
                    <a:pt x="14692" y="4897"/>
                  </a:lnTo>
                  <a:lnTo>
                    <a:pt x="14770" y="4763"/>
                  </a:lnTo>
                  <a:lnTo>
                    <a:pt x="14867" y="4763"/>
                  </a:lnTo>
                  <a:lnTo>
                    <a:pt x="15033" y="4897"/>
                  </a:lnTo>
                  <a:lnTo>
                    <a:pt x="15129" y="4897"/>
                  </a:lnTo>
                  <a:lnTo>
                    <a:pt x="15374" y="4826"/>
                  </a:lnTo>
                  <a:lnTo>
                    <a:pt x="15374" y="4897"/>
                  </a:lnTo>
                  <a:lnTo>
                    <a:pt x="15461" y="5039"/>
                  </a:lnTo>
                  <a:lnTo>
                    <a:pt x="15461" y="5237"/>
                  </a:lnTo>
                  <a:lnTo>
                    <a:pt x="15636" y="5315"/>
                  </a:lnTo>
                  <a:lnTo>
                    <a:pt x="15802" y="5315"/>
                  </a:lnTo>
                  <a:lnTo>
                    <a:pt x="15881" y="5450"/>
                  </a:lnTo>
                  <a:lnTo>
                    <a:pt x="16056" y="5450"/>
                  </a:lnTo>
                  <a:lnTo>
                    <a:pt x="16143" y="5656"/>
                  </a:lnTo>
                  <a:lnTo>
                    <a:pt x="16143" y="5790"/>
                  </a:lnTo>
                  <a:lnTo>
                    <a:pt x="16056" y="5925"/>
                  </a:lnTo>
                  <a:lnTo>
                    <a:pt x="16143" y="6003"/>
                  </a:lnTo>
                  <a:lnTo>
                    <a:pt x="16056" y="6067"/>
                  </a:lnTo>
                  <a:lnTo>
                    <a:pt x="15881" y="6003"/>
                  </a:lnTo>
                  <a:lnTo>
                    <a:pt x="15802" y="6067"/>
                  </a:lnTo>
                  <a:lnTo>
                    <a:pt x="15715" y="6279"/>
                  </a:lnTo>
                  <a:lnTo>
                    <a:pt x="15715" y="6343"/>
                  </a:lnTo>
                  <a:lnTo>
                    <a:pt x="16143" y="6343"/>
                  </a:lnTo>
                  <a:lnTo>
                    <a:pt x="16222" y="6201"/>
                  </a:lnTo>
                  <a:lnTo>
                    <a:pt x="16484" y="6201"/>
                  </a:lnTo>
                  <a:lnTo>
                    <a:pt x="16484" y="6279"/>
                  </a:lnTo>
                  <a:lnTo>
                    <a:pt x="16913" y="6279"/>
                  </a:lnTo>
                  <a:lnTo>
                    <a:pt x="17088" y="6414"/>
                  </a:lnTo>
                  <a:lnTo>
                    <a:pt x="17333" y="6343"/>
                  </a:lnTo>
                  <a:lnTo>
                    <a:pt x="17429" y="6279"/>
                  </a:lnTo>
                  <a:lnTo>
                    <a:pt x="17691" y="6201"/>
                  </a:lnTo>
                  <a:lnTo>
                    <a:pt x="17508" y="6003"/>
                  </a:lnTo>
                  <a:lnTo>
                    <a:pt x="17595" y="6003"/>
                  </a:lnTo>
                  <a:lnTo>
                    <a:pt x="17691" y="6067"/>
                  </a:lnTo>
                  <a:lnTo>
                    <a:pt x="17857" y="6003"/>
                  </a:lnTo>
                  <a:lnTo>
                    <a:pt x="18024" y="6067"/>
                  </a:lnTo>
                  <a:lnTo>
                    <a:pt x="17936" y="6201"/>
                  </a:lnTo>
                  <a:lnTo>
                    <a:pt x="18102" y="6279"/>
                  </a:lnTo>
                  <a:lnTo>
                    <a:pt x="18365" y="6067"/>
                  </a:lnTo>
                  <a:lnTo>
                    <a:pt x="18618" y="6067"/>
                  </a:lnTo>
                  <a:lnTo>
                    <a:pt x="18706" y="6067"/>
                  </a:lnTo>
                  <a:lnTo>
                    <a:pt x="18784" y="6003"/>
                  </a:lnTo>
                  <a:lnTo>
                    <a:pt x="18968" y="6003"/>
                  </a:lnTo>
                  <a:lnTo>
                    <a:pt x="18968" y="6137"/>
                  </a:lnTo>
                  <a:lnTo>
                    <a:pt x="19134" y="6137"/>
                  </a:lnTo>
                  <a:lnTo>
                    <a:pt x="19222" y="6201"/>
                  </a:lnTo>
                  <a:lnTo>
                    <a:pt x="19309" y="6137"/>
                  </a:lnTo>
                  <a:lnTo>
                    <a:pt x="19388" y="6279"/>
                  </a:lnTo>
                  <a:lnTo>
                    <a:pt x="19388" y="6414"/>
                  </a:lnTo>
                  <a:lnTo>
                    <a:pt x="19475" y="6414"/>
                  </a:lnTo>
                  <a:lnTo>
                    <a:pt x="19475" y="6556"/>
                  </a:lnTo>
                  <a:lnTo>
                    <a:pt x="19554" y="6619"/>
                  </a:lnTo>
                  <a:lnTo>
                    <a:pt x="19554" y="6754"/>
                  </a:lnTo>
                  <a:lnTo>
                    <a:pt x="19816" y="6896"/>
                  </a:lnTo>
                  <a:lnTo>
                    <a:pt x="19816" y="6967"/>
                  </a:lnTo>
                  <a:lnTo>
                    <a:pt x="19991" y="7030"/>
                  </a:lnTo>
                  <a:lnTo>
                    <a:pt x="19895" y="7101"/>
                  </a:lnTo>
                  <a:lnTo>
                    <a:pt x="19895" y="7243"/>
                  </a:lnTo>
                  <a:lnTo>
                    <a:pt x="19991" y="7172"/>
                  </a:lnTo>
                  <a:lnTo>
                    <a:pt x="19991" y="7243"/>
                  </a:lnTo>
                  <a:lnTo>
                    <a:pt x="19991" y="7307"/>
                  </a:lnTo>
                  <a:lnTo>
                    <a:pt x="19991" y="7378"/>
                  </a:lnTo>
                  <a:lnTo>
                    <a:pt x="19991" y="7519"/>
                  </a:lnTo>
                  <a:lnTo>
                    <a:pt x="19895" y="7583"/>
                  </a:lnTo>
                  <a:lnTo>
                    <a:pt x="19895" y="7718"/>
                  </a:lnTo>
                  <a:lnTo>
                    <a:pt x="19816" y="7718"/>
                  </a:lnTo>
                  <a:lnTo>
                    <a:pt x="19650" y="7860"/>
                  </a:lnTo>
                  <a:lnTo>
                    <a:pt x="19554" y="7860"/>
                  </a:lnTo>
                  <a:lnTo>
                    <a:pt x="19554" y="7994"/>
                  </a:lnTo>
                  <a:lnTo>
                    <a:pt x="19475" y="7994"/>
                  </a:lnTo>
                  <a:lnTo>
                    <a:pt x="19388" y="7994"/>
                  </a:lnTo>
                  <a:lnTo>
                    <a:pt x="19309" y="7994"/>
                  </a:lnTo>
                  <a:lnTo>
                    <a:pt x="19309" y="8072"/>
                  </a:lnTo>
                  <a:lnTo>
                    <a:pt x="19309" y="8136"/>
                  </a:lnTo>
                  <a:lnTo>
                    <a:pt x="19309" y="8207"/>
                  </a:lnTo>
                  <a:lnTo>
                    <a:pt x="19222" y="8349"/>
                  </a:lnTo>
                  <a:lnTo>
                    <a:pt x="19388" y="8349"/>
                  </a:lnTo>
                  <a:lnTo>
                    <a:pt x="19475" y="8483"/>
                  </a:lnTo>
                  <a:lnTo>
                    <a:pt x="19388" y="8547"/>
                  </a:lnTo>
                  <a:lnTo>
                    <a:pt x="19309" y="8547"/>
                  </a:lnTo>
                  <a:lnTo>
                    <a:pt x="19309" y="8760"/>
                  </a:lnTo>
                  <a:lnTo>
                    <a:pt x="19388" y="8760"/>
                  </a:lnTo>
                  <a:lnTo>
                    <a:pt x="19388" y="8958"/>
                  </a:lnTo>
                  <a:lnTo>
                    <a:pt x="19047" y="8958"/>
                  </a:lnTo>
                  <a:lnTo>
                    <a:pt x="18784" y="9100"/>
                  </a:lnTo>
                  <a:lnTo>
                    <a:pt x="18706" y="9100"/>
                  </a:lnTo>
                  <a:lnTo>
                    <a:pt x="18277" y="9171"/>
                  </a:lnTo>
                  <a:lnTo>
                    <a:pt x="18277" y="9447"/>
                  </a:lnTo>
                  <a:lnTo>
                    <a:pt x="18277" y="9511"/>
                  </a:lnTo>
                  <a:lnTo>
                    <a:pt x="18365" y="9511"/>
                  </a:lnTo>
                  <a:lnTo>
                    <a:pt x="18365" y="9447"/>
                  </a:lnTo>
                  <a:lnTo>
                    <a:pt x="18443" y="9447"/>
                  </a:lnTo>
                  <a:lnTo>
                    <a:pt x="18443" y="9589"/>
                  </a:lnTo>
                  <a:lnTo>
                    <a:pt x="18540" y="9653"/>
                  </a:lnTo>
                  <a:lnTo>
                    <a:pt x="18784" y="9787"/>
                  </a:lnTo>
                  <a:lnTo>
                    <a:pt x="18706" y="9865"/>
                  </a:lnTo>
                  <a:lnTo>
                    <a:pt x="18784" y="9929"/>
                  </a:lnTo>
                  <a:lnTo>
                    <a:pt x="18881" y="9929"/>
                  </a:lnTo>
                  <a:lnTo>
                    <a:pt x="18968" y="10000"/>
                  </a:lnTo>
                  <a:lnTo>
                    <a:pt x="18881" y="10135"/>
                  </a:lnTo>
                  <a:lnTo>
                    <a:pt x="18881" y="10206"/>
                  </a:lnTo>
                  <a:lnTo>
                    <a:pt x="18881" y="10340"/>
                  </a:lnTo>
                  <a:lnTo>
                    <a:pt x="19134" y="10617"/>
                  </a:lnTo>
                  <a:lnTo>
                    <a:pt x="19047" y="10687"/>
                  </a:lnTo>
                  <a:lnTo>
                    <a:pt x="18706" y="10687"/>
                  </a:lnTo>
                  <a:lnTo>
                    <a:pt x="18540" y="10751"/>
                  </a:lnTo>
                  <a:lnTo>
                    <a:pt x="18443" y="10751"/>
                  </a:lnTo>
                  <a:lnTo>
                    <a:pt x="18443" y="10829"/>
                  </a:lnTo>
                  <a:lnTo>
                    <a:pt x="18365" y="10829"/>
                  </a:lnTo>
                  <a:lnTo>
                    <a:pt x="18365" y="10751"/>
                  </a:lnTo>
                  <a:lnTo>
                    <a:pt x="18277" y="10751"/>
                  </a:lnTo>
                  <a:lnTo>
                    <a:pt x="18277" y="10829"/>
                  </a:lnTo>
                  <a:lnTo>
                    <a:pt x="18365" y="10964"/>
                  </a:lnTo>
                  <a:lnTo>
                    <a:pt x="18443" y="11028"/>
                  </a:lnTo>
                  <a:lnTo>
                    <a:pt x="18540" y="11106"/>
                  </a:lnTo>
                  <a:lnTo>
                    <a:pt x="18540" y="11169"/>
                  </a:lnTo>
                  <a:lnTo>
                    <a:pt x="18618" y="11304"/>
                  </a:lnTo>
                  <a:lnTo>
                    <a:pt x="18706" y="11382"/>
                  </a:lnTo>
                  <a:lnTo>
                    <a:pt x="18706" y="11517"/>
                  </a:lnTo>
                  <a:lnTo>
                    <a:pt x="18784" y="11517"/>
                  </a:lnTo>
                  <a:lnTo>
                    <a:pt x="18784" y="11651"/>
                  </a:lnTo>
                  <a:lnTo>
                    <a:pt x="18706" y="11857"/>
                  </a:lnTo>
                  <a:lnTo>
                    <a:pt x="18540" y="12204"/>
                  </a:lnTo>
                  <a:lnTo>
                    <a:pt x="18443" y="12268"/>
                  </a:lnTo>
                  <a:lnTo>
                    <a:pt x="18443" y="12481"/>
                  </a:lnTo>
                  <a:lnTo>
                    <a:pt x="18540" y="12544"/>
                  </a:lnTo>
                  <a:lnTo>
                    <a:pt x="18618" y="12622"/>
                  </a:lnTo>
                  <a:lnTo>
                    <a:pt x="18706" y="12622"/>
                  </a:lnTo>
                  <a:lnTo>
                    <a:pt x="18784" y="12686"/>
                  </a:lnTo>
                  <a:lnTo>
                    <a:pt x="19047" y="12899"/>
                  </a:lnTo>
                  <a:lnTo>
                    <a:pt x="19047" y="12962"/>
                  </a:lnTo>
                  <a:lnTo>
                    <a:pt x="19134" y="12962"/>
                  </a:lnTo>
                  <a:lnTo>
                    <a:pt x="19134" y="13033"/>
                  </a:lnTo>
                  <a:lnTo>
                    <a:pt x="19134" y="13168"/>
                  </a:lnTo>
                  <a:lnTo>
                    <a:pt x="19222" y="13444"/>
                  </a:lnTo>
                  <a:lnTo>
                    <a:pt x="19309" y="13444"/>
                  </a:lnTo>
                  <a:lnTo>
                    <a:pt x="19388" y="13785"/>
                  </a:lnTo>
                  <a:lnTo>
                    <a:pt x="19388" y="13926"/>
                  </a:lnTo>
                  <a:lnTo>
                    <a:pt x="19475" y="13997"/>
                  </a:lnTo>
                  <a:lnTo>
                    <a:pt x="19475" y="14061"/>
                  </a:lnTo>
                  <a:lnTo>
                    <a:pt x="19475" y="14203"/>
                  </a:lnTo>
                  <a:lnTo>
                    <a:pt x="19475" y="14337"/>
                  </a:lnTo>
                  <a:lnTo>
                    <a:pt x="19388" y="14415"/>
                  </a:lnTo>
                  <a:lnTo>
                    <a:pt x="19475" y="14550"/>
                  </a:lnTo>
                  <a:lnTo>
                    <a:pt x="19650" y="14614"/>
                  </a:lnTo>
                  <a:close/>
                </a:path>
              </a:pathLst>
            </a:custGeom>
            <a:solidFill>
              <a:srgbClr val="E11A81">
                <a:lumMod val="20000"/>
                <a:lumOff val="80000"/>
              </a:srgbClr>
            </a:solidFill>
            <a:ln w="6350" cap="flat">
              <a:solidFill>
                <a:sysClr val="window" lastClr="FFFFFF"/>
              </a:solidFill>
              <a:prstDash val="solid"/>
              <a:round/>
              <a:headEnd type="none" w="med" len="med"/>
              <a:tailEnd type="none" w="med" len="me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86496">
                <a:defRPr/>
              </a:pPr>
              <a:endParaRPr lang="fr-FR" sz="1400">
                <a:solidFill>
                  <a:srgbClr val="5E5E5E"/>
                </a:solidFill>
                <a:latin typeface="Helvetica Neue"/>
              </a:endParaRPr>
            </a:p>
          </p:txBody>
        </p:sp>
        <p:sp>
          <p:nvSpPr>
            <p:cNvPr id="40" name="Freeform 7">
              <a:extLst>
                <a:ext uri="{FF2B5EF4-FFF2-40B4-BE49-F238E27FC236}">
                  <a16:creationId xmlns:a16="http://schemas.microsoft.com/office/drawing/2014/main" id="{29669332-E5E1-4CAD-8E94-EE1EDDD31E97}"/>
                </a:ext>
              </a:extLst>
            </p:cNvPr>
            <p:cNvSpPr>
              <a:spLocks noChangeAspect="1"/>
            </p:cNvSpPr>
            <p:nvPr/>
          </p:nvSpPr>
          <p:spPr bwMode="auto">
            <a:xfrm>
              <a:off x="3499859" y="4044633"/>
              <a:ext cx="106663" cy="83991"/>
            </a:xfrm>
            <a:custGeom>
              <a:avLst/>
              <a:gdLst>
                <a:gd name="T0" fmla="*/ 271 w 20000"/>
                <a:gd name="T1" fmla="*/ 393 h 20000"/>
                <a:gd name="T2" fmla="*/ 282 w 20000"/>
                <a:gd name="T3" fmla="*/ 420 h 20000"/>
                <a:gd name="T4" fmla="*/ 285 w 20000"/>
                <a:gd name="T5" fmla="*/ 431 h 20000"/>
                <a:gd name="T6" fmla="*/ 334 w 20000"/>
                <a:gd name="T7" fmla="*/ 434 h 20000"/>
                <a:gd name="T8" fmla="*/ 356 w 20000"/>
                <a:gd name="T9" fmla="*/ 431 h 20000"/>
                <a:gd name="T10" fmla="*/ 391 w 20000"/>
                <a:gd name="T11" fmla="*/ 417 h 20000"/>
                <a:gd name="T12" fmla="*/ 419 w 20000"/>
                <a:gd name="T13" fmla="*/ 385 h 20000"/>
                <a:gd name="T14" fmla="*/ 412 w 20000"/>
                <a:gd name="T15" fmla="*/ 365 h 20000"/>
                <a:gd name="T16" fmla="*/ 436 w 20000"/>
                <a:gd name="T17" fmla="*/ 351 h 20000"/>
                <a:gd name="T18" fmla="*/ 465 w 20000"/>
                <a:gd name="T19" fmla="*/ 340 h 20000"/>
                <a:gd name="T20" fmla="*/ 496 w 20000"/>
                <a:gd name="T21" fmla="*/ 340 h 20000"/>
                <a:gd name="T22" fmla="*/ 514 w 20000"/>
                <a:gd name="T23" fmla="*/ 319 h 20000"/>
                <a:gd name="T24" fmla="*/ 517 w 20000"/>
                <a:gd name="T25" fmla="*/ 283 h 20000"/>
                <a:gd name="T26" fmla="*/ 535 w 20000"/>
                <a:gd name="T27" fmla="*/ 255 h 20000"/>
                <a:gd name="T28" fmla="*/ 545 w 20000"/>
                <a:gd name="T29" fmla="*/ 231 h 20000"/>
                <a:gd name="T30" fmla="*/ 528 w 20000"/>
                <a:gd name="T31" fmla="*/ 214 h 20000"/>
                <a:gd name="T32" fmla="*/ 511 w 20000"/>
                <a:gd name="T33" fmla="*/ 189 h 20000"/>
                <a:gd name="T34" fmla="*/ 514 w 20000"/>
                <a:gd name="T35" fmla="*/ 165 h 20000"/>
                <a:gd name="T36" fmla="*/ 531 w 20000"/>
                <a:gd name="T37" fmla="*/ 151 h 20000"/>
                <a:gd name="T38" fmla="*/ 507 w 20000"/>
                <a:gd name="T39" fmla="*/ 140 h 20000"/>
                <a:gd name="T40" fmla="*/ 475 w 20000"/>
                <a:gd name="T41" fmla="*/ 115 h 20000"/>
                <a:gd name="T42" fmla="*/ 465 w 20000"/>
                <a:gd name="T43" fmla="*/ 98 h 20000"/>
                <a:gd name="T44" fmla="*/ 451 w 20000"/>
                <a:gd name="T45" fmla="*/ 70 h 20000"/>
                <a:gd name="T46" fmla="*/ 422 w 20000"/>
                <a:gd name="T47" fmla="*/ 49 h 20000"/>
                <a:gd name="T48" fmla="*/ 398 w 20000"/>
                <a:gd name="T49" fmla="*/ 59 h 20000"/>
                <a:gd name="T50" fmla="*/ 366 w 20000"/>
                <a:gd name="T51" fmla="*/ 59 h 20000"/>
                <a:gd name="T52" fmla="*/ 345 w 20000"/>
                <a:gd name="T53" fmla="*/ 70 h 20000"/>
                <a:gd name="T54" fmla="*/ 310 w 20000"/>
                <a:gd name="T55" fmla="*/ 52 h 20000"/>
                <a:gd name="T56" fmla="*/ 289 w 20000"/>
                <a:gd name="T57" fmla="*/ 56 h 20000"/>
                <a:gd name="T58" fmla="*/ 264 w 20000"/>
                <a:gd name="T59" fmla="*/ 42 h 20000"/>
                <a:gd name="T60" fmla="*/ 225 w 20000"/>
                <a:gd name="T61" fmla="*/ 21 h 20000"/>
                <a:gd name="T62" fmla="*/ 201 w 20000"/>
                <a:gd name="T63" fmla="*/ 31 h 20000"/>
                <a:gd name="T64" fmla="*/ 187 w 20000"/>
                <a:gd name="T65" fmla="*/ 24 h 20000"/>
                <a:gd name="T66" fmla="*/ 155 w 20000"/>
                <a:gd name="T67" fmla="*/ 17 h 20000"/>
                <a:gd name="T68" fmla="*/ 126 w 20000"/>
                <a:gd name="T69" fmla="*/ 28 h 20000"/>
                <a:gd name="T70" fmla="*/ 99 w 20000"/>
                <a:gd name="T71" fmla="*/ 24 h 20000"/>
                <a:gd name="T72" fmla="*/ 77 w 20000"/>
                <a:gd name="T73" fmla="*/ 17 h 20000"/>
                <a:gd name="T74" fmla="*/ 71 w 20000"/>
                <a:gd name="T75" fmla="*/ 7 h 20000"/>
                <a:gd name="T76" fmla="*/ 57 w 20000"/>
                <a:gd name="T77" fmla="*/ 38 h 20000"/>
                <a:gd name="T78" fmla="*/ 46 w 20000"/>
                <a:gd name="T79" fmla="*/ 63 h 20000"/>
                <a:gd name="T80" fmla="*/ 18 w 20000"/>
                <a:gd name="T81" fmla="*/ 63 h 20000"/>
                <a:gd name="T82" fmla="*/ 4 w 20000"/>
                <a:gd name="T83" fmla="*/ 84 h 20000"/>
                <a:gd name="T84" fmla="*/ 21 w 20000"/>
                <a:gd name="T85" fmla="*/ 101 h 20000"/>
                <a:gd name="T86" fmla="*/ 25 w 20000"/>
                <a:gd name="T87" fmla="*/ 126 h 20000"/>
                <a:gd name="T88" fmla="*/ 32 w 20000"/>
                <a:gd name="T89" fmla="*/ 147 h 20000"/>
                <a:gd name="T90" fmla="*/ 36 w 20000"/>
                <a:gd name="T91" fmla="*/ 161 h 20000"/>
                <a:gd name="T92" fmla="*/ 36 w 20000"/>
                <a:gd name="T93" fmla="*/ 189 h 20000"/>
                <a:gd name="T94" fmla="*/ 42 w 20000"/>
                <a:gd name="T95" fmla="*/ 217 h 20000"/>
                <a:gd name="T96" fmla="*/ 57 w 20000"/>
                <a:gd name="T97" fmla="*/ 245 h 20000"/>
                <a:gd name="T98" fmla="*/ 77 w 20000"/>
                <a:gd name="T99" fmla="*/ 259 h 20000"/>
                <a:gd name="T100" fmla="*/ 91 w 20000"/>
                <a:gd name="T101" fmla="*/ 305 h 20000"/>
                <a:gd name="T102" fmla="*/ 116 w 20000"/>
                <a:gd name="T103" fmla="*/ 316 h 20000"/>
                <a:gd name="T104" fmla="*/ 137 w 20000"/>
                <a:gd name="T105" fmla="*/ 329 h 20000"/>
                <a:gd name="T106" fmla="*/ 137 w 20000"/>
                <a:gd name="T107" fmla="*/ 371 h 20000"/>
                <a:gd name="T108" fmla="*/ 172 w 20000"/>
                <a:gd name="T109" fmla="*/ 368 h 20000"/>
                <a:gd name="T110" fmla="*/ 197 w 20000"/>
                <a:gd name="T111" fmla="*/ 354 h 20000"/>
                <a:gd name="T112" fmla="*/ 222 w 20000"/>
                <a:gd name="T113" fmla="*/ 365 h 2000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00"/>
                <a:gd name="T172" fmla="*/ 0 h 20000"/>
                <a:gd name="T173" fmla="*/ 20000 w 20000"/>
                <a:gd name="T174" fmla="*/ 20000 h 2000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00" h="20000">
                  <a:moveTo>
                    <a:pt x="9042" y="16496"/>
                  </a:moveTo>
                  <a:lnTo>
                    <a:pt x="9173" y="16805"/>
                  </a:lnTo>
                  <a:lnTo>
                    <a:pt x="9173" y="17278"/>
                  </a:lnTo>
                  <a:lnTo>
                    <a:pt x="9420" y="17441"/>
                  </a:lnTo>
                  <a:lnTo>
                    <a:pt x="9681" y="17441"/>
                  </a:lnTo>
                  <a:lnTo>
                    <a:pt x="9798" y="17767"/>
                  </a:lnTo>
                  <a:lnTo>
                    <a:pt x="10046" y="17767"/>
                  </a:lnTo>
                  <a:lnTo>
                    <a:pt x="10189" y="18223"/>
                  </a:lnTo>
                  <a:lnTo>
                    <a:pt x="10189" y="18549"/>
                  </a:lnTo>
                  <a:lnTo>
                    <a:pt x="10046" y="18859"/>
                  </a:lnTo>
                  <a:lnTo>
                    <a:pt x="10189" y="19022"/>
                  </a:lnTo>
                  <a:lnTo>
                    <a:pt x="10046" y="19169"/>
                  </a:lnTo>
                  <a:lnTo>
                    <a:pt x="9798" y="19022"/>
                  </a:lnTo>
                  <a:lnTo>
                    <a:pt x="9681" y="19169"/>
                  </a:lnTo>
                  <a:lnTo>
                    <a:pt x="9537" y="19658"/>
                  </a:lnTo>
                  <a:lnTo>
                    <a:pt x="9537" y="19804"/>
                  </a:lnTo>
                  <a:lnTo>
                    <a:pt x="10189" y="19804"/>
                  </a:lnTo>
                  <a:lnTo>
                    <a:pt x="10306" y="19495"/>
                  </a:lnTo>
                  <a:lnTo>
                    <a:pt x="10697" y="19495"/>
                  </a:lnTo>
                  <a:lnTo>
                    <a:pt x="10697" y="19658"/>
                  </a:lnTo>
                  <a:lnTo>
                    <a:pt x="11336" y="19658"/>
                  </a:lnTo>
                  <a:lnTo>
                    <a:pt x="11583" y="19984"/>
                  </a:lnTo>
                  <a:lnTo>
                    <a:pt x="11961" y="19804"/>
                  </a:lnTo>
                  <a:lnTo>
                    <a:pt x="12091" y="19658"/>
                  </a:lnTo>
                  <a:lnTo>
                    <a:pt x="12482" y="19495"/>
                  </a:lnTo>
                  <a:lnTo>
                    <a:pt x="12208" y="19022"/>
                  </a:lnTo>
                  <a:lnTo>
                    <a:pt x="12352" y="19022"/>
                  </a:lnTo>
                  <a:lnTo>
                    <a:pt x="12482" y="19169"/>
                  </a:lnTo>
                  <a:lnTo>
                    <a:pt x="12743" y="19022"/>
                  </a:lnTo>
                  <a:lnTo>
                    <a:pt x="12990" y="19169"/>
                  </a:lnTo>
                  <a:lnTo>
                    <a:pt x="12860" y="19495"/>
                  </a:lnTo>
                  <a:lnTo>
                    <a:pt x="13107" y="19658"/>
                  </a:lnTo>
                  <a:lnTo>
                    <a:pt x="13498" y="19169"/>
                  </a:lnTo>
                  <a:lnTo>
                    <a:pt x="13863" y="19169"/>
                  </a:lnTo>
                  <a:lnTo>
                    <a:pt x="14007" y="19169"/>
                  </a:lnTo>
                  <a:lnTo>
                    <a:pt x="14124" y="19022"/>
                  </a:lnTo>
                  <a:lnTo>
                    <a:pt x="14124" y="18859"/>
                  </a:lnTo>
                  <a:lnTo>
                    <a:pt x="14397" y="18549"/>
                  </a:lnTo>
                  <a:lnTo>
                    <a:pt x="14515" y="18549"/>
                  </a:lnTo>
                  <a:lnTo>
                    <a:pt x="14515" y="18386"/>
                  </a:lnTo>
                  <a:lnTo>
                    <a:pt x="14645" y="18386"/>
                  </a:lnTo>
                  <a:lnTo>
                    <a:pt x="14762" y="18386"/>
                  </a:lnTo>
                  <a:lnTo>
                    <a:pt x="14893" y="18077"/>
                  </a:lnTo>
                  <a:lnTo>
                    <a:pt x="15153" y="17441"/>
                  </a:lnTo>
                  <a:lnTo>
                    <a:pt x="15153" y="17278"/>
                  </a:lnTo>
                  <a:lnTo>
                    <a:pt x="14893" y="17131"/>
                  </a:lnTo>
                  <a:lnTo>
                    <a:pt x="15023" y="16952"/>
                  </a:lnTo>
                  <a:lnTo>
                    <a:pt x="14893" y="16805"/>
                  </a:lnTo>
                  <a:lnTo>
                    <a:pt x="14893" y="16642"/>
                  </a:lnTo>
                  <a:lnTo>
                    <a:pt x="14893" y="16496"/>
                  </a:lnTo>
                  <a:lnTo>
                    <a:pt x="15153" y="16007"/>
                  </a:lnTo>
                  <a:lnTo>
                    <a:pt x="15023" y="16007"/>
                  </a:lnTo>
                  <a:lnTo>
                    <a:pt x="15153" y="15681"/>
                  </a:lnTo>
                  <a:lnTo>
                    <a:pt x="15401" y="15681"/>
                  </a:lnTo>
                  <a:lnTo>
                    <a:pt x="15661" y="15681"/>
                  </a:lnTo>
                  <a:lnTo>
                    <a:pt x="15661" y="15860"/>
                  </a:lnTo>
                  <a:lnTo>
                    <a:pt x="15779" y="15860"/>
                  </a:lnTo>
                  <a:lnTo>
                    <a:pt x="15909" y="15371"/>
                  </a:lnTo>
                  <a:lnTo>
                    <a:pt x="16026" y="15371"/>
                  </a:lnTo>
                  <a:lnTo>
                    <a:pt x="16300" y="15371"/>
                  </a:lnTo>
                  <a:lnTo>
                    <a:pt x="16417" y="15371"/>
                  </a:lnTo>
                  <a:lnTo>
                    <a:pt x="16678" y="15534"/>
                  </a:lnTo>
                  <a:lnTo>
                    <a:pt x="16808" y="15371"/>
                  </a:lnTo>
                  <a:lnTo>
                    <a:pt x="16925" y="15371"/>
                  </a:lnTo>
                  <a:lnTo>
                    <a:pt x="17055" y="15534"/>
                  </a:lnTo>
                  <a:lnTo>
                    <a:pt x="17316" y="15224"/>
                  </a:lnTo>
                  <a:lnTo>
                    <a:pt x="17433" y="15224"/>
                  </a:lnTo>
                  <a:lnTo>
                    <a:pt x="17681" y="15371"/>
                  </a:lnTo>
                  <a:lnTo>
                    <a:pt x="17824" y="15371"/>
                  </a:lnTo>
                  <a:lnTo>
                    <a:pt x="17941" y="15371"/>
                  </a:lnTo>
                  <a:lnTo>
                    <a:pt x="18072" y="15224"/>
                  </a:lnTo>
                  <a:lnTo>
                    <a:pt x="18215" y="15224"/>
                  </a:lnTo>
                  <a:lnTo>
                    <a:pt x="18332" y="14898"/>
                  </a:lnTo>
                  <a:lnTo>
                    <a:pt x="18580" y="15045"/>
                  </a:lnTo>
                  <a:lnTo>
                    <a:pt x="18710" y="14735"/>
                  </a:lnTo>
                  <a:lnTo>
                    <a:pt x="18580" y="14425"/>
                  </a:lnTo>
                  <a:lnTo>
                    <a:pt x="18463" y="14425"/>
                  </a:lnTo>
                  <a:lnTo>
                    <a:pt x="18463" y="14279"/>
                  </a:lnTo>
                  <a:lnTo>
                    <a:pt x="18580" y="13953"/>
                  </a:lnTo>
                  <a:lnTo>
                    <a:pt x="18332" y="13464"/>
                  </a:lnTo>
                  <a:lnTo>
                    <a:pt x="18580" y="13317"/>
                  </a:lnTo>
                  <a:lnTo>
                    <a:pt x="18840" y="13154"/>
                  </a:lnTo>
                  <a:lnTo>
                    <a:pt x="18710" y="12828"/>
                  </a:lnTo>
                  <a:lnTo>
                    <a:pt x="18580" y="12518"/>
                  </a:lnTo>
                  <a:lnTo>
                    <a:pt x="18971" y="12518"/>
                  </a:lnTo>
                  <a:lnTo>
                    <a:pt x="19218" y="12372"/>
                  </a:lnTo>
                  <a:lnTo>
                    <a:pt x="19088" y="11736"/>
                  </a:lnTo>
                  <a:lnTo>
                    <a:pt x="19336" y="11557"/>
                  </a:lnTo>
                  <a:lnTo>
                    <a:pt x="19336" y="11410"/>
                  </a:lnTo>
                  <a:lnTo>
                    <a:pt x="19596" y="11410"/>
                  </a:lnTo>
                  <a:lnTo>
                    <a:pt x="19479" y="11247"/>
                  </a:lnTo>
                  <a:lnTo>
                    <a:pt x="19987" y="10937"/>
                  </a:lnTo>
                  <a:lnTo>
                    <a:pt x="19844" y="10774"/>
                  </a:lnTo>
                  <a:lnTo>
                    <a:pt x="19596" y="10611"/>
                  </a:lnTo>
                  <a:lnTo>
                    <a:pt x="19726" y="10465"/>
                  </a:lnTo>
                  <a:lnTo>
                    <a:pt x="19336" y="10465"/>
                  </a:lnTo>
                  <a:lnTo>
                    <a:pt x="19218" y="10611"/>
                  </a:lnTo>
                  <a:lnTo>
                    <a:pt x="18971" y="10611"/>
                  </a:lnTo>
                  <a:lnTo>
                    <a:pt x="18971" y="10302"/>
                  </a:lnTo>
                  <a:lnTo>
                    <a:pt x="18971" y="10155"/>
                  </a:lnTo>
                  <a:lnTo>
                    <a:pt x="18840" y="9976"/>
                  </a:lnTo>
                  <a:lnTo>
                    <a:pt x="19088" y="9666"/>
                  </a:lnTo>
                  <a:lnTo>
                    <a:pt x="19218" y="9519"/>
                  </a:lnTo>
                  <a:lnTo>
                    <a:pt x="19088" y="9193"/>
                  </a:lnTo>
                  <a:lnTo>
                    <a:pt x="19088" y="9030"/>
                  </a:lnTo>
                  <a:lnTo>
                    <a:pt x="19088" y="8883"/>
                  </a:lnTo>
                  <a:lnTo>
                    <a:pt x="18840" y="8883"/>
                  </a:lnTo>
                  <a:lnTo>
                    <a:pt x="18710" y="8557"/>
                  </a:lnTo>
                  <a:lnTo>
                    <a:pt x="18463" y="8557"/>
                  </a:lnTo>
                  <a:lnTo>
                    <a:pt x="18580" y="8068"/>
                  </a:lnTo>
                  <a:lnTo>
                    <a:pt x="18710" y="8068"/>
                  </a:lnTo>
                  <a:lnTo>
                    <a:pt x="18840" y="7922"/>
                  </a:lnTo>
                  <a:lnTo>
                    <a:pt x="18840" y="7759"/>
                  </a:lnTo>
                  <a:lnTo>
                    <a:pt x="18710" y="7759"/>
                  </a:lnTo>
                  <a:lnTo>
                    <a:pt x="18463" y="7612"/>
                  </a:lnTo>
                  <a:lnTo>
                    <a:pt x="18580" y="7449"/>
                  </a:lnTo>
                  <a:lnTo>
                    <a:pt x="18840" y="7449"/>
                  </a:lnTo>
                  <a:lnTo>
                    <a:pt x="19088" y="7449"/>
                  </a:lnTo>
                  <a:lnTo>
                    <a:pt x="19218" y="7449"/>
                  </a:lnTo>
                  <a:lnTo>
                    <a:pt x="19218" y="7286"/>
                  </a:lnTo>
                  <a:lnTo>
                    <a:pt x="19218" y="7123"/>
                  </a:lnTo>
                  <a:lnTo>
                    <a:pt x="19218" y="6813"/>
                  </a:lnTo>
                  <a:lnTo>
                    <a:pt x="19088" y="6813"/>
                  </a:lnTo>
                  <a:lnTo>
                    <a:pt x="18971" y="6976"/>
                  </a:lnTo>
                  <a:lnTo>
                    <a:pt x="18840" y="6976"/>
                  </a:lnTo>
                  <a:lnTo>
                    <a:pt x="18971" y="6667"/>
                  </a:lnTo>
                  <a:lnTo>
                    <a:pt x="18463" y="6487"/>
                  </a:lnTo>
                  <a:lnTo>
                    <a:pt x="18463" y="6341"/>
                  </a:lnTo>
                  <a:lnTo>
                    <a:pt x="18332" y="6341"/>
                  </a:lnTo>
                  <a:lnTo>
                    <a:pt x="18332" y="6487"/>
                  </a:lnTo>
                  <a:lnTo>
                    <a:pt x="18215" y="6487"/>
                  </a:lnTo>
                  <a:lnTo>
                    <a:pt x="18072" y="5542"/>
                  </a:lnTo>
                  <a:lnTo>
                    <a:pt x="17824" y="5852"/>
                  </a:lnTo>
                  <a:lnTo>
                    <a:pt x="17564" y="5705"/>
                  </a:lnTo>
                  <a:lnTo>
                    <a:pt x="17564" y="5216"/>
                  </a:lnTo>
                  <a:lnTo>
                    <a:pt x="17173" y="5216"/>
                  </a:lnTo>
                  <a:lnTo>
                    <a:pt x="17055" y="5069"/>
                  </a:lnTo>
                  <a:lnTo>
                    <a:pt x="17055" y="4906"/>
                  </a:lnTo>
                  <a:lnTo>
                    <a:pt x="17055" y="4580"/>
                  </a:lnTo>
                  <a:lnTo>
                    <a:pt x="16808" y="4580"/>
                  </a:lnTo>
                  <a:lnTo>
                    <a:pt x="16808" y="4434"/>
                  </a:lnTo>
                  <a:lnTo>
                    <a:pt x="16560" y="4271"/>
                  </a:lnTo>
                  <a:lnTo>
                    <a:pt x="16560" y="4124"/>
                  </a:lnTo>
                  <a:lnTo>
                    <a:pt x="16169" y="3798"/>
                  </a:lnTo>
                  <a:lnTo>
                    <a:pt x="16169" y="3635"/>
                  </a:lnTo>
                  <a:lnTo>
                    <a:pt x="16417" y="3325"/>
                  </a:lnTo>
                  <a:lnTo>
                    <a:pt x="16300" y="3178"/>
                  </a:lnTo>
                  <a:lnTo>
                    <a:pt x="16169" y="2852"/>
                  </a:lnTo>
                  <a:lnTo>
                    <a:pt x="16026" y="2852"/>
                  </a:lnTo>
                  <a:lnTo>
                    <a:pt x="16169" y="2543"/>
                  </a:lnTo>
                  <a:lnTo>
                    <a:pt x="15779" y="2217"/>
                  </a:lnTo>
                  <a:lnTo>
                    <a:pt x="15661" y="2363"/>
                  </a:lnTo>
                  <a:lnTo>
                    <a:pt x="15270" y="2217"/>
                  </a:lnTo>
                  <a:lnTo>
                    <a:pt x="15153" y="2363"/>
                  </a:lnTo>
                  <a:lnTo>
                    <a:pt x="15153" y="2689"/>
                  </a:lnTo>
                  <a:lnTo>
                    <a:pt x="15023" y="2689"/>
                  </a:lnTo>
                  <a:lnTo>
                    <a:pt x="14762" y="2689"/>
                  </a:lnTo>
                  <a:lnTo>
                    <a:pt x="14515" y="2999"/>
                  </a:lnTo>
                  <a:lnTo>
                    <a:pt x="14397" y="2852"/>
                  </a:lnTo>
                  <a:lnTo>
                    <a:pt x="14397" y="2689"/>
                  </a:lnTo>
                  <a:lnTo>
                    <a:pt x="14124" y="2689"/>
                  </a:lnTo>
                  <a:lnTo>
                    <a:pt x="14007" y="2852"/>
                  </a:lnTo>
                  <a:lnTo>
                    <a:pt x="13863" y="2852"/>
                  </a:lnTo>
                  <a:lnTo>
                    <a:pt x="13746" y="2689"/>
                  </a:lnTo>
                  <a:lnTo>
                    <a:pt x="13616" y="2852"/>
                  </a:lnTo>
                  <a:lnTo>
                    <a:pt x="13238" y="2999"/>
                  </a:lnTo>
                  <a:lnTo>
                    <a:pt x="13238" y="2689"/>
                  </a:lnTo>
                  <a:lnTo>
                    <a:pt x="13107" y="2852"/>
                  </a:lnTo>
                  <a:lnTo>
                    <a:pt x="12860" y="2543"/>
                  </a:lnTo>
                  <a:lnTo>
                    <a:pt x="12743" y="2689"/>
                  </a:lnTo>
                  <a:lnTo>
                    <a:pt x="12599" y="2689"/>
                  </a:lnTo>
                  <a:lnTo>
                    <a:pt x="12482" y="2852"/>
                  </a:lnTo>
                  <a:lnTo>
                    <a:pt x="12599" y="2999"/>
                  </a:lnTo>
                  <a:lnTo>
                    <a:pt x="12482" y="3178"/>
                  </a:lnTo>
                  <a:lnTo>
                    <a:pt x="12091" y="3178"/>
                  </a:lnTo>
                  <a:lnTo>
                    <a:pt x="12091" y="2852"/>
                  </a:lnTo>
                  <a:lnTo>
                    <a:pt x="11844" y="3178"/>
                  </a:lnTo>
                  <a:lnTo>
                    <a:pt x="11700" y="2999"/>
                  </a:lnTo>
                  <a:lnTo>
                    <a:pt x="11583" y="2689"/>
                  </a:lnTo>
                  <a:lnTo>
                    <a:pt x="11205" y="2363"/>
                  </a:lnTo>
                  <a:lnTo>
                    <a:pt x="11075" y="2543"/>
                  </a:lnTo>
                  <a:lnTo>
                    <a:pt x="10945" y="2543"/>
                  </a:lnTo>
                  <a:lnTo>
                    <a:pt x="10827" y="2852"/>
                  </a:lnTo>
                  <a:lnTo>
                    <a:pt x="10697" y="2852"/>
                  </a:lnTo>
                  <a:lnTo>
                    <a:pt x="10697" y="2689"/>
                  </a:lnTo>
                  <a:lnTo>
                    <a:pt x="10580" y="2543"/>
                  </a:lnTo>
                  <a:lnTo>
                    <a:pt x="10436" y="2543"/>
                  </a:lnTo>
                  <a:lnTo>
                    <a:pt x="10436" y="2054"/>
                  </a:lnTo>
                  <a:lnTo>
                    <a:pt x="10306" y="2054"/>
                  </a:lnTo>
                  <a:lnTo>
                    <a:pt x="10189" y="2363"/>
                  </a:lnTo>
                  <a:lnTo>
                    <a:pt x="9928" y="2363"/>
                  </a:lnTo>
                  <a:lnTo>
                    <a:pt x="9928" y="2054"/>
                  </a:lnTo>
                  <a:lnTo>
                    <a:pt x="9798" y="1907"/>
                  </a:lnTo>
                  <a:lnTo>
                    <a:pt x="9537" y="1907"/>
                  </a:lnTo>
                  <a:lnTo>
                    <a:pt x="9290" y="1907"/>
                  </a:lnTo>
                  <a:lnTo>
                    <a:pt x="9290" y="1728"/>
                  </a:lnTo>
                  <a:lnTo>
                    <a:pt x="9420" y="1581"/>
                  </a:lnTo>
                  <a:lnTo>
                    <a:pt x="8782" y="1418"/>
                  </a:lnTo>
                  <a:lnTo>
                    <a:pt x="8664" y="1581"/>
                  </a:lnTo>
                  <a:lnTo>
                    <a:pt x="8274" y="945"/>
                  </a:lnTo>
                  <a:lnTo>
                    <a:pt x="8143" y="945"/>
                  </a:lnTo>
                  <a:lnTo>
                    <a:pt x="8026" y="945"/>
                  </a:lnTo>
                  <a:lnTo>
                    <a:pt x="7883" y="1418"/>
                  </a:lnTo>
                  <a:lnTo>
                    <a:pt x="7765" y="1418"/>
                  </a:lnTo>
                  <a:lnTo>
                    <a:pt x="7635" y="1418"/>
                  </a:lnTo>
                  <a:lnTo>
                    <a:pt x="7518" y="1581"/>
                  </a:lnTo>
                  <a:lnTo>
                    <a:pt x="7257" y="1581"/>
                  </a:lnTo>
                  <a:lnTo>
                    <a:pt x="7257" y="1418"/>
                  </a:lnTo>
                  <a:lnTo>
                    <a:pt x="7388" y="1271"/>
                  </a:lnTo>
                  <a:lnTo>
                    <a:pt x="7257" y="1092"/>
                  </a:lnTo>
                  <a:lnTo>
                    <a:pt x="7010" y="1271"/>
                  </a:lnTo>
                  <a:lnTo>
                    <a:pt x="7010" y="1092"/>
                  </a:lnTo>
                  <a:lnTo>
                    <a:pt x="6762" y="1271"/>
                  </a:lnTo>
                  <a:lnTo>
                    <a:pt x="6762" y="1092"/>
                  </a:lnTo>
                  <a:lnTo>
                    <a:pt x="6762" y="945"/>
                  </a:lnTo>
                  <a:lnTo>
                    <a:pt x="6489" y="1092"/>
                  </a:lnTo>
                  <a:lnTo>
                    <a:pt x="6489" y="945"/>
                  </a:lnTo>
                  <a:lnTo>
                    <a:pt x="6111" y="782"/>
                  </a:lnTo>
                  <a:lnTo>
                    <a:pt x="6111" y="636"/>
                  </a:lnTo>
                  <a:lnTo>
                    <a:pt x="5980" y="636"/>
                  </a:lnTo>
                  <a:lnTo>
                    <a:pt x="5603" y="782"/>
                  </a:lnTo>
                  <a:lnTo>
                    <a:pt x="5603" y="945"/>
                  </a:lnTo>
                  <a:lnTo>
                    <a:pt x="5472" y="945"/>
                  </a:lnTo>
                  <a:lnTo>
                    <a:pt x="5225" y="1092"/>
                  </a:lnTo>
                  <a:lnTo>
                    <a:pt x="4964" y="945"/>
                  </a:lnTo>
                  <a:lnTo>
                    <a:pt x="4847" y="1092"/>
                  </a:lnTo>
                  <a:lnTo>
                    <a:pt x="4573" y="1271"/>
                  </a:lnTo>
                  <a:lnTo>
                    <a:pt x="4208" y="1418"/>
                  </a:lnTo>
                  <a:lnTo>
                    <a:pt x="4065" y="1092"/>
                  </a:lnTo>
                  <a:lnTo>
                    <a:pt x="3818" y="1271"/>
                  </a:lnTo>
                  <a:lnTo>
                    <a:pt x="3700" y="1271"/>
                  </a:lnTo>
                  <a:lnTo>
                    <a:pt x="3700" y="1092"/>
                  </a:lnTo>
                  <a:lnTo>
                    <a:pt x="3570" y="1092"/>
                  </a:lnTo>
                  <a:lnTo>
                    <a:pt x="3309" y="945"/>
                  </a:lnTo>
                  <a:lnTo>
                    <a:pt x="3192" y="945"/>
                  </a:lnTo>
                  <a:lnTo>
                    <a:pt x="3062" y="945"/>
                  </a:lnTo>
                  <a:lnTo>
                    <a:pt x="3062" y="1092"/>
                  </a:lnTo>
                  <a:lnTo>
                    <a:pt x="2801" y="1092"/>
                  </a:lnTo>
                  <a:lnTo>
                    <a:pt x="2801" y="782"/>
                  </a:lnTo>
                  <a:lnTo>
                    <a:pt x="2671" y="782"/>
                  </a:lnTo>
                  <a:lnTo>
                    <a:pt x="2554" y="636"/>
                  </a:lnTo>
                  <a:lnTo>
                    <a:pt x="2554" y="473"/>
                  </a:lnTo>
                  <a:lnTo>
                    <a:pt x="2801" y="473"/>
                  </a:lnTo>
                  <a:lnTo>
                    <a:pt x="2801" y="310"/>
                  </a:lnTo>
                  <a:lnTo>
                    <a:pt x="2554" y="0"/>
                  </a:lnTo>
                  <a:lnTo>
                    <a:pt x="2554" y="310"/>
                  </a:lnTo>
                  <a:lnTo>
                    <a:pt x="2163" y="473"/>
                  </a:lnTo>
                  <a:lnTo>
                    <a:pt x="2163" y="945"/>
                  </a:lnTo>
                  <a:lnTo>
                    <a:pt x="2163" y="1092"/>
                  </a:lnTo>
                  <a:lnTo>
                    <a:pt x="2163" y="1418"/>
                  </a:lnTo>
                  <a:lnTo>
                    <a:pt x="2046" y="1728"/>
                  </a:lnTo>
                  <a:lnTo>
                    <a:pt x="2046" y="1907"/>
                  </a:lnTo>
                  <a:lnTo>
                    <a:pt x="1785" y="2363"/>
                  </a:lnTo>
                  <a:lnTo>
                    <a:pt x="1655" y="2543"/>
                  </a:lnTo>
                  <a:lnTo>
                    <a:pt x="1655" y="2689"/>
                  </a:lnTo>
                  <a:lnTo>
                    <a:pt x="1655" y="2852"/>
                  </a:lnTo>
                  <a:lnTo>
                    <a:pt x="1407" y="2689"/>
                  </a:lnTo>
                  <a:lnTo>
                    <a:pt x="1290" y="2852"/>
                  </a:lnTo>
                  <a:lnTo>
                    <a:pt x="1029" y="2999"/>
                  </a:lnTo>
                  <a:lnTo>
                    <a:pt x="756" y="2999"/>
                  </a:lnTo>
                  <a:lnTo>
                    <a:pt x="638" y="2852"/>
                  </a:lnTo>
                  <a:lnTo>
                    <a:pt x="638" y="3178"/>
                  </a:lnTo>
                  <a:lnTo>
                    <a:pt x="508" y="3178"/>
                  </a:lnTo>
                  <a:lnTo>
                    <a:pt x="391" y="3178"/>
                  </a:lnTo>
                  <a:lnTo>
                    <a:pt x="248" y="3178"/>
                  </a:lnTo>
                  <a:lnTo>
                    <a:pt x="130" y="3325"/>
                  </a:lnTo>
                  <a:lnTo>
                    <a:pt x="0" y="3325"/>
                  </a:lnTo>
                  <a:lnTo>
                    <a:pt x="130" y="3798"/>
                  </a:lnTo>
                  <a:lnTo>
                    <a:pt x="248" y="3798"/>
                  </a:lnTo>
                  <a:lnTo>
                    <a:pt x="391" y="3961"/>
                  </a:lnTo>
                  <a:lnTo>
                    <a:pt x="391" y="4124"/>
                  </a:lnTo>
                  <a:lnTo>
                    <a:pt x="248" y="4434"/>
                  </a:lnTo>
                  <a:lnTo>
                    <a:pt x="248" y="4580"/>
                  </a:lnTo>
                  <a:lnTo>
                    <a:pt x="638" y="4434"/>
                  </a:lnTo>
                  <a:lnTo>
                    <a:pt x="756" y="4580"/>
                  </a:lnTo>
                  <a:lnTo>
                    <a:pt x="508" y="4760"/>
                  </a:lnTo>
                  <a:lnTo>
                    <a:pt x="638" y="5069"/>
                  </a:lnTo>
                  <a:lnTo>
                    <a:pt x="638" y="5216"/>
                  </a:lnTo>
                  <a:lnTo>
                    <a:pt x="638" y="5542"/>
                  </a:lnTo>
                  <a:lnTo>
                    <a:pt x="756" y="5542"/>
                  </a:lnTo>
                  <a:lnTo>
                    <a:pt x="899" y="5705"/>
                  </a:lnTo>
                  <a:lnTo>
                    <a:pt x="899" y="5852"/>
                  </a:lnTo>
                  <a:lnTo>
                    <a:pt x="1147" y="6178"/>
                  </a:lnTo>
                  <a:lnTo>
                    <a:pt x="1029" y="6341"/>
                  </a:lnTo>
                  <a:lnTo>
                    <a:pt x="899" y="6487"/>
                  </a:lnTo>
                  <a:lnTo>
                    <a:pt x="1029" y="6667"/>
                  </a:lnTo>
                  <a:lnTo>
                    <a:pt x="1147" y="6667"/>
                  </a:lnTo>
                  <a:lnTo>
                    <a:pt x="1290" y="6813"/>
                  </a:lnTo>
                  <a:lnTo>
                    <a:pt x="1290" y="6976"/>
                  </a:lnTo>
                  <a:lnTo>
                    <a:pt x="1407" y="6976"/>
                  </a:lnTo>
                  <a:lnTo>
                    <a:pt x="1407" y="7123"/>
                  </a:lnTo>
                  <a:lnTo>
                    <a:pt x="1290" y="7286"/>
                  </a:lnTo>
                  <a:lnTo>
                    <a:pt x="1407" y="7449"/>
                  </a:lnTo>
                  <a:lnTo>
                    <a:pt x="1290" y="7612"/>
                  </a:lnTo>
                  <a:lnTo>
                    <a:pt x="1290" y="8068"/>
                  </a:lnTo>
                  <a:lnTo>
                    <a:pt x="1290" y="8248"/>
                  </a:lnTo>
                  <a:lnTo>
                    <a:pt x="1290" y="8394"/>
                  </a:lnTo>
                  <a:lnTo>
                    <a:pt x="1290" y="8557"/>
                  </a:lnTo>
                  <a:lnTo>
                    <a:pt x="1655" y="8704"/>
                  </a:lnTo>
                  <a:lnTo>
                    <a:pt x="1655" y="8883"/>
                  </a:lnTo>
                  <a:lnTo>
                    <a:pt x="1655" y="9030"/>
                  </a:lnTo>
                  <a:lnTo>
                    <a:pt x="1407" y="9340"/>
                  </a:lnTo>
                  <a:lnTo>
                    <a:pt x="1290" y="9666"/>
                  </a:lnTo>
                  <a:lnTo>
                    <a:pt x="1537" y="9829"/>
                  </a:lnTo>
                  <a:lnTo>
                    <a:pt x="1537" y="9976"/>
                  </a:lnTo>
                  <a:lnTo>
                    <a:pt x="1407" y="10155"/>
                  </a:lnTo>
                  <a:lnTo>
                    <a:pt x="1537" y="10302"/>
                  </a:lnTo>
                  <a:lnTo>
                    <a:pt x="1785" y="10465"/>
                  </a:lnTo>
                  <a:lnTo>
                    <a:pt x="1902" y="10611"/>
                  </a:lnTo>
                  <a:lnTo>
                    <a:pt x="1902" y="10774"/>
                  </a:lnTo>
                  <a:lnTo>
                    <a:pt x="2046" y="11100"/>
                  </a:lnTo>
                  <a:lnTo>
                    <a:pt x="2293" y="11100"/>
                  </a:lnTo>
                  <a:lnTo>
                    <a:pt x="2554" y="11100"/>
                  </a:lnTo>
                  <a:lnTo>
                    <a:pt x="2554" y="11247"/>
                  </a:lnTo>
                  <a:lnTo>
                    <a:pt x="2410" y="11557"/>
                  </a:lnTo>
                  <a:lnTo>
                    <a:pt x="2410" y="11736"/>
                  </a:lnTo>
                  <a:lnTo>
                    <a:pt x="2801" y="11736"/>
                  </a:lnTo>
                  <a:lnTo>
                    <a:pt x="3062" y="12192"/>
                  </a:lnTo>
                  <a:lnTo>
                    <a:pt x="3192" y="12192"/>
                  </a:lnTo>
                  <a:lnTo>
                    <a:pt x="3062" y="12828"/>
                  </a:lnTo>
                  <a:lnTo>
                    <a:pt x="3192" y="13154"/>
                  </a:lnTo>
                  <a:lnTo>
                    <a:pt x="3309" y="13317"/>
                  </a:lnTo>
                  <a:lnTo>
                    <a:pt x="3309" y="13790"/>
                  </a:lnTo>
                  <a:lnTo>
                    <a:pt x="3570" y="13790"/>
                  </a:lnTo>
                  <a:lnTo>
                    <a:pt x="3700" y="13953"/>
                  </a:lnTo>
                  <a:lnTo>
                    <a:pt x="3700" y="14099"/>
                  </a:lnTo>
                  <a:lnTo>
                    <a:pt x="3818" y="14099"/>
                  </a:lnTo>
                  <a:lnTo>
                    <a:pt x="4065" y="14279"/>
                  </a:lnTo>
                  <a:lnTo>
                    <a:pt x="4208" y="14279"/>
                  </a:lnTo>
                  <a:lnTo>
                    <a:pt x="4456" y="13953"/>
                  </a:lnTo>
                  <a:lnTo>
                    <a:pt x="4573" y="13953"/>
                  </a:lnTo>
                  <a:lnTo>
                    <a:pt x="4573" y="14279"/>
                  </a:lnTo>
                  <a:lnTo>
                    <a:pt x="4573" y="14588"/>
                  </a:lnTo>
                  <a:lnTo>
                    <a:pt x="4573" y="14898"/>
                  </a:lnTo>
                  <a:lnTo>
                    <a:pt x="4847" y="14898"/>
                  </a:lnTo>
                  <a:lnTo>
                    <a:pt x="4964" y="14898"/>
                  </a:lnTo>
                  <a:lnTo>
                    <a:pt x="4847" y="15224"/>
                  </a:lnTo>
                  <a:lnTo>
                    <a:pt x="5107" y="15534"/>
                  </a:lnTo>
                  <a:lnTo>
                    <a:pt x="4964" y="15681"/>
                  </a:lnTo>
                  <a:lnTo>
                    <a:pt x="4964" y="16170"/>
                  </a:lnTo>
                  <a:lnTo>
                    <a:pt x="4717" y="16496"/>
                  </a:lnTo>
                  <a:lnTo>
                    <a:pt x="4847" y="16805"/>
                  </a:lnTo>
                  <a:lnTo>
                    <a:pt x="4964" y="16805"/>
                  </a:lnTo>
                  <a:lnTo>
                    <a:pt x="4964" y="16952"/>
                  </a:lnTo>
                  <a:lnTo>
                    <a:pt x="5107" y="16952"/>
                  </a:lnTo>
                  <a:lnTo>
                    <a:pt x="5603" y="16952"/>
                  </a:lnTo>
                  <a:lnTo>
                    <a:pt x="5720" y="16805"/>
                  </a:lnTo>
                  <a:lnTo>
                    <a:pt x="5980" y="16805"/>
                  </a:lnTo>
                  <a:lnTo>
                    <a:pt x="6111" y="16642"/>
                  </a:lnTo>
                  <a:lnTo>
                    <a:pt x="6228" y="16642"/>
                  </a:lnTo>
                  <a:lnTo>
                    <a:pt x="6228" y="16805"/>
                  </a:lnTo>
                  <a:lnTo>
                    <a:pt x="6762" y="16805"/>
                  </a:lnTo>
                  <a:lnTo>
                    <a:pt x="6619" y="16496"/>
                  </a:lnTo>
                  <a:lnTo>
                    <a:pt x="6762" y="16496"/>
                  </a:lnTo>
                  <a:lnTo>
                    <a:pt x="6879" y="16496"/>
                  </a:lnTo>
                  <a:lnTo>
                    <a:pt x="7010" y="16170"/>
                  </a:lnTo>
                  <a:lnTo>
                    <a:pt x="7127" y="16007"/>
                  </a:lnTo>
                  <a:lnTo>
                    <a:pt x="7518" y="16170"/>
                  </a:lnTo>
                  <a:lnTo>
                    <a:pt x="7518" y="16496"/>
                  </a:lnTo>
                  <a:lnTo>
                    <a:pt x="7518" y="16805"/>
                  </a:lnTo>
                  <a:lnTo>
                    <a:pt x="7635" y="16642"/>
                  </a:lnTo>
                  <a:lnTo>
                    <a:pt x="7765" y="16496"/>
                  </a:lnTo>
                  <a:lnTo>
                    <a:pt x="8026" y="16496"/>
                  </a:lnTo>
                  <a:lnTo>
                    <a:pt x="8143" y="16170"/>
                  </a:lnTo>
                  <a:lnTo>
                    <a:pt x="8274" y="16170"/>
                  </a:lnTo>
                  <a:lnTo>
                    <a:pt x="8534" y="16496"/>
                  </a:lnTo>
                  <a:lnTo>
                    <a:pt x="8664" y="16496"/>
                  </a:lnTo>
                  <a:lnTo>
                    <a:pt x="9042" y="16316"/>
                  </a:lnTo>
                  <a:lnTo>
                    <a:pt x="9042" y="16496"/>
                  </a:lnTo>
                  <a:close/>
                </a:path>
              </a:pathLst>
            </a:custGeom>
            <a:solidFill>
              <a:srgbClr val="E11A81">
                <a:lumMod val="20000"/>
                <a:lumOff val="80000"/>
              </a:srgbClr>
            </a:solidFill>
            <a:ln w="6350" cap="flat">
              <a:solidFill>
                <a:sysClr val="window" lastClr="FFFFFF"/>
              </a:solidFill>
              <a:prstDash val="solid"/>
              <a:round/>
              <a:headEnd type="none" w="med" len="med"/>
              <a:tailEnd type="none" w="med" len="me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86496">
                <a:defRPr/>
              </a:pPr>
              <a:endParaRPr lang="fr-FR" sz="1400">
                <a:solidFill>
                  <a:srgbClr val="FF0000"/>
                </a:solidFill>
                <a:latin typeface="Helvetica Neue"/>
              </a:endParaRPr>
            </a:p>
          </p:txBody>
        </p:sp>
        <p:sp>
          <p:nvSpPr>
            <p:cNvPr id="46" name="Freeform 17">
              <a:extLst>
                <a:ext uri="{FF2B5EF4-FFF2-40B4-BE49-F238E27FC236}">
                  <a16:creationId xmlns:a16="http://schemas.microsoft.com/office/drawing/2014/main" id="{DF68C335-7DD7-4A3D-8791-733853EDAA0A}"/>
                </a:ext>
              </a:extLst>
            </p:cNvPr>
            <p:cNvSpPr>
              <a:spLocks noChangeAspect="1"/>
            </p:cNvSpPr>
            <p:nvPr/>
          </p:nvSpPr>
          <p:spPr bwMode="auto">
            <a:xfrm>
              <a:off x="3291548" y="4093279"/>
              <a:ext cx="180537" cy="169691"/>
            </a:xfrm>
            <a:custGeom>
              <a:avLst/>
              <a:gdLst>
                <a:gd name="T0" fmla="*/ 99 w 20000"/>
                <a:gd name="T1" fmla="*/ 634 h 20000"/>
                <a:gd name="T2" fmla="*/ 155 w 20000"/>
                <a:gd name="T3" fmla="*/ 717 h 20000"/>
                <a:gd name="T4" fmla="*/ 180 w 20000"/>
                <a:gd name="T5" fmla="*/ 784 h 20000"/>
                <a:gd name="T6" fmla="*/ 247 w 20000"/>
                <a:gd name="T7" fmla="*/ 830 h 20000"/>
                <a:gd name="T8" fmla="*/ 316 w 20000"/>
                <a:gd name="T9" fmla="*/ 879 h 20000"/>
                <a:gd name="T10" fmla="*/ 345 w 20000"/>
                <a:gd name="T11" fmla="*/ 882 h 20000"/>
                <a:gd name="T12" fmla="*/ 408 w 20000"/>
                <a:gd name="T13" fmla="*/ 857 h 20000"/>
                <a:gd name="T14" fmla="*/ 429 w 20000"/>
                <a:gd name="T15" fmla="*/ 871 h 20000"/>
                <a:gd name="T16" fmla="*/ 468 w 20000"/>
                <a:gd name="T17" fmla="*/ 879 h 20000"/>
                <a:gd name="T18" fmla="*/ 517 w 20000"/>
                <a:gd name="T19" fmla="*/ 861 h 20000"/>
                <a:gd name="T20" fmla="*/ 500 w 20000"/>
                <a:gd name="T21" fmla="*/ 837 h 20000"/>
                <a:gd name="T22" fmla="*/ 513 w 20000"/>
                <a:gd name="T23" fmla="*/ 780 h 20000"/>
                <a:gd name="T24" fmla="*/ 503 w 20000"/>
                <a:gd name="T25" fmla="*/ 739 h 20000"/>
                <a:gd name="T26" fmla="*/ 486 w 20000"/>
                <a:gd name="T27" fmla="*/ 690 h 20000"/>
                <a:gd name="T28" fmla="*/ 458 w 20000"/>
                <a:gd name="T29" fmla="*/ 651 h 20000"/>
                <a:gd name="T30" fmla="*/ 440 w 20000"/>
                <a:gd name="T31" fmla="*/ 616 h 20000"/>
                <a:gd name="T32" fmla="*/ 500 w 20000"/>
                <a:gd name="T33" fmla="*/ 613 h 20000"/>
                <a:gd name="T34" fmla="*/ 535 w 20000"/>
                <a:gd name="T35" fmla="*/ 585 h 20000"/>
                <a:gd name="T36" fmla="*/ 588 w 20000"/>
                <a:gd name="T37" fmla="*/ 574 h 20000"/>
                <a:gd name="T38" fmla="*/ 637 w 20000"/>
                <a:gd name="T39" fmla="*/ 585 h 20000"/>
                <a:gd name="T40" fmla="*/ 675 w 20000"/>
                <a:gd name="T41" fmla="*/ 567 h 20000"/>
                <a:gd name="T42" fmla="*/ 703 w 20000"/>
                <a:gd name="T43" fmla="*/ 529 h 20000"/>
                <a:gd name="T44" fmla="*/ 732 w 20000"/>
                <a:gd name="T45" fmla="*/ 462 h 20000"/>
                <a:gd name="T46" fmla="*/ 749 w 20000"/>
                <a:gd name="T47" fmla="*/ 389 h 20000"/>
                <a:gd name="T48" fmla="*/ 788 w 20000"/>
                <a:gd name="T49" fmla="*/ 371 h 20000"/>
                <a:gd name="T50" fmla="*/ 855 w 20000"/>
                <a:gd name="T51" fmla="*/ 350 h 20000"/>
                <a:gd name="T52" fmla="*/ 876 w 20000"/>
                <a:gd name="T53" fmla="*/ 319 h 20000"/>
                <a:gd name="T54" fmla="*/ 900 w 20000"/>
                <a:gd name="T55" fmla="*/ 263 h 20000"/>
                <a:gd name="T56" fmla="*/ 914 w 20000"/>
                <a:gd name="T57" fmla="*/ 217 h 20000"/>
                <a:gd name="T58" fmla="*/ 936 w 20000"/>
                <a:gd name="T59" fmla="*/ 175 h 20000"/>
                <a:gd name="T60" fmla="*/ 890 w 20000"/>
                <a:gd name="T61" fmla="*/ 154 h 20000"/>
                <a:gd name="T62" fmla="*/ 865 w 20000"/>
                <a:gd name="T63" fmla="*/ 137 h 20000"/>
                <a:gd name="T64" fmla="*/ 827 w 20000"/>
                <a:gd name="T65" fmla="*/ 105 h 20000"/>
                <a:gd name="T66" fmla="*/ 799 w 20000"/>
                <a:gd name="T67" fmla="*/ 81 h 20000"/>
                <a:gd name="T68" fmla="*/ 791 w 20000"/>
                <a:gd name="T69" fmla="*/ 46 h 20000"/>
                <a:gd name="T70" fmla="*/ 746 w 20000"/>
                <a:gd name="T71" fmla="*/ 42 h 20000"/>
                <a:gd name="T72" fmla="*/ 721 w 20000"/>
                <a:gd name="T73" fmla="*/ 63 h 20000"/>
                <a:gd name="T74" fmla="*/ 683 w 20000"/>
                <a:gd name="T75" fmla="*/ 74 h 20000"/>
                <a:gd name="T76" fmla="*/ 658 w 20000"/>
                <a:gd name="T77" fmla="*/ 28 h 20000"/>
                <a:gd name="T78" fmla="*/ 626 w 20000"/>
                <a:gd name="T79" fmla="*/ 21 h 20000"/>
                <a:gd name="T80" fmla="*/ 598 w 20000"/>
                <a:gd name="T81" fmla="*/ 25 h 20000"/>
                <a:gd name="T82" fmla="*/ 552 w 20000"/>
                <a:gd name="T83" fmla="*/ 32 h 20000"/>
                <a:gd name="T84" fmla="*/ 507 w 20000"/>
                <a:gd name="T85" fmla="*/ 32 h 20000"/>
                <a:gd name="T86" fmla="*/ 482 w 20000"/>
                <a:gd name="T87" fmla="*/ 25 h 20000"/>
                <a:gd name="T88" fmla="*/ 419 w 20000"/>
                <a:gd name="T89" fmla="*/ 14 h 20000"/>
                <a:gd name="T90" fmla="*/ 422 w 20000"/>
                <a:gd name="T91" fmla="*/ 63 h 20000"/>
                <a:gd name="T92" fmla="*/ 408 w 20000"/>
                <a:gd name="T93" fmla="*/ 109 h 20000"/>
                <a:gd name="T94" fmla="*/ 415 w 20000"/>
                <a:gd name="T95" fmla="*/ 172 h 20000"/>
                <a:gd name="T96" fmla="*/ 394 w 20000"/>
                <a:gd name="T97" fmla="*/ 221 h 20000"/>
                <a:gd name="T98" fmla="*/ 369 w 20000"/>
                <a:gd name="T99" fmla="*/ 266 h 20000"/>
                <a:gd name="T100" fmla="*/ 316 w 20000"/>
                <a:gd name="T101" fmla="*/ 277 h 20000"/>
                <a:gd name="T102" fmla="*/ 253 w 20000"/>
                <a:gd name="T103" fmla="*/ 315 h 20000"/>
                <a:gd name="T104" fmla="*/ 197 w 20000"/>
                <a:gd name="T105" fmla="*/ 319 h 20000"/>
                <a:gd name="T106" fmla="*/ 144 w 20000"/>
                <a:gd name="T107" fmla="*/ 336 h 20000"/>
                <a:gd name="T108" fmla="*/ 113 w 20000"/>
                <a:gd name="T109" fmla="*/ 396 h 20000"/>
                <a:gd name="T110" fmla="*/ 60 w 20000"/>
                <a:gd name="T111" fmla="*/ 410 h 20000"/>
                <a:gd name="T112" fmla="*/ 36 w 20000"/>
                <a:gd name="T113" fmla="*/ 420 h 20000"/>
                <a:gd name="T114" fmla="*/ 14 w 20000"/>
                <a:gd name="T115" fmla="*/ 473 h 20000"/>
                <a:gd name="T116" fmla="*/ 102 w 20000"/>
                <a:gd name="T117" fmla="*/ 473 h 20000"/>
                <a:gd name="T118" fmla="*/ 187 w 20000"/>
                <a:gd name="T119" fmla="*/ 490 h 20000"/>
                <a:gd name="T120" fmla="*/ 137 w 20000"/>
                <a:gd name="T121" fmla="*/ 480 h 20000"/>
                <a:gd name="T122" fmla="*/ 99 w 20000"/>
                <a:gd name="T123" fmla="*/ 543 h 200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000"/>
                <a:gd name="T187" fmla="*/ 0 h 20000"/>
                <a:gd name="T188" fmla="*/ 20000 w 20000"/>
                <a:gd name="T189" fmla="*/ 20000 h 200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000" h="20000">
                  <a:moveTo>
                    <a:pt x="3162" y="13006"/>
                  </a:moveTo>
                  <a:lnTo>
                    <a:pt x="2931" y="13167"/>
                  </a:lnTo>
                  <a:lnTo>
                    <a:pt x="2862" y="13247"/>
                  </a:lnTo>
                  <a:lnTo>
                    <a:pt x="2785" y="13723"/>
                  </a:lnTo>
                  <a:lnTo>
                    <a:pt x="2631" y="13795"/>
                  </a:lnTo>
                  <a:lnTo>
                    <a:pt x="2415" y="13876"/>
                  </a:lnTo>
                  <a:lnTo>
                    <a:pt x="2331" y="14037"/>
                  </a:lnTo>
                  <a:lnTo>
                    <a:pt x="2331" y="14110"/>
                  </a:lnTo>
                  <a:lnTo>
                    <a:pt x="2254" y="14190"/>
                  </a:lnTo>
                  <a:lnTo>
                    <a:pt x="2108" y="14190"/>
                  </a:lnTo>
                  <a:lnTo>
                    <a:pt x="2185" y="14424"/>
                  </a:lnTo>
                  <a:lnTo>
                    <a:pt x="2185" y="14819"/>
                  </a:lnTo>
                  <a:lnTo>
                    <a:pt x="2254" y="14891"/>
                  </a:lnTo>
                  <a:lnTo>
                    <a:pt x="2631" y="15205"/>
                  </a:lnTo>
                  <a:lnTo>
                    <a:pt x="3015" y="15673"/>
                  </a:lnTo>
                  <a:lnTo>
                    <a:pt x="3015" y="15761"/>
                  </a:lnTo>
                  <a:lnTo>
                    <a:pt x="3085" y="15915"/>
                  </a:lnTo>
                  <a:lnTo>
                    <a:pt x="3162" y="15915"/>
                  </a:lnTo>
                  <a:lnTo>
                    <a:pt x="3231" y="15915"/>
                  </a:lnTo>
                  <a:lnTo>
                    <a:pt x="3315" y="16068"/>
                  </a:lnTo>
                  <a:lnTo>
                    <a:pt x="3385" y="16229"/>
                  </a:lnTo>
                  <a:lnTo>
                    <a:pt x="3385" y="16301"/>
                  </a:lnTo>
                  <a:lnTo>
                    <a:pt x="3462" y="16454"/>
                  </a:lnTo>
                  <a:lnTo>
                    <a:pt x="3538" y="16543"/>
                  </a:lnTo>
                  <a:lnTo>
                    <a:pt x="3608" y="16616"/>
                  </a:lnTo>
                  <a:lnTo>
                    <a:pt x="3692" y="16696"/>
                  </a:lnTo>
                  <a:lnTo>
                    <a:pt x="3762" y="16930"/>
                  </a:lnTo>
                  <a:lnTo>
                    <a:pt x="3762" y="17244"/>
                  </a:lnTo>
                  <a:lnTo>
                    <a:pt x="3838" y="17325"/>
                  </a:lnTo>
                  <a:lnTo>
                    <a:pt x="3838" y="17558"/>
                  </a:lnTo>
                  <a:lnTo>
                    <a:pt x="3908" y="17712"/>
                  </a:lnTo>
                  <a:lnTo>
                    <a:pt x="3908" y="17792"/>
                  </a:lnTo>
                  <a:lnTo>
                    <a:pt x="4062" y="17712"/>
                  </a:lnTo>
                  <a:lnTo>
                    <a:pt x="4208" y="17865"/>
                  </a:lnTo>
                  <a:lnTo>
                    <a:pt x="4438" y="18106"/>
                  </a:lnTo>
                  <a:lnTo>
                    <a:pt x="4508" y="18179"/>
                  </a:lnTo>
                  <a:lnTo>
                    <a:pt x="4815" y="18340"/>
                  </a:lnTo>
                  <a:lnTo>
                    <a:pt x="4815" y="18421"/>
                  </a:lnTo>
                  <a:lnTo>
                    <a:pt x="4969" y="18493"/>
                  </a:lnTo>
                  <a:lnTo>
                    <a:pt x="5269" y="18582"/>
                  </a:lnTo>
                  <a:lnTo>
                    <a:pt x="5338" y="18582"/>
                  </a:lnTo>
                  <a:lnTo>
                    <a:pt x="5485" y="18582"/>
                  </a:lnTo>
                  <a:lnTo>
                    <a:pt x="5638" y="18654"/>
                  </a:lnTo>
                  <a:lnTo>
                    <a:pt x="5792" y="18896"/>
                  </a:lnTo>
                  <a:lnTo>
                    <a:pt x="5862" y="19122"/>
                  </a:lnTo>
                  <a:lnTo>
                    <a:pt x="6015" y="19202"/>
                  </a:lnTo>
                  <a:lnTo>
                    <a:pt x="6462" y="19283"/>
                  </a:lnTo>
                  <a:lnTo>
                    <a:pt x="6615" y="19363"/>
                  </a:lnTo>
                  <a:lnTo>
                    <a:pt x="6692" y="19436"/>
                  </a:lnTo>
                  <a:lnTo>
                    <a:pt x="6762" y="19678"/>
                  </a:lnTo>
                  <a:lnTo>
                    <a:pt x="6846" y="19750"/>
                  </a:lnTo>
                  <a:lnTo>
                    <a:pt x="6923" y="19750"/>
                  </a:lnTo>
                  <a:lnTo>
                    <a:pt x="6992" y="19750"/>
                  </a:lnTo>
                  <a:lnTo>
                    <a:pt x="6992" y="19678"/>
                  </a:lnTo>
                  <a:lnTo>
                    <a:pt x="6992" y="19589"/>
                  </a:lnTo>
                  <a:lnTo>
                    <a:pt x="7069" y="19831"/>
                  </a:lnTo>
                  <a:lnTo>
                    <a:pt x="7292" y="19992"/>
                  </a:lnTo>
                  <a:lnTo>
                    <a:pt x="7369" y="19903"/>
                  </a:lnTo>
                  <a:lnTo>
                    <a:pt x="7369" y="19831"/>
                  </a:lnTo>
                  <a:lnTo>
                    <a:pt x="7369" y="19750"/>
                  </a:lnTo>
                  <a:lnTo>
                    <a:pt x="7438" y="19750"/>
                  </a:lnTo>
                  <a:lnTo>
                    <a:pt x="7438" y="19589"/>
                  </a:lnTo>
                  <a:lnTo>
                    <a:pt x="7592" y="19517"/>
                  </a:lnTo>
                  <a:lnTo>
                    <a:pt x="7669" y="19517"/>
                  </a:lnTo>
                  <a:lnTo>
                    <a:pt x="7823" y="19589"/>
                  </a:lnTo>
                  <a:lnTo>
                    <a:pt x="7823" y="19517"/>
                  </a:lnTo>
                  <a:lnTo>
                    <a:pt x="8123" y="19517"/>
                  </a:lnTo>
                  <a:lnTo>
                    <a:pt x="8200" y="19363"/>
                  </a:lnTo>
                  <a:lnTo>
                    <a:pt x="8269" y="19283"/>
                  </a:lnTo>
                  <a:lnTo>
                    <a:pt x="8715" y="19202"/>
                  </a:lnTo>
                  <a:lnTo>
                    <a:pt x="8800" y="19122"/>
                  </a:lnTo>
                  <a:lnTo>
                    <a:pt x="8869" y="19122"/>
                  </a:lnTo>
                  <a:lnTo>
                    <a:pt x="8946" y="19122"/>
                  </a:lnTo>
                  <a:lnTo>
                    <a:pt x="8946" y="19202"/>
                  </a:lnTo>
                  <a:lnTo>
                    <a:pt x="8869" y="19363"/>
                  </a:lnTo>
                  <a:lnTo>
                    <a:pt x="8800" y="19436"/>
                  </a:lnTo>
                  <a:lnTo>
                    <a:pt x="8946" y="19589"/>
                  </a:lnTo>
                  <a:lnTo>
                    <a:pt x="9100" y="19589"/>
                  </a:lnTo>
                  <a:lnTo>
                    <a:pt x="9177" y="19517"/>
                  </a:lnTo>
                  <a:lnTo>
                    <a:pt x="9246" y="19436"/>
                  </a:lnTo>
                  <a:lnTo>
                    <a:pt x="9400" y="19517"/>
                  </a:lnTo>
                  <a:lnTo>
                    <a:pt x="9477" y="19517"/>
                  </a:lnTo>
                  <a:lnTo>
                    <a:pt x="9477" y="19363"/>
                  </a:lnTo>
                  <a:lnTo>
                    <a:pt x="9623" y="19436"/>
                  </a:lnTo>
                  <a:lnTo>
                    <a:pt x="9692" y="19436"/>
                  </a:lnTo>
                  <a:lnTo>
                    <a:pt x="9692" y="19517"/>
                  </a:lnTo>
                  <a:lnTo>
                    <a:pt x="9846" y="19589"/>
                  </a:lnTo>
                  <a:lnTo>
                    <a:pt x="9992" y="19678"/>
                  </a:lnTo>
                  <a:lnTo>
                    <a:pt x="10146" y="19678"/>
                  </a:lnTo>
                  <a:lnTo>
                    <a:pt x="10223" y="19589"/>
                  </a:lnTo>
                  <a:lnTo>
                    <a:pt x="10308" y="19517"/>
                  </a:lnTo>
                  <a:lnTo>
                    <a:pt x="10454" y="19589"/>
                  </a:lnTo>
                  <a:lnTo>
                    <a:pt x="10600" y="19589"/>
                  </a:lnTo>
                  <a:lnTo>
                    <a:pt x="10677" y="19589"/>
                  </a:lnTo>
                  <a:lnTo>
                    <a:pt x="10677" y="19436"/>
                  </a:lnTo>
                  <a:lnTo>
                    <a:pt x="10823" y="19436"/>
                  </a:lnTo>
                  <a:lnTo>
                    <a:pt x="10900" y="19283"/>
                  </a:lnTo>
                  <a:lnTo>
                    <a:pt x="11054" y="19283"/>
                  </a:lnTo>
                  <a:lnTo>
                    <a:pt x="11200" y="19202"/>
                  </a:lnTo>
                  <a:lnTo>
                    <a:pt x="11269" y="19049"/>
                  </a:lnTo>
                  <a:lnTo>
                    <a:pt x="11123" y="18896"/>
                  </a:lnTo>
                  <a:lnTo>
                    <a:pt x="10969" y="18807"/>
                  </a:lnTo>
                  <a:lnTo>
                    <a:pt x="10900" y="18807"/>
                  </a:lnTo>
                  <a:lnTo>
                    <a:pt x="10823" y="18969"/>
                  </a:lnTo>
                  <a:lnTo>
                    <a:pt x="10754" y="18896"/>
                  </a:lnTo>
                  <a:lnTo>
                    <a:pt x="10754" y="18807"/>
                  </a:lnTo>
                  <a:lnTo>
                    <a:pt x="10677" y="18735"/>
                  </a:lnTo>
                  <a:lnTo>
                    <a:pt x="10754" y="18654"/>
                  </a:lnTo>
                  <a:lnTo>
                    <a:pt x="10823" y="18493"/>
                  </a:lnTo>
                  <a:lnTo>
                    <a:pt x="10900" y="18421"/>
                  </a:lnTo>
                  <a:lnTo>
                    <a:pt x="10823" y="18179"/>
                  </a:lnTo>
                  <a:lnTo>
                    <a:pt x="10823" y="17953"/>
                  </a:lnTo>
                  <a:lnTo>
                    <a:pt x="10754" y="17953"/>
                  </a:lnTo>
                  <a:lnTo>
                    <a:pt x="10754" y="17792"/>
                  </a:lnTo>
                  <a:lnTo>
                    <a:pt x="10969" y="17792"/>
                  </a:lnTo>
                  <a:lnTo>
                    <a:pt x="10969" y="17639"/>
                  </a:lnTo>
                  <a:lnTo>
                    <a:pt x="10969" y="17478"/>
                  </a:lnTo>
                  <a:lnTo>
                    <a:pt x="10900" y="17478"/>
                  </a:lnTo>
                  <a:lnTo>
                    <a:pt x="10823" y="17325"/>
                  </a:lnTo>
                  <a:lnTo>
                    <a:pt x="10900" y="17244"/>
                  </a:lnTo>
                  <a:lnTo>
                    <a:pt x="10823" y="17083"/>
                  </a:lnTo>
                  <a:lnTo>
                    <a:pt x="10900" y="16930"/>
                  </a:lnTo>
                  <a:lnTo>
                    <a:pt x="10823" y="16769"/>
                  </a:lnTo>
                  <a:lnTo>
                    <a:pt x="10677" y="16769"/>
                  </a:lnTo>
                  <a:lnTo>
                    <a:pt x="10677" y="16696"/>
                  </a:lnTo>
                  <a:lnTo>
                    <a:pt x="10823" y="16616"/>
                  </a:lnTo>
                  <a:lnTo>
                    <a:pt x="10754" y="16543"/>
                  </a:lnTo>
                  <a:lnTo>
                    <a:pt x="10677" y="16454"/>
                  </a:lnTo>
                  <a:lnTo>
                    <a:pt x="10600" y="16382"/>
                  </a:lnTo>
                  <a:lnTo>
                    <a:pt x="10677" y="16229"/>
                  </a:lnTo>
                  <a:lnTo>
                    <a:pt x="10600" y="15987"/>
                  </a:lnTo>
                  <a:lnTo>
                    <a:pt x="10523" y="15987"/>
                  </a:lnTo>
                  <a:lnTo>
                    <a:pt x="10454" y="15761"/>
                  </a:lnTo>
                  <a:lnTo>
                    <a:pt x="10454" y="15834"/>
                  </a:lnTo>
                  <a:lnTo>
                    <a:pt x="10308" y="15761"/>
                  </a:lnTo>
                  <a:lnTo>
                    <a:pt x="10377" y="15447"/>
                  </a:lnTo>
                  <a:lnTo>
                    <a:pt x="10377" y="15359"/>
                  </a:lnTo>
                  <a:lnTo>
                    <a:pt x="10523" y="15286"/>
                  </a:lnTo>
                  <a:lnTo>
                    <a:pt x="10454" y="15133"/>
                  </a:lnTo>
                  <a:lnTo>
                    <a:pt x="10146" y="15044"/>
                  </a:lnTo>
                  <a:lnTo>
                    <a:pt x="10077" y="14972"/>
                  </a:lnTo>
                  <a:lnTo>
                    <a:pt x="9992" y="14891"/>
                  </a:lnTo>
                  <a:lnTo>
                    <a:pt x="9923" y="14819"/>
                  </a:lnTo>
                  <a:lnTo>
                    <a:pt x="9923" y="14730"/>
                  </a:lnTo>
                  <a:lnTo>
                    <a:pt x="9846" y="14577"/>
                  </a:lnTo>
                  <a:lnTo>
                    <a:pt x="9777" y="14577"/>
                  </a:lnTo>
                  <a:lnTo>
                    <a:pt x="9846" y="14343"/>
                  </a:lnTo>
                  <a:lnTo>
                    <a:pt x="9846" y="14263"/>
                  </a:lnTo>
                  <a:lnTo>
                    <a:pt x="9777" y="14263"/>
                  </a:lnTo>
                  <a:lnTo>
                    <a:pt x="9777" y="14190"/>
                  </a:lnTo>
                  <a:lnTo>
                    <a:pt x="9692" y="14110"/>
                  </a:lnTo>
                  <a:lnTo>
                    <a:pt x="9477" y="14037"/>
                  </a:lnTo>
                  <a:lnTo>
                    <a:pt x="9546" y="13948"/>
                  </a:lnTo>
                  <a:lnTo>
                    <a:pt x="9546" y="13876"/>
                  </a:lnTo>
                  <a:lnTo>
                    <a:pt x="9400" y="13876"/>
                  </a:lnTo>
                  <a:lnTo>
                    <a:pt x="9400" y="13795"/>
                  </a:lnTo>
                  <a:lnTo>
                    <a:pt x="9623" y="13876"/>
                  </a:lnTo>
                  <a:lnTo>
                    <a:pt x="9692" y="13795"/>
                  </a:lnTo>
                  <a:lnTo>
                    <a:pt x="9692" y="13723"/>
                  </a:lnTo>
                  <a:lnTo>
                    <a:pt x="9923" y="13634"/>
                  </a:lnTo>
                  <a:lnTo>
                    <a:pt x="10077" y="13562"/>
                  </a:lnTo>
                  <a:lnTo>
                    <a:pt x="10308" y="13634"/>
                  </a:lnTo>
                  <a:lnTo>
                    <a:pt x="10454" y="13723"/>
                  </a:lnTo>
                  <a:lnTo>
                    <a:pt x="10523" y="13634"/>
                  </a:lnTo>
                  <a:lnTo>
                    <a:pt x="10677" y="13723"/>
                  </a:lnTo>
                  <a:lnTo>
                    <a:pt x="10677" y="13634"/>
                  </a:lnTo>
                  <a:lnTo>
                    <a:pt x="10754" y="13634"/>
                  </a:lnTo>
                  <a:lnTo>
                    <a:pt x="10969" y="13634"/>
                  </a:lnTo>
                  <a:lnTo>
                    <a:pt x="10969" y="13723"/>
                  </a:lnTo>
                  <a:lnTo>
                    <a:pt x="11123" y="13634"/>
                  </a:lnTo>
                  <a:lnTo>
                    <a:pt x="11200" y="13562"/>
                  </a:lnTo>
                  <a:lnTo>
                    <a:pt x="11354" y="13409"/>
                  </a:lnTo>
                  <a:lnTo>
                    <a:pt x="11500" y="13409"/>
                  </a:lnTo>
                  <a:lnTo>
                    <a:pt x="11431" y="13247"/>
                  </a:lnTo>
                  <a:lnTo>
                    <a:pt x="11431" y="13094"/>
                  </a:lnTo>
                  <a:lnTo>
                    <a:pt x="11654" y="12933"/>
                  </a:lnTo>
                  <a:lnTo>
                    <a:pt x="11954" y="12933"/>
                  </a:lnTo>
                  <a:lnTo>
                    <a:pt x="11954" y="13006"/>
                  </a:lnTo>
                  <a:lnTo>
                    <a:pt x="11800" y="13094"/>
                  </a:lnTo>
                  <a:lnTo>
                    <a:pt x="11800" y="13167"/>
                  </a:lnTo>
                  <a:lnTo>
                    <a:pt x="11954" y="13094"/>
                  </a:lnTo>
                  <a:lnTo>
                    <a:pt x="12331" y="13006"/>
                  </a:lnTo>
                  <a:lnTo>
                    <a:pt x="12331" y="12853"/>
                  </a:lnTo>
                  <a:lnTo>
                    <a:pt x="12477" y="12933"/>
                  </a:lnTo>
                  <a:lnTo>
                    <a:pt x="12562" y="12853"/>
                  </a:lnTo>
                  <a:lnTo>
                    <a:pt x="12631" y="12933"/>
                  </a:lnTo>
                  <a:lnTo>
                    <a:pt x="12862" y="12853"/>
                  </a:lnTo>
                  <a:lnTo>
                    <a:pt x="13154" y="12780"/>
                  </a:lnTo>
                  <a:lnTo>
                    <a:pt x="13308" y="12780"/>
                  </a:lnTo>
                  <a:lnTo>
                    <a:pt x="13377" y="12853"/>
                  </a:lnTo>
                  <a:lnTo>
                    <a:pt x="13523" y="12780"/>
                  </a:lnTo>
                  <a:lnTo>
                    <a:pt x="13838" y="12853"/>
                  </a:lnTo>
                  <a:lnTo>
                    <a:pt x="13754" y="12933"/>
                  </a:lnTo>
                  <a:lnTo>
                    <a:pt x="13685" y="12933"/>
                  </a:lnTo>
                  <a:lnTo>
                    <a:pt x="13608" y="13094"/>
                  </a:lnTo>
                  <a:lnTo>
                    <a:pt x="13685" y="13167"/>
                  </a:lnTo>
                  <a:lnTo>
                    <a:pt x="13685" y="13094"/>
                  </a:lnTo>
                  <a:lnTo>
                    <a:pt x="13838" y="13247"/>
                  </a:lnTo>
                  <a:lnTo>
                    <a:pt x="13985" y="13167"/>
                  </a:lnTo>
                  <a:lnTo>
                    <a:pt x="14054" y="13006"/>
                  </a:lnTo>
                  <a:lnTo>
                    <a:pt x="14054" y="12933"/>
                  </a:lnTo>
                  <a:lnTo>
                    <a:pt x="14138" y="12853"/>
                  </a:lnTo>
                  <a:lnTo>
                    <a:pt x="14208" y="12933"/>
                  </a:lnTo>
                  <a:lnTo>
                    <a:pt x="14431" y="12933"/>
                  </a:lnTo>
                  <a:lnTo>
                    <a:pt x="14431" y="12699"/>
                  </a:lnTo>
                  <a:lnTo>
                    <a:pt x="14585" y="12385"/>
                  </a:lnTo>
                  <a:lnTo>
                    <a:pt x="14731" y="12224"/>
                  </a:lnTo>
                  <a:lnTo>
                    <a:pt x="14731" y="12313"/>
                  </a:lnTo>
                  <a:lnTo>
                    <a:pt x="14815" y="12313"/>
                  </a:lnTo>
                  <a:lnTo>
                    <a:pt x="14885" y="12313"/>
                  </a:lnTo>
                  <a:lnTo>
                    <a:pt x="14962" y="12151"/>
                  </a:lnTo>
                  <a:lnTo>
                    <a:pt x="14885" y="11998"/>
                  </a:lnTo>
                  <a:lnTo>
                    <a:pt x="15031" y="11837"/>
                  </a:lnTo>
                  <a:lnTo>
                    <a:pt x="15031" y="11757"/>
                  </a:lnTo>
                  <a:lnTo>
                    <a:pt x="15031" y="11442"/>
                  </a:lnTo>
                  <a:lnTo>
                    <a:pt x="15115" y="11370"/>
                  </a:lnTo>
                  <a:lnTo>
                    <a:pt x="15185" y="11128"/>
                  </a:lnTo>
                  <a:lnTo>
                    <a:pt x="15331" y="10902"/>
                  </a:lnTo>
                  <a:lnTo>
                    <a:pt x="15485" y="10814"/>
                  </a:lnTo>
                  <a:lnTo>
                    <a:pt x="15408" y="10588"/>
                  </a:lnTo>
                  <a:lnTo>
                    <a:pt x="15562" y="10588"/>
                  </a:lnTo>
                  <a:lnTo>
                    <a:pt x="15631" y="10427"/>
                  </a:lnTo>
                  <a:lnTo>
                    <a:pt x="15631" y="10346"/>
                  </a:lnTo>
                  <a:lnTo>
                    <a:pt x="15562" y="10274"/>
                  </a:lnTo>
                  <a:lnTo>
                    <a:pt x="15708" y="10032"/>
                  </a:lnTo>
                  <a:lnTo>
                    <a:pt x="15708" y="9799"/>
                  </a:lnTo>
                  <a:lnTo>
                    <a:pt x="15777" y="9645"/>
                  </a:lnTo>
                  <a:lnTo>
                    <a:pt x="15777" y="9484"/>
                  </a:lnTo>
                  <a:lnTo>
                    <a:pt x="15938" y="9404"/>
                  </a:lnTo>
                  <a:lnTo>
                    <a:pt x="15938" y="9178"/>
                  </a:lnTo>
                  <a:lnTo>
                    <a:pt x="15777" y="9089"/>
                  </a:lnTo>
                  <a:lnTo>
                    <a:pt x="15938" y="8775"/>
                  </a:lnTo>
                  <a:lnTo>
                    <a:pt x="16008" y="8703"/>
                  </a:lnTo>
                  <a:lnTo>
                    <a:pt x="16008" y="8388"/>
                  </a:lnTo>
                  <a:lnTo>
                    <a:pt x="16162" y="8388"/>
                  </a:lnTo>
                  <a:lnTo>
                    <a:pt x="16308" y="8550"/>
                  </a:lnTo>
                  <a:lnTo>
                    <a:pt x="16538" y="8622"/>
                  </a:lnTo>
                  <a:lnTo>
                    <a:pt x="16608" y="8703"/>
                  </a:lnTo>
                  <a:lnTo>
                    <a:pt x="16838" y="8775"/>
                  </a:lnTo>
                  <a:lnTo>
                    <a:pt x="16985" y="8703"/>
                  </a:lnTo>
                  <a:lnTo>
                    <a:pt x="16985" y="8622"/>
                  </a:lnTo>
                  <a:lnTo>
                    <a:pt x="16838" y="8308"/>
                  </a:lnTo>
                  <a:lnTo>
                    <a:pt x="16908" y="8235"/>
                  </a:lnTo>
                  <a:lnTo>
                    <a:pt x="16985" y="8235"/>
                  </a:lnTo>
                  <a:lnTo>
                    <a:pt x="17138" y="8388"/>
                  </a:lnTo>
                  <a:lnTo>
                    <a:pt x="17285" y="8388"/>
                  </a:lnTo>
                  <a:lnTo>
                    <a:pt x="17369" y="8147"/>
                  </a:lnTo>
                  <a:lnTo>
                    <a:pt x="17585" y="8147"/>
                  </a:lnTo>
                  <a:lnTo>
                    <a:pt x="17885" y="7994"/>
                  </a:lnTo>
                  <a:lnTo>
                    <a:pt x="17885" y="7921"/>
                  </a:lnTo>
                  <a:lnTo>
                    <a:pt x="18115" y="7994"/>
                  </a:lnTo>
                  <a:lnTo>
                    <a:pt x="18262" y="7840"/>
                  </a:lnTo>
                  <a:lnTo>
                    <a:pt x="18262" y="7760"/>
                  </a:lnTo>
                  <a:lnTo>
                    <a:pt x="18115" y="7840"/>
                  </a:lnTo>
                  <a:lnTo>
                    <a:pt x="18046" y="7607"/>
                  </a:lnTo>
                  <a:lnTo>
                    <a:pt x="18262" y="7454"/>
                  </a:lnTo>
                  <a:lnTo>
                    <a:pt x="18262" y="7293"/>
                  </a:lnTo>
                  <a:lnTo>
                    <a:pt x="18415" y="7212"/>
                  </a:lnTo>
                  <a:lnTo>
                    <a:pt x="18562" y="7139"/>
                  </a:lnTo>
                  <a:lnTo>
                    <a:pt x="18715" y="7139"/>
                  </a:lnTo>
                  <a:lnTo>
                    <a:pt x="18715" y="6978"/>
                  </a:lnTo>
                  <a:lnTo>
                    <a:pt x="18792" y="6898"/>
                  </a:lnTo>
                  <a:lnTo>
                    <a:pt x="18946" y="6825"/>
                  </a:lnTo>
                  <a:lnTo>
                    <a:pt x="19092" y="6583"/>
                  </a:lnTo>
                  <a:lnTo>
                    <a:pt x="19169" y="6430"/>
                  </a:lnTo>
                  <a:lnTo>
                    <a:pt x="19092" y="6269"/>
                  </a:lnTo>
                  <a:lnTo>
                    <a:pt x="19092" y="5955"/>
                  </a:lnTo>
                  <a:lnTo>
                    <a:pt x="19238" y="5882"/>
                  </a:lnTo>
                  <a:lnTo>
                    <a:pt x="19392" y="6044"/>
                  </a:lnTo>
                  <a:lnTo>
                    <a:pt x="19392" y="5955"/>
                  </a:lnTo>
                  <a:lnTo>
                    <a:pt x="19392" y="5641"/>
                  </a:lnTo>
                  <a:lnTo>
                    <a:pt x="19623" y="5641"/>
                  </a:lnTo>
                  <a:lnTo>
                    <a:pt x="19538" y="5488"/>
                  </a:lnTo>
                  <a:lnTo>
                    <a:pt x="19469" y="5326"/>
                  </a:lnTo>
                  <a:lnTo>
                    <a:pt x="19469" y="5254"/>
                  </a:lnTo>
                  <a:lnTo>
                    <a:pt x="19538" y="5012"/>
                  </a:lnTo>
                  <a:lnTo>
                    <a:pt x="19538" y="4859"/>
                  </a:lnTo>
                  <a:lnTo>
                    <a:pt x="19323" y="4786"/>
                  </a:lnTo>
                  <a:lnTo>
                    <a:pt x="19323" y="4472"/>
                  </a:lnTo>
                  <a:lnTo>
                    <a:pt x="19538" y="4472"/>
                  </a:lnTo>
                  <a:lnTo>
                    <a:pt x="19623" y="4319"/>
                  </a:lnTo>
                  <a:lnTo>
                    <a:pt x="19469" y="4319"/>
                  </a:lnTo>
                  <a:lnTo>
                    <a:pt x="19469" y="4230"/>
                  </a:lnTo>
                  <a:lnTo>
                    <a:pt x="19623" y="4158"/>
                  </a:lnTo>
                  <a:lnTo>
                    <a:pt x="19623" y="4005"/>
                  </a:lnTo>
                  <a:lnTo>
                    <a:pt x="19692" y="3916"/>
                  </a:lnTo>
                  <a:lnTo>
                    <a:pt x="19992" y="3916"/>
                  </a:lnTo>
                  <a:lnTo>
                    <a:pt x="19992" y="3844"/>
                  </a:lnTo>
                  <a:lnTo>
                    <a:pt x="19992" y="3763"/>
                  </a:lnTo>
                  <a:lnTo>
                    <a:pt x="19838" y="3691"/>
                  </a:lnTo>
                  <a:lnTo>
                    <a:pt x="19538" y="3602"/>
                  </a:lnTo>
                  <a:lnTo>
                    <a:pt x="19469" y="3602"/>
                  </a:lnTo>
                  <a:lnTo>
                    <a:pt x="19323" y="3376"/>
                  </a:lnTo>
                  <a:lnTo>
                    <a:pt x="19238" y="3449"/>
                  </a:lnTo>
                  <a:lnTo>
                    <a:pt x="19092" y="3529"/>
                  </a:lnTo>
                  <a:lnTo>
                    <a:pt x="19015" y="3449"/>
                  </a:lnTo>
                  <a:lnTo>
                    <a:pt x="18946" y="3376"/>
                  </a:lnTo>
                  <a:lnTo>
                    <a:pt x="18946" y="3288"/>
                  </a:lnTo>
                  <a:lnTo>
                    <a:pt x="18862" y="3288"/>
                  </a:lnTo>
                  <a:lnTo>
                    <a:pt x="18862" y="3135"/>
                  </a:lnTo>
                  <a:lnTo>
                    <a:pt x="18792" y="3062"/>
                  </a:lnTo>
                  <a:lnTo>
                    <a:pt x="18715" y="2981"/>
                  </a:lnTo>
                  <a:lnTo>
                    <a:pt x="18715" y="2820"/>
                  </a:lnTo>
                  <a:lnTo>
                    <a:pt x="18562" y="2748"/>
                  </a:lnTo>
                  <a:lnTo>
                    <a:pt x="18415" y="2820"/>
                  </a:lnTo>
                  <a:lnTo>
                    <a:pt x="18492" y="3062"/>
                  </a:lnTo>
                  <a:lnTo>
                    <a:pt x="18415" y="3062"/>
                  </a:lnTo>
                  <a:lnTo>
                    <a:pt x="18415" y="2981"/>
                  </a:lnTo>
                  <a:lnTo>
                    <a:pt x="18192" y="2901"/>
                  </a:lnTo>
                  <a:lnTo>
                    <a:pt x="18115" y="2901"/>
                  </a:lnTo>
                  <a:lnTo>
                    <a:pt x="17885" y="2901"/>
                  </a:lnTo>
                  <a:lnTo>
                    <a:pt x="17885" y="2748"/>
                  </a:lnTo>
                  <a:lnTo>
                    <a:pt x="17738" y="2748"/>
                  </a:lnTo>
                  <a:lnTo>
                    <a:pt x="17669" y="2506"/>
                  </a:lnTo>
                  <a:lnTo>
                    <a:pt x="17738" y="2506"/>
                  </a:lnTo>
                  <a:lnTo>
                    <a:pt x="17669" y="2353"/>
                  </a:lnTo>
                  <a:lnTo>
                    <a:pt x="17585" y="2434"/>
                  </a:lnTo>
                  <a:lnTo>
                    <a:pt x="17515" y="2353"/>
                  </a:lnTo>
                  <a:lnTo>
                    <a:pt x="17369" y="2353"/>
                  </a:lnTo>
                  <a:lnTo>
                    <a:pt x="17285" y="2280"/>
                  </a:lnTo>
                  <a:lnTo>
                    <a:pt x="17215" y="2280"/>
                  </a:lnTo>
                  <a:lnTo>
                    <a:pt x="17138" y="2280"/>
                  </a:lnTo>
                  <a:lnTo>
                    <a:pt x="17069" y="2039"/>
                  </a:lnTo>
                  <a:lnTo>
                    <a:pt x="17069" y="1966"/>
                  </a:lnTo>
                  <a:lnTo>
                    <a:pt x="17069" y="1805"/>
                  </a:lnTo>
                  <a:lnTo>
                    <a:pt x="17069" y="1652"/>
                  </a:lnTo>
                  <a:lnTo>
                    <a:pt x="16985" y="1652"/>
                  </a:lnTo>
                  <a:lnTo>
                    <a:pt x="17069" y="1571"/>
                  </a:lnTo>
                  <a:lnTo>
                    <a:pt x="16985" y="1410"/>
                  </a:lnTo>
                  <a:lnTo>
                    <a:pt x="17069" y="1410"/>
                  </a:lnTo>
                  <a:lnTo>
                    <a:pt x="17069" y="1257"/>
                  </a:lnTo>
                  <a:lnTo>
                    <a:pt x="16985" y="1185"/>
                  </a:lnTo>
                  <a:lnTo>
                    <a:pt x="16985" y="1023"/>
                  </a:lnTo>
                  <a:lnTo>
                    <a:pt x="16908" y="1023"/>
                  </a:lnTo>
                  <a:lnTo>
                    <a:pt x="16838" y="943"/>
                  </a:lnTo>
                  <a:lnTo>
                    <a:pt x="16762" y="870"/>
                  </a:lnTo>
                  <a:lnTo>
                    <a:pt x="16538" y="782"/>
                  </a:lnTo>
                  <a:lnTo>
                    <a:pt x="16392" y="782"/>
                  </a:lnTo>
                  <a:lnTo>
                    <a:pt x="16392" y="870"/>
                  </a:lnTo>
                  <a:lnTo>
                    <a:pt x="16238" y="870"/>
                  </a:lnTo>
                  <a:lnTo>
                    <a:pt x="16162" y="870"/>
                  </a:lnTo>
                  <a:lnTo>
                    <a:pt x="16008" y="943"/>
                  </a:lnTo>
                  <a:lnTo>
                    <a:pt x="15938" y="943"/>
                  </a:lnTo>
                  <a:lnTo>
                    <a:pt x="15938" y="1023"/>
                  </a:lnTo>
                  <a:lnTo>
                    <a:pt x="15862" y="1023"/>
                  </a:lnTo>
                  <a:lnTo>
                    <a:pt x="15777" y="943"/>
                  </a:lnTo>
                  <a:lnTo>
                    <a:pt x="15777" y="1023"/>
                  </a:lnTo>
                  <a:lnTo>
                    <a:pt x="15777" y="1096"/>
                  </a:lnTo>
                  <a:lnTo>
                    <a:pt x="15777" y="1185"/>
                  </a:lnTo>
                  <a:lnTo>
                    <a:pt x="15631" y="1185"/>
                  </a:lnTo>
                  <a:lnTo>
                    <a:pt x="15562" y="1257"/>
                  </a:lnTo>
                  <a:lnTo>
                    <a:pt x="15408" y="1410"/>
                  </a:lnTo>
                  <a:lnTo>
                    <a:pt x="15262" y="1410"/>
                  </a:lnTo>
                  <a:lnTo>
                    <a:pt x="15262" y="1652"/>
                  </a:lnTo>
                  <a:lnTo>
                    <a:pt x="15115" y="1652"/>
                  </a:lnTo>
                  <a:lnTo>
                    <a:pt x="15031" y="1652"/>
                  </a:lnTo>
                  <a:lnTo>
                    <a:pt x="14962" y="1491"/>
                  </a:lnTo>
                  <a:lnTo>
                    <a:pt x="14815" y="1571"/>
                  </a:lnTo>
                  <a:lnTo>
                    <a:pt x="14815" y="1652"/>
                  </a:lnTo>
                  <a:lnTo>
                    <a:pt x="14654" y="1652"/>
                  </a:lnTo>
                  <a:lnTo>
                    <a:pt x="14585" y="1652"/>
                  </a:lnTo>
                  <a:lnTo>
                    <a:pt x="14654" y="1491"/>
                  </a:lnTo>
                  <a:lnTo>
                    <a:pt x="14654" y="1185"/>
                  </a:lnTo>
                  <a:lnTo>
                    <a:pt x="14654" y="943"/>
                  </a:lnTo>
                  <a:lnTo>
                    <a:pt x="14585" y="943"/>
                  </a:lnTo>
                  <a:lnTo>
                    <a:pt x="14431" y="1023"/>
                  </a:lnTo>
                  <a:lnTo>
                    <a:pt x="14354" y="1023"/>
                  </a:lnTo>
                  <a:lnTo>
                    <a:pt x="14138" y="943"/>
                  </a:lnTo>
                  <a:lnTo>
                    <a:pt x="14054" y="782"/>
                  </a:lnTo>
                  <a:lnTo>
                    <a:pt x="14054" y="629"/>
                  </a:lnTo>
                  <a:lnTo>
                    <a:pt x="13985" y="556"/>
                  </a:lnTo>
                  <a:lnTo>
                    <a:pt x="13985" y="467"/>
                  </a:lnTo>
                  <a:lnTo>
                    <a:pt x="14138" y="314"/>
                  </a:lnTo>
                  <a:lnTo>
                    <a:pt x="13908" y="81"/>
                  </a:lnTo>
                  <a:lnTo>
                    <a:pt x="13608" y="0"/>
                  </a:lnTo>
                  <a:lnTo>
                    <a:pt x="13523" y="81"/>
                  </a:lnTo>
                  <a:lnTo>
                    <a:pt x="13608" y="242"/>
                  </a:lnTo>
                  <a:lnTo>
                    <a:pt x="13454" y="467"/>
                  </a:lnTo>
                  <a:lnTo>
                    <a:pt x="13377" y="467"/>
                  </a:lnTo>
                  <a:lnTo>
                    <a:pt x="13377" y="395"/>
                  </a:lnTo>
                  <a:lnTo>
                    <a:pt x="13231" y="395"/>
                  </a:lnTo>
                  <a:lnTo>
                    <a:pt x="13154" y="314"/>
                  </a:lnTo>
                  <a:lnTo>
                    <a:pt x="13077" y="467"/>
                  </a:lnTo>
                  <a:lnTo>
                    <a:pt x="13008" y="467"/>
                  </a:lnTo>
                  <a:lnTo>
                    <a:pt x="12931" y="556"/>
                  </a:lnTo>
                  <a:lnTo>
                    <a:pt x="13008" y="556"/>
                  </a:lnTo>
                  <a:lnTo>
                    <a:pt x="12931" y="629"/>
                  </a:lnTo>
                  <a:lnTo>
                    <a:pt x="12862" y="556"/>
                  </a:lnTo>
                  <a:lnTo>
                    <a:pt x="12777" y="556"/>
                  </a:lnTo>
                  <a:lnTo>
                    <a:pt x="12708" y="395"/>
                  </a:lnTo>
                  <a:lnTo>
                    <a:pt x="12562" y="467"/>
                  </a:lnTo>
                  <a:lnTo>
                    <a:pt x="12400" y="395"/>
                  </a:lnTo>
                  <a:lnTo>
                    <a:pt x="12246" y="467"/>
                  </a:lnTo>
                  <a:lnTo>
                    <a:pt x="12100" y="467"/>
                  </a:lnTo>
                  <a:lnTo>
                    <a:pt x="11954" y="556"/>
                  </a:lnTo>
                  <a:lnTo>
                    <a:pt x="11877" y="709"/>
                  </a:lnTo>
                  <a:lnTo>
                    <a:pt x="11800" y="709"/>
                  </a:lnTo>
                  <a:lnTo>
                    <a:pt x="11731" y="709"/>
                  </a:lnTo>
                  <a:lnTo>
                    <a:pt x="11585" y="709"/>
                  </a:lnTo>
                  <a:lnTo>
                    <a:pt x="11269" y="943"/>
                  </a:lnTo>
                  <a:lnTo>
                    <a:pt x="11269" y="870"/>
                  </a:lnTo>
                  <a:lnTo>
                    <a:pt x="11200" y="629"/>
                  </a:lnTo>
                  <a:lnTo>
                    <a:pt x="11200" y="556"/>
                  </a:lnTo>
                  <a:lnTo>
                    <a:pt x="11123" y="709"/>
                  </a:lnTo>
                  <a:lnTo>
                    <a:pt x="10900" y="709"/>
                  </a:lnTo>
                  <a:lnTo>
                    <a:pt x="10823" y="709"/>
                  </a:lnTo>
                  <a:lnTo>
                    <a:pt x="10823" y="782"/>
                  </a:lnTo>
                  <a:lnTo>
                    <a:pt x="10900" y="782"/>
                  </a:lnTo>
                  <a:lnTo>
                    <a:pt x="10900" y="870"/>
                  </a:lnTo>
                  <a:lnTo>
                    <a:pt x="10677" y="943"/>
                  </a:lnTo>
                  <a:lnTo>
                    <a:pt x="10523" y="943"/>
                  </a:lnTo>
                  <a:lnTo>
                    <a:pt x="10600" y="709"/>
                  </a:lnTo>
                  <a:lnTo>
                    <a:pt x="10377" y="782"/>
                  </a:lnTo>
                  <a:lnTo>
                    <a:pt x="10377" y="709"/>
                  </a:lnTo>
                  <a:lnTo>
                    <a:pt x="10308" y="629"/>
                  </a:lnTo>
                  <a:lnTo>
                    <a:pt x="10308" y="556"/>
                  </a:lnTo>
                  <a:lnTo>
                    <a:pt x="10146" y="395"/>
                  </a:lnTo>
                  <a:lnTo>
                    <a:pt x="9923" y="467"/>
                  </a:lnTo>
                  <a:lnTo>
                    <a:pt x="9777" y="314"/>
                  </a:lnTo>
                  <a:lnTo>
                    <a:pt x="9692" y="242"/>
                  </a:lnTo>
                  <a:lnTo>
                    <a:pt x="9623" y="242"/>
                  </a:lnTo>
                  <a:lnTo>
                    <a:pt x="9546" y="395"/>
                  </a:lnTo>
                  <a:lnTo>
                    <a:pt x="9323" y="467"/>
                  </a:lnTo>
                  <a:lnTo>
                    <a:pt x="9015" y="242"/>
                  </a:lnTo>
                  <a:lnTo>
                    <a:pt x="8946" y="314"/>
                  </a:lnTo>
                  <a:lnTo>
                    <a:pt x="8946" y="467"/>
                  </a:lnTo>
                  <a:lnTo>
                    <a:pt x="8946" y="556"/>
                  </a:lnTo>
                  <a:lnTo>
                    <a:pt x="8946" y="709"/>
                  </a:lnTo>
                  <a:lnTo>
                    <a:pt x="8946" y="782"/>
                  </a:lnTo>
                  <a:lnTo>
                    <a:pt x="8869" y="870"/>
                  </a:lnTo>
                  <a:lnTo>
                    <a:pt x="8869" y="1023"/>
                  </a:lnTo>
                  <a:lnTo>
                    <a:pt x="8869" y="1096"/>
                  </a:lnTo>
                  <a:lnTo>
                    <a:pt x="8946" y="1185"/>
                  </a:lnTo>
                  <a:lnTo>
                    <a:pt x="9015" y="1410"/>
                  </a:lnTo>
                  <a:lnTo>
                    <a:pt x="8946" y="1410"/>
                  </a:lnTo>
                  <a:lnTo>
                    <a:pt x="8946" y="1491"/>
                  </a:lnTo>
                  <a:lnTo>
                    <a:pt x="9015" y="1571"/>
                  </a:lnTo>
                  <a:lnTo>
                    <a:pt x="9015" y="1805"/>
                  </a:lnTo>
                  <a:lnTo>
                    <a:pt x="9015" y="1878"/>
                  </a:lnTo>
                  <a:lnTo>
                    <a:pt x="8946" y="2039"/>
                  </a:lnTo>
                  <a:lnTo>
                    <a:pt x="8869" y="2039"/>
                  </a:lnTo>
                  <a:lnTo>
                    <a:pt x="8800" y="2192"/>
                  </a:lnTo>
                  <a:lnTo>
                    <a:pt x="8800" y="2353"/>
                  </a:lnTo>
                  <a:lnTo>
                    <a:pt x="8715" y="2434"/>
                  </a:lnTo>
                  <a:lnTo>
                    <a:pt x="8715" y="2667"/>
                  </a:lnTo>
                  <a:lnTo>
                    <a:pt x="8800" y="2820"/>
                  </a:lnTo>
                  <a:lnTo>
                    <a:pt x="8715" y="2901"/>
                  </a:lnTo>
                  <a:lnTo>
                    <a:pt x="8800" y="2981"/>
                  </a:lnTo>
                  <a:lnTo>
                    <a:pt x="8800" y="3135"/>
                  </a:lnTo>
                  <a:lnTo>
                    <a:pt x="8800" y="3376"/>
                  </a:lnTo>
                  <a:lnTo>
                    <a:pt x="8869" y="3602"/>
                  </a:lnTo>
                  <a:lnTo>
                    <a:pt x="8869" y="3691"/>
                  </a:lnTo>
                  <a:lnTo>
                    <a:pt x="8869" y="3844"/>
                  </a:lnTo>
                  <a:lnTo>
                    <a:pt x="8946" y="4005"/>
                  </a:lnTo>
                  <a:lnTo>
                    <a:pt x="9015" y="4158"/>
                  </a:lnTo>
                  <a:lnTo>
                    <a:pt x="8946" y="4472"/>
                  </a:lnTo>
                  <a:lnTo>
                    <a:pt x="9100" y="4625"/>
                  </a:lnTo>
                  <a:lnTo>
                    <a:pt x="8946" y="4786"/>
                  </a:lnTo>
                  <a:lnTo>
                    <a:pt x="8800" y="4940"/>
                  </a:lnTo>
                  <a:lnTo>
                    <a:pt x="8715" y="4859"/>
                  </a:lnTo>
                  <a:lnTo>
                    <a:pt x="8569" y="4859"/>
                  </a:lnTo>
                  <a:lnTo>
                    <a:pt x="8415" y="4859"/>
                  </a:lnTo>
                  <a:lnTo>
                    <a:pt x="8415" y="4940"/>
                  </a:lnTo>
                  <a:lnTo>
                    <a:pt x="8269" y="5012"/>
                  </a:lnTo>
                  <a:lnTo>
                    <a:pt x="8200" y="5173"/>
                  </a:lnTo>
                  <a:lnTo>
                    <a:pt x="8200" y="5254"/>
                  </a:lnTo>
                  <a:lnTo>
                    <a:pt x="8200" y="5326"/>
                  </a:lnTo>
                  <a:lnTo>
                    <a:pt x="8123" y="5568"/>
                  </a:lnTo>
                  <a:lnTo>
                    <a:pt x="7969" y="5729"/>
                  </a:lnTo>
                  <a:lnTo>
                    <a:pt x="8046" y="5882"/>
                  </a:lnTo>
                  <a:lnTo>
                    <a:pt x="7969" y="5955"/>
                  </a:lnTo>
                  <a:lnTo>
                    <a:pt x="7892" y="5955"/>
                  </a:lnTo>
                  <a:lnTo>
                    <a:pt x="7823" y="6116"/>
                  </a:lnTo>
                  <a:lnTo>
                    <a:pt x="7823" y="6269"/>
                  </a:lnTo>
                  <a:lnTo>
                    <a:pt x="7738" y="6350"/>
                  </a:lnTo>
                  <a:lnTo>
                    <a:pt x="7669" y="6430"/>
                  </a:lnTo>
                  <a:lnTo>
                    <a:pt x="7669" y="6664"/>
                  </a:lnTo>
                  <a:lnTo>
                    <a:pt x="7138" y="6511"/>
                  </a:lnTo>
                  <a:lnTo>
                    <a:pt x="7069" y="6511"/>
                  </a:lnTo>
                  <a:lnTo>
                    <a:pt x="6923" y="6197"/>
                  </a:lnTo>
                  <a:lnTo>
                    <a:pt x="6762" y="6197"/>
                  </a:lnTo>
                  <a:lnTo>
                    <a:pt x="6392" y="6116"/>
                  </a:lnTo>
                  <a:lnTo>
                    <a:pt x="6462" y="6350"/>
                  </a:lnTo>
                  <a:lnTo>
                    <a:pt x="6162" y="6430"/>
                  </a:lnTo>
                  <a:lnTo>
                    <a:pt x="6092" y="6511"/>
                  </a:lnTo>
                  <a:lnTo>
                    <a:pt x="5792" y="6511"/>
                  </a:lnTo>
                  <a:lnTo>
                    <a:pt x="5715" y="6583"/>
                  </a:lnTo>
                  <a:lnTo>
                    <a:pt x="5638" y="6664"/>
                  </a:lnTo>
                  <a:lnTo>
                    <a:pt x="5485" y="6664"/>
                  </a:lnTo>
                  <a:lnTo>
                    <a:pt x="5415" y="7051"/>
                  </a:lnTo>
                  <a:lnTo>
                    <a:pt x="5338" y="7051"/>
                  </a:lnTo>
                  <a:lnTo>
                    <a:pt x="5338" y="7139"/>
                  </a:lnTo>
                  <a:lnTo>
                    <a:pt x="5038" y="7139"/>
                  </a:lnTo>
                  <a:lnTo>
                    <a:pt x="5038" y="7212"/>
                  </a:lnTo>
                  <a:lnTo>
                    <a:pt x="4885" y="7212"/>
                  </a:lnTo>
                  <a:lnTo>
                    <a:pt x="4738" y="7139"/>
                  </a:lnTo>
                  <a:lnTo>
                    <a:pt x="4738" y="7212"/>
                  </a:lnTo>
                  <a:lnTo>
                    <a:pt x="4592" y="7139"/>
                  </a:lnTo>
                  <a:lnTo>
                    <a:pt x="4292" y="7051"/>
                  </a:lnTo>
                  <a:lnTo>
                    <a:pt x="4208" y="7139"/>
                  </a:lnTo>
                  <a:lnTo>
                    <a:pt x="4062" y="7212"/>
                  </a:lnTo>
                  <a:lnTo>
                    <a:pt x="3838" y="7212"/>
                  </a:lnTo>
                  <a:lnTo>
                    <a:pt x="3692" y="7365"/>
                  </a:lnTo>
                  <a:lnTo>
                    <a:pt x="3538" y="7365"/>
                  </a:lnTo>
                  <a:lnTo>
                    <a:pt x="3538" y="7212"/>
                  </a:lnTo>
                  <a:lnTo>
                    <a:pt x="3385" y="7293"/>
                  </a:lnTo>
                  <a:lnTo>
                    <a:pt x="3315" y="7365"/>
                  </a:lnTo>
                  <a:lnTo>
                    <a:pt x="3085" y="7454"/>
                  </a:lnTo>
                  <a:lnTo>
                    <a:pt x="3085" y="7526"/>
                  </a:lnTo>
                  <a:lnTo>
                    <a:pt x="2862" y="7526"/>
                  </a:lnTo>
                  <a:lnTo>
                    <a:pt x="2785" y="7679"/>
                  </a:lnTo>
                  <a:lnTo>
                    <a:pt x="2862" y="7760"/>
                  </a:lnTo>
                  <a:lnTo>
                    <a:pt x="2862" y="7921"/>
                  </a:lnTo>
                  <a:lnTo>
                    <a:pt x="2715" y="8147"/>
                  </a:lnTo>
                  <a:lnTo>
                    <a:pt x="2785" y="8235"/>
                  </a:lnTo>
                  <a:lnTo>
                    <a:pt x="2715" y="8550"/>
                  </a:lnTo>
                  <a:lnTo>
                    <a:pt x="2485" y="8622"/>
                  </a:lnTo>
                  <a:lnTo>
                    <a:pt x="2415" y="8622"/>
                  </a:lnTo>
                  <a:lnTo>
                    <a:pt x="2415" y="8864"/>
                  </a:lnTo>
                  <a:lnTo>
                    <a:pt x="2254" y="8864"/>
                  </a:lnTo>
                  <a:lnTo>
                    <a:pt x="2254" y="8703"/>
                  </a:lnTo>
                  <a:lnTo>
                    <a:pt x="2185" y="8703"/>
                  </a:lnTo>
                  <a:lnTo>
                    <a:pt x="1885" y="8864"/>
                  </a:lnTo>
                  <a:lnTo>
                    <a:pt x="1808" y="8775"/>
                  </a:lnTo>
                  <a:lnTo>
                    <a:pt x="1808" y="8703"/>
                  </a:lnTo>
                  <a:lnTo>
                    <a:pt x="1585" y="8622"/>
                  </a:lnTo>
                  <a:lnTo>
                    <a:pt x="1508" y="9089"/>
                  </a:lnTo>
                  <a:lnTo>
                    <a:pt x="1285" y="9178"/>
                  </a:lnTo>
                  <a:lnTo>
                    <a:pt x="1131" y="9089"/>
                  </a:lnTo>
                  <a:lnTo>
                    <a:pt x="908" y="9089"/>
                  </a:lnTo>
                  <a:lnTo>
                    <a:pt x="908" y="9017"/>
                  </a:lnTo>
                  <a:lnTo>
                    <a:pt x="831" y="8936"/>
                  </a:lnTo>
                  <a:lnTo>
                    <a:pt x="677" y="9089"/>
                  </a:lnTo>
                  <a:lnTo>
                    <a:pt x="677" y="9178"/>
                  </a:lnTo>
                  <a:lnTo>
                    <a:pt x="677" y="9251"/>
                  </a:lnTo>
                  <a:lnTo>
                    <a:pt x="677" y="9331"/>
                  </a:lnTo>
                  <a:lnTo>
                    <a:pt x="762" y="9404"/>
                  </a:lnTo>
                  <a:lnTo>
                    <a:pt x="762" y="9484"/>
                  </a:lnTo>
                  <a:lnTo>
                    <a:pt x="531" y="9404"/>
                  </a:lnTo>
                  <a:lnTo>
                    <a:pt x="377" y="9565"/>
                  </a:lnTo>
                  <a:lnTo>
                    <a:pt x="0" y="9799"/>
                  </a:lnTo>
                  <a:lnTo>
                    <a:pt x="231" y="9871"/>
                  </a:lnTo>
                  <a:lnTo>
                    <a:pt x="308" y="10113"/>
                  </a:lnTo>
                  <a:lnTo>
                    <a:pt x="231" y="10427"/>
                  </a:lnTo>
                  <a:lnTo>
                    <a:pt x="77" y="10427"/>
                  </a:lnTo>
                  <a:lnTo>
                    <a:pt x="77" y="10500"/>
                  </a:lnTo>
                  <a:lnTo>
                    <a:pt x="308" y="10588"/>
                  </a:lnTo>
                  <a:lnTo>
                    <a:pt x="608" y="10814"/>
                  </a:lnTo>
                  <a:lnTo>
                    <a:pt x="762" y="10814"/>
                  </a:lnTo>
                  <a:lnTo>
                    <a:pt x="762" y="10741"/>
                  </a:lnTo>
                  <a:lnTo>
                    <a:pt x="831" y="10661"/>
                  </a:lnTo>
                  <a:lnTo>
                    <a:pt x="1131" y="10741"/>
                  </a:lnTo>
                  <a:lnTo>
                    <a:pt x="1438" y="11056"/>
                  </a:lnTo>
                  <a:lnTo>
                    <a:pt x="2038" y="10814"/>
                  </a:lnTo>
                  <a:lnTo>
                    <a:pt x="2108" y="10661"/>
                  </a:lnTo>
                  <a:lnTo>
                    <a:pt x="2185" y="10588"/>
                  </a:lnTo>
                  <a:lnTo>
                    <a:pt x="2185" y="10661"/>
                  </a:lnTo>
                  <a:lnTo>
                    <a:pt x="2331" y="10588"/>
                  </a:lnTo>
                  <a:lnTo>
                    <a:pt x="2631" y="10588"/>
                  </a:lnTo>
                  <a:lnTo>
                    <a:pt x="2785" y="10588"/>
                  </a:lnTo>
                  <a:lnTo>
                    <a:pt x="3015" y="10500"/>
                  </a:lnTo>
                  <a:lnTo>
                    <a:pt x="3162" y="10588"/>
                  </a:lnTo>
                  <a:lnTo>
                    <a:pt x="3231" y="10588"/>
                  </a:lnTo>
                  <a:lnTo>
                    <a:pt x="3538" y="10588"/>
                  </a:lnTo>
                  <a:lnTo>
                    <a:pt x="3762" y="10814"/>
                  </a:lnTo>
                  <a:lnTo>
                    <a:pt x="3992" y="10975"/>
                  </a:lnTo>
                  <a:lnTo>
                    <a:pt x="4062" y="11128"/>
                  </a:lnTo>
                  <a:lnTo>
                    <a:pt x="4362" y="11442"/>
                  </a:lnTo>
                  <a:lnTo>
                    <a:pt x="4292" y="11442"/>
                  </a:lnTo>
                  <a:lnTo>
                    <a:pt x="4062" y="11289"/>
                  </a:lnTo>
                  <a:lnTo>
                    <a:pt x="3908" y="11209"/>
                  </a:lnTo>
                  <a:lnTo>
                    <a:pt x="3462" y="10902"/>
                  </a:lnTo>
                  <a:lnTo>
                    <a:pt x="3085" y="10741"/>
                  </a:lnTo>
                  <a:lnTo>
                    <a:pt x="3015" y="10661"/>
                  </a:lnTo>
                  <a:lnTo>
                    <a:pt x="2931" y="10741"/>
                  </a:lnTo>
                  <a:lnTo>
                    <a:pt x="2415" y="10814"/>
                  </a:lnTo>
                  <a:lnTo>
                    <a:pt x="2185" y="10814"/>
                  </a:lnTo>
                  <a:lnTo>
                    <a:pt x="2108" y="11128"/>
                  </a:lnTo>
                  <a:lnTo>
                    <a:pt x="2254" y="11289"/>
                  </a:lnTo>
                  <a:lnTo>
                    <a:pt x="2254" y="11442"/>
                  </a:lnTo>
                  <a:lnTo>
                    <a:pt x="2185" y="11757"/>
                  </a:lnTo>
                  <a:lnTo>
                    <a:pt x="1808" y="11837"/>
                  </a:lnTo>
                  <a:lnTo>
                    <a:pt x="1808" y="11910"/>
                  </a:lnTo>
                  <a:lnTo>
                    <a:pt x="1738" y="11998"/>
                  </a:lnTo>
                  <a:lnTo>
                    <a:pt x="2108" y="12151"/>
                  </a:lnTo>
                  <a:lnTo>
                    <a:pt x="2785" y="12385"/>
                  </a:lnTo>
                  <a:lnTo>
                    <a:pt x="2931" y="12538"/>
                  </a:lnTo>
                  <a:lnTo>
                    <a:pt x="2931" y="12619"/>
                  </a:lnTo>
                  <a:lnTo>
                    <a:pt x="3162" y="13006"/>
                  </a:lnTo>
                  <a:close/>
                </a:path>
              </a:pathLst>
            </a:custGeom>
            <a:solidFill>
              <a:srgbClr val="E11A81">
                <a:lumMod val="20000"/>
                <a:lumOff val="80000"/>
              </a:srgbClr>
            </a:solidFill>
            <a:ln w="6350" cap="flat">
              <a:noFill/>
              <a:prstDash val="solid"/>
              <a:round/>
              <a:headEnd type="none" w="med" len="med"/>
              <a:tailEnd type="none" w="med" len="me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86496">
                <a:defRPr/>
              </a:pPr>
              <a:endParaRPr lang="fr-FR" sz="1400">
                <a:solidFill>
                  <a:srgbClr val="5E5E5E"/>
                </a:solidFill>
                <a:latin typeface="Helvetica Neue"/>
              </a:endParaRPr>
            </a:p>
          </p:txBody>
        </p:sp>
        <p:sp>
          <p:nvSpPr>
            <p:cNvPr id="47" name="Freeform 18">
              <a:extLst>
                <a:ext uri="{FF2B5EF4-FFF2-40B4-BE49-F238E27FC236}">
                  <a16:creationId xmlns:a16="http://schemas.microsoft.com/office/drawing/2014/main" id="{2A16493F-79EA-4F94-8789-5E78A6F2604D}"/>
                </a:ext>
              </a:extLst>
            </p:cNvPr>
            <p:cNvSpPr>
              <a:spLocks noChangeAspect="1"/>
            </p:cNvSpPr>
            <p:nvPr/>
          </p:nvSpPr>
          <p:spPr bwMode="auto">
            <a:xfrm>
              <a:off x="3183727" y="4061925"/>
              <a:ext cx="190181" cy="109834"/>
            </a:xfrm>
            <a:custGeom>
              <a:avLst/>
              <a:gdLst>
                <a:gd name="T0" fmla="*/ 742 w 20000"/>
                <a:gd name="T1" fmla="*/ 105 h 20000"/>
                <a:gd name="T2" fmla="*/ 781 w 20000"/>
                <a:gd name="T3" fmla="*/ 101 h 20000"/>
                <a:gd name="T4" fmla="*/ 848 w 20000"/>
                <a:gd name="T5" fmla="*/ 122 h 20000"/>
                <a:gd name="T6" fmla="*/ 862 w 20000"/>
                <a:gd name="T7" fmla="*/ 164 h 20000"/>
                <a:gd name="T8" fmla="*/ 905 w 20000"/>
                <a:gd name="T9" fmla="*/ 185 h 20000"/>
                <a:gd name="T10" fmla="*/ 933 w 20000"/>
                <a:gd name="T11" fmla="*/ 161 h 20000"/>
                <a:gd name="T12" fmla="*/ 978 w 20000"/>
                <a:gd name="T13" fmla="*/ 185 h 20000"/>
                <a:gd name="T14" fmla="*/ 978 w 20000"/>
                <a:gd name="T15" fmla="*/ 227 h 20000"/>
                <a:gd name="T16" fmla="*/ 968 w 20000"/>
                <a:gd name="T17" fmla="*/ 283 h 20000"/>
                <a:gd name="T18" fmla="*/ 978 w 20000"/>
                <a:gd name="T19" fmla="*/ 343 h 20000"/>
                <a:gd name="T20" fmla="*/ 947 w 20000"/>
                <a:gd name="T21" fmla="*/ 389 h 20000"/>
                <a:gd name="T22" fmla="*/ 926 w 20000"/>
                <a:gd name="T23" fmla="*/ 438 h 20000"/>
                <a:gd name="T24" fmla="*/ 876 w 20000"/>
                <a:gd name="T25" fmla="*/ 441 h 20000"/>
                <a:gd name="T26" fmla="*/ 809 w 20000"/>
                <a:gd name="T27" fmla="*/ 479 h 20000"/>
                <a:gd name="T28" fmla="*/ 750 w 20000"/>
                <a:gd name="T29" fmla="*/ 487 h 20000"/>
                <a:gd name="T30" fmla="*/ 693 w 20000"/>
                <a:gd name="T31" fmla="*/ 501 h 20000"/>
                <a:gd name="T32" fmla="*/ 665 w 20000"/>
                <a:gd name="T33" fmla="*/ 560 h 20000"/>
                <a:gd name="T34" fmla="*/ 612 w 20000"/>
                <a:gd name="T35" fmla="*/ 570 h 20000"/>
                <a:gd name="T36" fmla="*/ 584 w 20000"/>
                <a:gd name="T37" fmla="*/ 553 h 20000"/>
                <a:gd name="T38" fmla="*/ 552 w 20000"/>
                <a:gd name="T39" fmla="*/ 546 h 20000"/>
                <a:gd name="T40" fmla="*/ 485 w 20000"/>
                <a:gd name="T41" fmla="*/ 542 h 20000"/>
                <a:gd name="T42" fmla="*/ 531 w 20000"/>
                <a:gd name="T43" fmla="*/ 515 h 20000"/>
                <a:gd name="T44" fmla="*/ 475 w 20000"/>
                <a:gd name="T45" fmla="*/ 511 h 20000"/>
                <a:gd name="T46" fmla="*/ 444 w 20000"/>
                <a:gd name="T47" fmla="*/ 518 h 20000"/>
                <a:gd name="T48" fmla="*/ 422 w 20000"/>
                <a:gd name="T49" fmla="*/ 553 h 20000"/>
                <a:gd name="T50" fmla="*/ 373 w 20000"/>
                <a:gd name="T51" fmla="*/ 466 h 20000"/>
                <a:gd name="T52" fmla="*/ 356 w 20000"/>
                <a:gd name="T53" fmla="*/ 458 h 20000"/>
                <a:gd name="T54" fmla="*/ 274 w 20000"/>
                <a:gd name="T55" fmla="*/ 424 h 20000"/>
                <a:gd name="T56" fmla="*/ 211 w 20000"/>
                <a:gd name="T57" fmla="*/ 381 h 20000"/>
                <a:gd name="T58" fmla="*/ 151 w 20000"/>
                <a:gd name="T59" fmla="*/ 381 h 20000"/>
                <a:gd name="T60" fmla="*/ 99 w 20000"/>
                <a:gd name="T61" fmla="*/ 381 h 20000"/>
                <a:gd name="T62" fmla="*/ 35 w 20000"/>
                <a:gd name="T63" fmla="*/ 312 h 20000"/>
                <a:gd name="T64" fmla="*/ 35 w 20000"/>
                <a:gd name="T65" fmla="*/ 287 h 20000"/>
                <a:gd name="T66" fmla="*/ 120 w 20000"/>
                <a:gd name="T67" fmla="*/ 241 h 20000"/>
                <a:gd name="T68" fmla="*/ 53 w 20000"/>
                <a:gd name="T69" fmla="*/ 227 h 20000"/>
                <a:gd name="T70" fmla="*/ 56 w 20000"/>
                <a:gd name="T71" fmla="*/ 203 h 20000"/>
                <a:gd name="T72" fmla="*/ 70 w 20000"/>
                <a:gd name="T73" fmla="*/ 203 h 20000"/>
                <a:gd name="T74" fmla="*/ 123 w 20000"/>
                <a:gd name="T75" fmla="*/ 199 h 20000"/>
                <a:gd name="T76" fmla="*/ 88 w 20000"/>
                <a:gd name="T77" fmla="*/ 192 h 20000"/>
                <a:gd name="T78" fmla="*/ 28 w 20000"/>
                <a:gd name="T79" fmla="*/ 175 h 20000"/>
                <a:gd name="T80" fmla="*/ 3 w 20000"/>
                <a:gd name="T81" fmla="*/ 168 h 20000"/>
                <a:gd name="T82" fmla="*/ 24 w 20000"/>
                <a:gd name="T83" fmla="*/ 94 h 20000"/>
                <a:gd name="T84" fmla="*/ 77 w 20000"/>
                <a:gd name="T85" fmla="*/ 70 h 20000"/>
                <a:gd name="T86" fmla="*/ 141 w 20000"/>
                <a:gd name="T87" fmla="*/ 63 h 20000"/>
                <a:gd name="T88" fmla="*/ 200 w 20000"/>
                <a:gd name="T89" fmla="*/ 56 h 20000"/>
                <a:gd name="T90" fmla="*/ 225 w 20000"/>
                <a:gd name="T91" fmla="*/ 52 h 20000"/>
                <a:gd name="T92" fmla="*/ 250 w 20000"/>
                <a:gd name="T93" fmla="*/ 84 h 20000"/>
                <a:gd name="T94" fmla="*/ 296 w 20000"/>
                <a:gd name="T95" fmla="*/ 63 h 20000"/>
                <a:gd name="T96" fmla="*/ 331 w 20000"/>
                <a:gd name="T97" fmla="*/ 66 h 20000"/>
                <a:gd name="T98" fmla="*/ 341 w 20000"/>
                <a:gd name="T99" fmla="*/ 17 h 20000"/>
                <a:gd name="T100" fmla="*/ 412 w 20000"/>
                <a:gd name="T101" fmla="*/ 10 h 20000"/>
                <a:gd name="T102" fmla="*/ 465 w 20000"/>
                <a:gd name="T103" fmla="*/ 0 h 20000"/>
                <a:gd name="T104" fmla="*/ 493 w 20000"/>
                <a:gd name="T105" fmla="*/ 45 h 20000"/>
                <a:gd name="T106" fmla="*/ 524 w 20000"/>
                <a:gd name="T107" fmla="*/ 94 h 20000"/>
                <a:gd name="T108" fmla="*/ 549 w 20000"/>
                <a:gd name="T109" fmla="*/ 150 h 20000"/>
                <a:gd name="T110" fmla="*/ 588 w 20000"/>
                <a:gd name="T111" fmla="*/ 129 h 20000"/>
                <a:gd name="T112" fmla="*/ 655 w 20000"/>
                <a:gd name="T113" fmla="*/ 94 h 20000"/>
                <a:gd name="T114" fmla="*/ 672 w 20000"/>
                <a:gd name="T115" fmla="*/ 108 h 20000"/>
                <a:gd name="T116" fmla="*/ 693 w 20000"/>
                <a:gd name="T117" fmla="*/ 136 h 200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000"/>
                <a:gd name="T178" fmla="*/ 0 h 20000"/>
                <a:gd name="T179" fmla="*/ 20000 w 20000"/>
                <a:gd name="T180" fmla="*/ 20000 h 200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000" h="20000">
                  <a:moveTo>
                    <a:pt x="14276" y="4361"/>
                  </a:moveTo>
                  <a:lnTo>
                    <a:pt x="14349" y="4361"/>
                  </a:lnTo>
                  <a:lnTo>
                    <a:pt x="14130" y="3988"/>
                  </a:lnTo>
                  <a:lnTo>
                    <a:pt x="14276" y="3988"/>
                  </a:lnTo>
                  <a:lnTo>
                    <a:pt x="14349" y="3875"/>
                  </a:lnTo>
                  <a:lnTo>
                    <a:pt x="14415" y="3875"/>
                  </a:lnTo>
                  <a:lnTo>
                    <a:pt x="14496" y="3988"/>
                  </a:lnTo>
                  <a:lnTo>
                    <a:pt x="14635" y="3875"/>
                  </a:lnTo>
                  <a:lnTo>
                    <a:pt x="14708" y="3875"/>
                  </a:lnTo>
                  <a:lnTo>
                    <a:pt x="15058" y="3639"/>
                  </a:lnTo>
                  <a:lnTo>
                    <a:pt x="15058" y="3389"/>
                  </a:lnTo>
                  <a:lnTo>
                    <a:pt x="15205" y="3265"/>
                  </a:lnTo>
                  <a:lnTo>
                    <a:pt x="15205" y="3389"/>
                  </a:lnTo>
                  <a:lnTo>
                    <a:pt x="15278" y="3389"/>
                  </a:lnTo>
                  <a:lnTo>
                    <a:pt x="15205" y="3265"/>
                  </a:lnTo>
                  <a:lnTo>
                    <a:pt x="15424" y="3153"/>
                  </a:lnTo>
                  <a:lnTo>
                    <a:pt x="15563" y="3265"/>
                  </a:lnTo>
                  <a:lnTo>
                    <a:pt x="15848" y="3016"/>
                  </a:lnTo>
                  <a:lnTo>
                    <a:pt x="15848" y="3502"/>
                  </a:lnTo>
                  <a:lnTo>
                    <a:pt x="15709" y="3751"/>
                  </a:lnTo>
                  <a:lnTo>
                    <a:pt x="15629" y="3875"/>
                  </a:lnTo>
                  <a:lnTo>
                    <a:pt x="15709" y="4237"/>
                  </a:lnTo>
                  <a:lnTo>
                    <a:pt x="15782" y="4361"/>
                  </a:lnTo>
                  <a:lnTo>
                    <a:pt x="16067" y="4474"/>
                  </a:lnTo>
                  <a:lnTo>
                    <a:pt x="16206" y="4474"/>
                  </a:lnTo>
                  <a:lnTo>
                    <a:pt x="16703" y="4474"/>
                  </a:lnTo>
                  <a:lnTo>
                    <a:pt x="16923" y="4361"/>
                  </a:lnTo>
                  <a:lnTo>
                    <a:pt x="17061" y="4237"/>
                  </a:lnTo>
                  <a:lnTo>
                    <a:pt x="17200" y="4237"/>
                  </a:lnTo>
                  <a:lnTo>
                    <a:pt x="17200" y="4474"/>
                  </a:lnTo>
                  <a:lnTo>
                    <a:pt x="17281" y="4598"/>
                  </a:lnTo>
                  <a:lnTo>
                    <a:pt x="17346" y="4723"/>
                  </a:lnTo>
                  <a:lnTo>
                    <a:pt x="17346" y="4960"/>
                  </a:lnTo>
                  <a:lnTo>
                    <a:pt x="17420" y="4960"/>
                  </a:lnTo>
                  <a:lnTo>
                    <a:pt x="17485" y="5196"/>
                  </a:lnTo>
                  <a:lnTo>
                    <a:pt x="17420" y="5196"/>
                  </a:lnTo>
                  <a:lnTo>
                    <a:pt x="17420" y="5445"/>
                  </a:lnTo>
                  <a:lnTo>
                    <a:pt x="17485" y="5682"/>
                  </a:lnTo>
                  <a:lnTo>
                    <a:pt x="17566" y="5931"/>
                  </a:lnTo>
                  <a:lnTo>
                    <a:pt x="17632" y="6305"/>
                  </a:lnTo>
                  <a:lnTo>
                    <a:pt x="17705" y="6305"/>
                  </a:lnTo>
                  <a:lnTo>
                    <a:pt x="17851" y="6305"/>
                  </a:lnTo>
                  <a:lnTo>
                    <a:pt x="17924" y="6417"/>
                  </a:lnTo>
                  <a:lnTo>
                    <a:pt x="17924" y="6654"/>
                  </a:lnTo>
                  <a:lnTo>
                    <a:pt x="18136" y="6654"/>
                  </a:lnTo>
                  <a:lnTo>
                    <a:pt x="18209" y="6654"/>
                  </a:lnTo>
                  <a:lnTo>
                    <a:pt x="18348" y="6542"/>
                  </a:lnTo>
                  <a:lnTo>
                    <a:pt x="18348" y="6417"/>
                  </a:lnTo>
                  <a:lnTo>
                    <a:pt x="18414" y="6305"/>
                  </a:lnTo>
                  <a:lnTo>
                    <a:pt x="18494" y="6305"/>
                  </a:lnTo>
                  <a:lnTo>
                    <a:pt x="18494" y="6168"/>
                  </a:lnTo>
                  <a:lnTo>
                    <a:pt x="18633" y="6168"/>
                  </a:lnTo>
                  <a:lnTo>
                    <a:pt x="18699" y="6056"/>
                  </a:lnTo>
                  <a:lnTo>
                    <a:pt x="18779" y="6056"/>
                  </a:lnTo>
                  <a:lnTo>
                    <a:pt x="18779" y="5819"/>
                  </a:lnTo>
                  <a:lnTo>
                    <a:pt x="18779" y="5682"/>
                  </a:lnTo>
                  <a:lnTo>
                    <a:pt x="18918" y="5570"/>
                  </a:lnTo>
                  <a:lnTo>
                    <a:pt x="19064" y="5682"/>
                  </a:lnTo>
                  <a:lnTo>
                    <a:pt x="19137" y="5682"/>
                  </a:lnTo>
                  <a:lnTo>
                    <a:pt x="19276" y="5819"/>
                  </a:lnTo>
                  <a:lnTo>
                    <a:pt x="19349" y="5819"/>
                  </a:lnTo>
                  <a:lnTo>
                    <a:pt x="19423" y="5931"/>
                  </a:lnTo>
                  <a:lnTo>
                    <a:pt x="19488" y="5931"/>
                  </a:lnTo>
                  <a:lnTo>
                    <a:pt x="19627" y="5931"/>
                  </a:lnTo>
                  <a:lnTo>
                    <a:pt x="19708" y="6056"/>
                  </a:lnTo>
                  <a:lnTo>
                    <a:pt x="19846" y="6168"/>
                  </a:lnTo>
                  <a:lnTo>
                    <a:pt x="19846" y="6417"/>
                  </a:lnTo>
                  <a:lnTo>
                    <a:pt x="19846" y="6542"/>
                  </a:lnTo>
                  <a:lnTo>
                    <a:pt x="19846" y="6791"/>
                  </a:lnTo>
                  <a:lnTo>
                    <a:pt x="19846" y="6903"/>
                  </a:lnTo>
                  <a:lnTo>
                    <a:pt x="19773" y="7028"/>
                  </a:lnTo>
                  <a:lnTo>
                    <a:pt x="19773" y="7265"/>
                  </a:lnTo>
                  <a:lnTo>
                    <a:pt x="19773" y="7377"/>
                  </a:lnTo>
                  <a:lnTo>
                    <a:pt x="19846" y="7514"/>
                  </a:lnTo>
                  <a:lnTo>
                    <a:pt x="19912" y="7863"/>
                  </a:lnTo>
                  <a:lnTo>
                    <a:pt x="19846" y="7863"/>
                  </a:lnTo>
                  <a:lnTo>
                    <a:pt x="19846" y="8000"/>
                  </a:lnTo>
                  <a:lnTo>
                    <a:pt x="19912" y="8112"/>
                  </a:lnTo>
                  <a:lnTo>
                    <a:pt x="19912" y="8486"/>
                  </a:lnTo>
                  <a:lnTo>
                    <a:pt x="19912" y="8598"/>
                  </a:lnTo>
                  <a:lnTo>
                    <a:pt x="19846" y="8835"/>
                  </a:lnTo>
                  <a:lnTo>
                    <a:pt x="19773" y="8835"/>
                  </a:lnTo>
                  <a:lnTo>
                    <a:pt x="19708" y="9084"/>
                  </a:lnTo>
                  <a:lnTo>
                    <a:pt x="19708" y="9321"/>
                  </a:lnTo>
                  <a:lnTo>
                    <a:pt x="19627" y="9445"/>
                  </a:lnTo>
                  <a:lnTo>
                    <a:pt x="19627" y="9807"/>
                  </a:lnTo>
                  <a:lnTo>
                    <a:pt x="19708" y="10044"/>
                  </a:lnTo>
                  <a:lnTo>
                    <a:pt x="19627" y="10181"/>
                  </a:lnTo>
                  <a:lnTo>
                    <a:pt x="19708" y="10293"/>
                  </a:lnTo>
                  <a:lnTo>
                    <a:pt x="19708" y="10530"/>
                  </a:lnTo>
                  <a:lnTo>
                    <a:pt x="19708" y="10903"/>
                  </a:lnTo>
                  <a:lnTo>
                    <a:pt x="19773" y="11265"/>
                  </a:lnTo>
                  <a:lnTo>
                    <a:pt x="19773" y="11389"/>
                  </a:lnTo>
                  <a:lnTo>
                    <a:pt x="19773" y="11626"/>
                  </a:lnTo>
                  <a:lnTo>
                    <a:pt x="19846" y="11875"/>
                  </a:lnTo>
                  <a:lnTo>
                    <a:pt x="19912" y="12112"/>
                  </a:lnTo>
                  <a:lnTo>
                    <a:pt x="19846" y="12598"/>
                  </a:lnTo>
                  <a:lnTo>
                    <a:pt x="19993" y="12847"/>
                  </a:lnTo>
                  <a:lnTo>
                    <a:pt x="19846" y="13084"/>
                  </a:lnTo>
                  <a:lnTo>
                    <a:pt x="19708" y="13333"/>
                  </a:lnTo>
                  <a:lnTo>
                    <a:pt x="19627" y="13196"/>
                  </a:lnTo>
                  <a:lnTo>
                    <a:pt x="19488" y="13196"/>
                  </a:lnTo>
                  <a:lnTo>
                    <a:pt x="19349" y="13196"/>
                  </a:lnTo>
                  <a:lnTo>
                    <a:pt x="19349" y="13333"/>
                  </a:lnTo>
                  <a:lnTo>
                    <a:pt x="19203" y="13445"/>
                  </a:lnTo>
                  <a:lnTo>
                    <a:pt x="19137" y="13682"/>
                  </a:lnTo>
                  <a:lnTo>
                    <a:pt x="19137" y="13807"/>
                  </a:lnTo>
                  <a:lnTo>
                    <a:pt x="19137" y="13931"/>
                  </a:lnTo>
                  <a:lnTo>
                    <a:pt x="19064" y="14293"/>
                  </a:lnTo>
                  <a:lnTo>
                    <a:pt x="18918" y="14542"/>
                  </a:lnTo>
                  <a:lnTo>
                    <a:pt x="18999" y="14779"/>
                  </a:lnTo>
                  <a:lnTo>
                    <a:pt x="18918" y="14891"/>
                  </a:lnTo>
                  <a:lnTo>
                    <a:pt x="18845" y="14891"/>
                  </a:lnTo>
                  <a:lnTo>
                    <a:pt x="18779" y="15140"/>
                  </a:lnTo>
                  <a:lnTo>
                    <a:pt x="18779" y="15377"/>
                  </a:lnTo>
                  <a:lnTo>
                    <a:pt x="18699" y="15514"/>
                  </a:lnTo>
                  <a:lnTo>
                    <a:pt x="18633" y="15626"/>
                  </a:lnTo>
                  <a:lnTo>
                    <a:pt x="18633" y="15988"/>
                  </a:lnTo>
                  <a:lnTo>
                    <a:pt x="18136" y="15751"/>
                  </a:lnTo>
                  <a:lnTo>
                    <a:pt x="18063" y="15751"/>
                  </a:lnTo>
                  <a:lnTo>
                    <a:pt x="17924" y="15265"/>
                  </a:lnTo>
                  <a:lnTo>
                    <a:pt x="17770" y="15265"/>
                  </a:lnTo>
                  <a:lnTo>
                    <a:pt x="17420" y="15140"/>
                  </a:lnTo>
                  <a:lnTo>
                    <a:pt x="17485" y="15514"/>
                  </a:lnTo>
                  <a:lnTo>
                    <a:pt x="17200" y="15626"/>
                  </a:lnTo>
                  <a:lnTo>
                    <a:pt x="17135" y="15751"/>
                  </a:lnTo>
                  <a:lnTo>
                    <a:pt x="16857" y="15751"/>
                  </a:lnTo>
                  <a:lnTo>
                    <a:pt x="16776" y="15863"/>
                  </a:lnTo>
                  <a:lnTo>
                    <a:pt x="16703" y="15988"/>
                  </a:lnTo>
                  <a:lnTo>
                    <a:pt x="16557" y="15988"/>
                  </a:lnTo>
                  <a:lnTo>
                    <a:pt x="16491" y="16586"/>
                  </a:lnTo>
                  <a:lnTo>
                    <a:pt x="16418" y="16586"/>
                  </a:lnTo>
                  <a:lnTo>
                    <a:pt x="16418" y="16723"/>
                  </a:lnTo>
                  <a:lnTo>
                    <a:pt x="16133" y="16723"/>
                  </a:lnTo>
                  <a:lnTo>
                    <a:pt x="16133" y="16835"/>
                  </a:lnTo>
                  <a:lnTo>
                    <a:pt x="15994" y="16835"/>
                  </a:lnTo>
                  <a:lnTo>
                    <a:pt x="15848" y="16723"/>
                  </a:lnTo>
                  <a:lnTo>
                    <a:pt x="15848" y="16835"/>
                  </a:lnTo>
                  <a:lnTo>
                    <a:pt x="15709" y="16723"/>
                  </a:lnTo>
                  <a:lnTo>
                    <a:pt x="15424" y="16586"/>
                  </a:lnTo>
                  <a:lnTo>
                    <a:pt x="15344" y="16723"/>
                  </a:lnTo>
                  <a:lnTo>
                    <a:pt x="15205" y="16835"/>
                  </a:lnTo>
                  <a:lnTo>
                    <a:pt x="14993" y="16835"/>
                  </a:lnTo>
                  <a:lnTo>
                    <a:pt x="14854" y="17072"/>
                  </a:lnTo>
                  <a:lnTo>
                    <a:pt x="14708" y="17072"/>
                  </a:lnTo>
                  <a:lnTo>
                    <a:pt x="14708" y="16835"/>
                  </a:lnTo>
                  <a:lnTo>
                    <a:pt x="14561" y="16960"/>
                  </a:lnTo>
                  <a:lnTo>
                    <a:pt x="14496" y="17072"/>
                  </a:lnTo>
                  <a:lnTo>
                    <a:pt x="14276" y="17209"/>
                  </a:lnTo>
                  <a:lnTo>
                    <a:pt x="14276" y="17321"/>
                  </a:lnTo>
                  <a:lnTo>
                    <a:pt x="14064" y="17321"/>
                  </a:lnTo>
                  <a:lnTo>
                    <a:pt x="13991" y="17558"/>
                  </a:lnTo>
                  <a:lnTo>
                    <a:pt x="14064" y="17695"/>
                  </a:lnTo>
                  <a:lnTo>
                    <a:pt x="14064" y="17931"/>
                  </a:lnTo>
                  <a:lnTo>
                    <a:pt x="13925" y="18293"/>
                  </a:lnTo>
                  <a:lnTo>
                    <a:pt x="13991" y="18417"/>
                  </a:lnTo>
                  <a:lnTo>
                    <a:pt x="13925" y="18903"/>
                  </a:lnTo>
                  <a:lnTo>
                    <a:pt x="13706" y="19016"/>
                  </a:lnTo>
                  <a:lnTo>
                    <a:pt x="13640" y="19016"/>
                  </a:lnTo>
                  <a:lnTo>
                    <a:pt x="13640" y="19389"/>
                  </a:lnTo>
                  <a:lnTo>
                    <a:pt x="13487" y="19389"/>
                  </a:lnTo>
                  <a:lnTo>
                    <a:pt x="13487" y="19140"/>
                  </a:lnTo>
                  <a:lnTo>
                    <a:pt x="13421" y="19140"/>
                  </a:lnTo>
                  <a:lnTo>
                    <a:pt x="13136" y="19389"/>
                  </a:lnTo>
                  <a:lnTo>
                    <a:pt x="13063" y="19252"/>
                  </a:lnTo>
                  <a:lnTo>
                    <a:pt x="13063" y="19140"/>
                  </a:lnTo>
                  <a:lnTo>
                    <a:pt x="12851" y="19016"/>
                  </a:lnTo>
                  <a:lnTo>
                    <a:pt x="12778" y="19738"/>
                  </a:lnTo>
                  <a:lnTo>
                    <a:pt x="12566" y="19875"/>
                  </a:lnTo>
                  <a:lnTo>
                    <a:pt x="12420" y="19738"/>
                  </a:lnTo>
                  <a:lnTo>
                    <a:pt x="12208" y="19738"/>
                  </a:lnTo>
                  <a:lnTo>
                    <a:pt x="12208" y="19626"/>
                  </a:lnTo>
                  <a:lnTo>
                    <a:pt x="12135" y="19502"/>
                  </a:lnTo>
                  <a:lnTo>
                    <a:pt x="11988" y="19738"/>
                  </a:lnTo>
                  <a:lnTo>
                    <a:pt x="11988" y="19875"/>
                  </a:lnTo>
                  <a:lnTo>
                    <a:pt x="11849" y="19988"/>
                  </a:lnTo>
                  <a:lnTo>
                    <a:pt x="11703" y="19389"/>
                  </a:lnTo>
                  <a:lnTo>
                    <a:pt x="11703" y="19252"/>
                  </a:lnTo>
                  <a:lnTo>
                    <a:pt x="11849" y="19140"/>
                  </a:lnTo>
                  <a:lnTo>
                    <a:pt x="11923" y="19252"/>
                  </a:lnTo>
                  <a:lnTo>
                    <a:pt x="12135" y="19252"/>
                  </a:lnTo>
                  <a:lnTo>
                    <a:pt x="12135" y="19140"/>
                  </a:lnTo>
                  <a:lnTo>
                    <a:pt x="12069" y="19140"/>
                  </a:lnTo>
                  <a:lnTo>
                    <a:pt x="11923" y="19016"/>
                  </a:lnTo>
                  <a:lnTo>
                    <a:pt x="11784" y="18903"/>
                  </a:lnTo>
                  <a:lnTo>
                    <a:pt x="11703" y="18766"/>
                  </a:lnTo>
                  <a:lnTo>
                    <a:pt x="11499" y="18766"/>
                  </a:lnTo>
                  <a:lnTo>
                    <a:pt x="11499" y="18903"/>
                  </a:lnTo>
                  <a:lnTo>
                    <a:pt x="11206" y="18903"/>
                  </a:lnTo>
                  <a:lnTo>
                    <a:pt x="11140" y="19016"/>
                  </a:lnTo>
                  <a:lnTo>
                    <a:pt x="11060" y="19016"/>
                  </a:lnTo>
                  <a:lnTo>
                    <a:pt x="11060" y="18903"/>
                  </a:lnTo>
                  <a:lnTo>
                    <a:pt x="10921" y="18766"/>
                  </a:lnTo>
                  <a:lnTo>
                    <a:pt x="10775" y="19140"/>
                  </a:lnTo>
                  <a:lnTo>
                    <a:pt x="10490" y="18903"/>
                  </a:lnTo>
                  <a:lnTo>
                    <a:pt x="10132" y="19140"/>
                  </a:lnTo>
                  <a:lnTo>
                    <a:pt x="10066" y="19140"/>
                  </a:lnTo>
                  <a:lnTo>
                    <a:pt x="9846" y="18903"/>
                  </a:lnTo>
                  <a:lnTo>
                    <a:pt x="9846" y="18766"/>
                  </a:lnTo>
                  <a:lnTo>
                    <a:pt x="9781" y="18530"/>
                  </a:lnTo>
                  <a:lnTo>
                    <a:pt x="9561" y="18417"/>
                  </a:lnTo>
                  <a:lnTo>
                    <a:pt x="9561" y="18293"/>
                  </a:lnTo>
                  <a:lnTo>
                    <a:pt x="9561" y="18044"/>
                  </a:lnTo>
                  <a:lnTo>
                    <a:pt x="9708" y="18181"/>
                  </a:lnTo>
                  <a:lnTo>
                    <a:pt x="9846" y="18293"/>
                  </a:lnTo>
                  <a:lnTo>
                    <a:pt x="10570" y="18417"/>
                  </a:lnTo>
                  <a:lnTo>
                    <a:pt x="10570" y="18293"/>
                  </a:lnTo>
                  <a:lnTo>
                    <a:pt x="10709" y="18044"/>
                  </a:lnTo>
                  <a:lnTo>
                    <a:pt x="10775" y="17807"/>
                  </a:lnTo>
                  <a:lnTo>
                    <a:pt x="10775" y="17695"/>
                  </a:lnTo>
                  <a:lnTo>
                    <a:pt x="10855" y="17445"/>
                  </a:lnTo>
                  <a:lnTo>
                    <a:pt x="10775" y="17209"/>
                  </a:lnTo>
                  <a:lnTo>
                    <a:pt x="10709" y="17209"/>
                  </a:lnTo>
                  <a:lnTo>
                    <a:pt x="10636" y="17558"/>
                  </a:lnTo>
                  <a:lnTo>
                    <a:pt x="10351" y="17321"/>
                  </a:lnTo>
                  <a:lnTo>
                    <a:pt x="10278" y="17209"/>
                  </a:lnTo>
                  <a:lnTo>
                    <a:pt x="9846" y="17321"/>
                  </a:lnTo>
                  <a:lnTo>
                    <a:pt x="9708" y="17558"/>
                  </a:lnTo>
                  <a:lnTo>
                    <a:pt x="9642" y="17695"/>
                  </a:lnTo>
                  <a:lnTo>
                    <a:pt x="9561" y="17695"/>
                  </a:lnTo>
                  <a:lnTo>
                    <a:pt x="9423" y="17209"/>
                  </a:lnTo>
                  <a:lnTo>
                    <a:pt x="9423" y="17072"/>
                  </a:lnTo>
                  <a:lnTo>
                    <a:pt x="9357" y="17072"/>
                  </a:lnTo>
                  <a:lnTo>
                    <a:pt x="9276" y="17445"/>
                  </a:lnTo>
                  <a:lnTo>
                    <a:pt x="9423" y="18044"/>
                  </a:lnTo>
                  <a:lnTo>
                    <a:pt x="9423" y="18181"/>
                  </a:lnTo>
                  <a:lnTo>
                    <a:pt x="9203" y="18044"/>
                  </a:lnTo>
                  <a:lnTo>
                    <a:pt x="8999" y="17931"/>
                  </a:lnTo>
                  <a:lnTo>
                    <a:pt x="8852" y="17931"/>
                  </a:lnTo>
                  <a:lnTo>
                    <a:pt x="8567" y="17807"/>
                  </a:lnTo>
                  <a:lnTo>
                    <a:pt x="8567" y="17695"/>
                  </a:lnTo>
                  <a:lnTo>
                    <a:pt x="8428" y="17445"/>
                  </a:lnTo>
                  <a:lnTo>
                    <a:pt x="8428" y="17558"/>
                  </a:lnTo>
                  <a:lnTo>
                    <a:pt x="8348" y="17931"/>
                  </a:lnTo>
                  <a:lnTo>
                    <a:pt x="8348" y="18417"/>
                  </a:lnTo>
                  <a:lnTo>
                    <a:pt x="8428" y="18766"/>
                  </a:lnTo>
                  <a:lnTo>
                    <a:pt x="8494" y="19016"/>
                  </a:lnTo>
                  <a:lnTo>
                    <a:pt x="8567" y="19140"/>
                  </a:lnTo>
                  <a:lnTo>
                    <a:pt x="8348" y="19140"/>
                  </a:lnTo>
                  <a:lnTo>
                    <a:pt x="8282" y="18766"/>
                  </a:lnTo>
                  <a:lnTo>
                    <a:pt x="8209" y="18417"/>
                  </a:lnTo>
                  <a:lnTo>
                    <a:pt x="8282" y="18293"/>
                  </a:lnTo>
                  <a:lnTo>
                    <a:pt x="8348" y="17931"/>
                  </a:lnTo>
                  <a:lnTo>
                    <a:pt x="8348" y="17558"/>
                  </a:lnTo>
                  <a:lnTo>
                    <a:pt x="8282" y="17321"/>
                  </a:lnTo>
                  <a:lnTo>
                    <a:pt x="7990" y="16723"/>
                  </a:lnTo>
                  <a:lnTo>
                    <a:pt x="7705" y="16237"/>
                  </a:lnTo>
                  <a:lnTo>
                    <a:pt x="7566" y="16112"/>
                  </a:lnTo>
                  <a:lnTo>
                    <a:pt x="7281" y="15988"/>
                  </a:lnTo>
                  <a:lnTo>
                    <a:pt x="7281" y="16112"/>
                  </a:lnTo>
                  <a:lnTo>
                    <a:pt x="7215" y="16112"/>
                  </a:lnTo>
                  <a:lnTo>
                    <a:pt x="7281" y="15863"/>
                  </a:lnTo>
                  <a:lnTo>
                    <a:pt x="7566" y="16112"/>
                  </a:lnTo>
                  <a:lnTo>
                    <a:pt x="7639" y="16112"/>
                  </a:lnTo>
                  <a:lnTo>
                    <a:pt x="7639" y="15988"/>
                  </a:lnTo>
                  <a:lnTo>
                    <a:pt x="7354" y="15751"/>
                  </a:lnTo>
                  <a:lnTo>
                    <a:pt x="7281" y="15751"/>
                  </a:lnTo>
                  <a:lnTo>
                    <a:pt x="7215" y="15863"/>
                  </a:lnTo>
                  <a:lnTo>
                    <a:pt x="7215" y="15751"/>
                  </a:lnTo>
                  <a:lnTo>
                    <a:pt x="6923" y="15863"/>
                  </a:lnTo>
                  <a:lnTo>
                    <a:pt x="6857" y="15751"/>
                  </a:lnTo>
                  <a:lnTo>
                    <a:pt x="6711" y="15863"/>
                  </a:lnTo>
                  <a:lnTo>
                    <a:pt x="6491" y="15265"/>
                  </a:lnTo>
                  <a:lnTo>
                    <a:pt x="6287" y="14891"/>
                  </a:lnTo>
                  <a:lnTo>
                    <a:pt x="5848" y="14779"/>
                  </a:lnTo>
                  <a:lnTo>
                    <a:pt x="5643" y="14654"/>
                  </a:lnTo>
                  <a:lnTo>
                    <a:pt x="5563" y="14654"/>
                  </a:lnTo>
                  <a:lnTo>
                    <a:pt x="5358" y="14293"/>
                  </a:lnTo>
                  <a:lnTo>
                    <a:pt x="5212" y="14293"/>
                  </a:lnTo>
                  <a:lnTo>
                    <a:pt x="5073" y="14405"/>
                  </a:lnTo>
                  <a:lnTo>
                    <a:pt x="4854" y="14293"/>
                  </a:lnTo>
                  <a:lnTo>
                    <a:pt x="4635" y="14293"/>
                  </a:lnTo>
                  <a:lnTo>
                    <a:pt x="4349" y="13445"/>
                  </a:lnTo>
                  <a:lnTo>
                    <a:pt x="4349" y="13333"/>
                  </a:lnTo>
                  <a:lnTo>
                    <a:pt x="4349" y="13196"/>
                  </a:lnTo>
                  <a:lnTo>
                    <a:pt x="4284" y="13196"/>
                  </a:lnTo>
                  <a:lnTo>
                    <a:pt x="4145" y="12847"/>
                  </a:lnTo>
                  <a:lnTo>
                    <a:pt x="4064" y="12710"/>
                  </a:lnTo>
                  <a:lnTo>
                    <a:pt x="3999" y="12847"/>
                  </a:lnTo>
                  <a:lnTo>
                    <a:pt x="3999" y="13445"/>
                  </a:lnTo>
                  <a:lnTo>
                    <a:pt x="3706" y="13333"/>
                  </a:lnTo>
                  <a:lnTo>
                    <a:pt x="3640" y="13445"/>
                  </a:lnTo>
                  <a:lnTo>
                    <a:pt x="3494" y="13196"/>
                  </a:lnTo>
                  <a:lnTo>
                    <a:pt x="3355" y="13196"/>
                  </a:lnTo>
                  <a:lnTo>
                    <a:pt x="3282" y="13196"/>
                  </a:lnTo>
                  <a:lnTo>
                    <a:pt x="3070" y="13196"/>
                  </a:lnTo>
                  <a:lnTo>
                    <a:pt x="2997" y="13445"/>
                  </a:lnTo>
                  <a:lnTo>
                    <a:pt x="2851" y="13931"/>
                  </a:lnTo>
                  <a:lnTo>
                    <a:pt x="2712" y="13931"/>
                  </a:lnTo>
                  <a:lnTo>
                    <a:pt x="2566" y="14056"/>
                  </a:lnTo>
                  <a:lnTo>
                    <a:pt x="2288" y="14056"/>
                  </a:lnTo>
                  <a:lnTo>
                    <a:pt x="2208" y="13931"/>
                  </a:lnTo>
                  <a:lnTo>
                    <a:pt x="1784" y="13807"/>
                  </a:lnTo>
                  <a:lnTo>
                    <a:pt x="1784" y="13570"/>
                  </a:lnTo>
                  <a:lnTo>
                    <a:pt x="2003" y="13445"/>
                  </a:lnTo>
                  <a:lnTo>
                    <a:pt x="2003" y="13196"/>
                  </a:lnTo>
                  <a:lnTo>
                    <a:pt x="1923" y="12960"/>
                  </a:lnTo>
                  <a:lnTo>
                    <a:pt x="1923" y="12598"/>
                  </a:lnTo>
                  <a:lnTo>
                    <a:pt x="1849" y="12361"/>
                  </a:lnTo>
                  <a:lnTo>
                    <a:pt x="1784" y="11988"/>
                  </a:lnTo>
                  <a:lnTo>
                    <a:pt x="1703" y="11751"/>
                  </a:lnTo>
                  <a:lnTo>
                    <a:pt x="1499" y="11153"/>
                  </a:lnTo>
                  <a:lnTo>
                    <a:pt x="1075" y="10779"/>
                  </a:lnTo>
                  <a:lnTo>
                    <a:pt x="994" y="10779"/>
                  </a:lnTo>
                  <a:lnTo>
                    <a:pt x="928" y="10903"/>
                  </a:lnTo>
                  <a:lnTo>
                    <a:pt x="709" y="10779"/>
                  </a:lnTo>
                  <a:lnTo>
                    <a:pt x="636" y="10667"/>
                  </a:lnTo>
                  <a:lnTo>
                    <a:pt x="570" y="10530"/>
                  </a:lnTo>
                  <a:lnTo>
                    <a:pt x="490" y="10530"/>
                  </a:lnTo>
                  <a:lnTo>
                    <a:pt x="490" y="10667"/>
                  </a:lnTo>
                  <a:lnTo>
                    <a:pt x="0" y="10293"/>
                  </a:lnTo>
                  <a:lnTo>
                    <a:pt x="0" y="10181"/>
                  </a:lnTo>
                  <a:lnTo>
                    <a:pt x="139" y="10293"/>
                  </a:lnTo>
                  <a:lnTo>
                    <a:pt x="212" y="10181"/>
                  </a:lnTo>
                  <a:lnTo>
                    <a:pt x="139" y="9931"/>
                  </a:lnTo>
                  <a:lnTo>
                    <a:pt x="709" y="9931"/>
                  </a:lnTo>
                  <a:lnTo>
                    <a:pt x="928" y="9807"/>
                  </a:lnTo>
                  <a:lnTo>
                    <a:pt x="1564" y="9695"/>
                  </a:lnTo>
                  <a:lnTo>
                    <a:pt x="2003" y="9695"/>
                  </a:lnTo>
                  <a:lnTo>
                    <a:pt x="2427" y="9931"/>
                  </a:lnTo>
                  <a:lnTo>
                    <a:pt x="2493" y="9695"/>
                  </a:lnTo>
                  <a:lnTo>
                    <a:pt x="2566" y="9209"/>
                  </a:lnTo>
                  <a:lnTo>
                    <a:pt x="2566" y="9084"/>
                  </a:lnTo>
                  <a:lnTo>
                    <a:pt x="2493" y="8972"/>
                  </a:lnTo>
                  <a:lnTo>
                    <a:pt x="2493" y="8598"/>
                  </a:lnTo>
                  <a:lnTo>
                    <a:pt x="2427" y="8349"/>
                  </a:lnTo>
                  <a:lnTo>
                    <a:pt x="2354" y="8349"/>
                  </a:lnTo>
                  <a:lnTo>
                    <a:pt x="2069" y="8349"/>
                  </a:lnTo>
                  <a:lnTo>
                    <a:pt x="1923" y="8112"/>
                  </a:lnTo>
                  <a:lnTo>
                    <a:pt x="1784" y="8000"/>
                  </a:lnTo>
                  <a:lnTo>
                    <a:pt x="1703" y="7863"/>
                  </a:lnTo>
                  <a:lnTo>
                    <a:pt x="1425" y="7863"/>
                  </a:lnTo>
                  <a:lnTo>
                    <a:pt x="1213" y="8723"/>
                  </a:lnTo>
                  <a:lnTo>
                    <a:pt x="1075" y="8598"/>
                  </a:lnTo>
                  <a:lnTo>
                    <a:pt x="1140" y="8000"/>
                  </a:lnTo>
                  <a:lnTo>
                    <a:pt x="1075" y="7863"/>
                  </a:lnTo>
                  <a:lnTo>
                    <a:pt x="1075" y="7751"/>
                  </a:lnTo>
                  <a:lnTo>
                    <a:pt x="1213" y="7626"/>
                  </a:lnTo>
                  <a:lnTo>
                    <a:pt x="1140" y="7377"/>
                  </a:lnTo>
                  <a:lnTo>
                    <a:pt x="994" y="7514"/>
                  </a:lnTo>
                  <a:lnTo>
                    <a:pt x="775" y="7377"/>
                  </a:lnTo>
                  <a:lnTo>
                    <a:pt x="855" y="7140"/>
                  </a:lnTo>
                  <a:lnTo>
                    <a:pt x="775" y="7028"/>
                  </a:lnTo>
                  <a:lnTo>
                    <a:pt x="928" y="7028"/>
                  </a:lnTo>
                  <a:lnTo>
                    <a:pt x="994" y="7140"/>
                  </a:lnTo>
                  <a:lnTo>
                    <a:pt x="1140" y="7028"/>
                  </a:lnTo>
                  <a:lnTo>
                    <a:pt x="1075" y="6542"/>
                  </a:lnTo>
                  <a:lnTo>
                    <a:pt x="1213" y="6417"/>
                  </a:lnTo>
                  <a:lnTo>
                    <a:pt x="1352" y="6305"/>
                  </a:lnTo>
                  <a:lnTo>
                    <a:pt x="1213" y="6903"/>
                  </a:lnTo>
                  <a:lnTo>
                    <a:pt x="1279" y="7028"/>
                  </a:lnTo>
                  <a:lnTo>
                    <a:pt x="1499" y="6791"/>
                  </a:lnTo>
                  <a:lnTo>
                    <a:pt x="1499" y="6903"/>
                  </a:lnTo>
                  <a:lnTo>
                    <a:pt x="1425" y="7028"/>
                  </a:lnTo>
                  <a:lnTo>
                    <a:pt x="1499" y="7140"/>
                  </a:lnTo>
                  <a:lnTo>
                    <a:pt x="1703" y="7028"/>
                  </a:lnTo>
                  <a:lnTo>
                    <a:pt x="1923" y="7028"/>
                  </a:lnTo>
                  <a:lnTo>
                    <a:pt x="1923" y="7265"/>
                  </a:lnTo>
                  <a:lnTo>
                    <a:pt x="2069" y="7265"/>
                  </a:lnTo>
                  <a:lnTo>
                    <a:pt x="2208" y="7265"/>
                  </a:lnTo>
                  <a:lnTo>
                    <a:pt x="2288" y="7140"/>
                  </a:lnTo>
                  <a:lnTo>
                    <a:pt x="2427" y="7140"/>
                  </a:lnTo>
                  <a:lnTo>
                    <a:pt x="2493" y="7028"/>
                  </a:lnTo>
                  <a:lnTo>
                    <a:pt x="2493" y="6903"/>
                  </a:lnTo>
                  <a:lnTo>
                    <a:pt x="2427" y="6791"/>
                  </a:lnTo>
                  <a:lnTo>
                    <a:pt x="2427" y="6654"/>
                  </a:lnTo>
                  <a:lnTo>
                    <a:pt x="2354" y="6417"/>
                  </a:lnTo>
                  <a:lnTo>
                    <a:pt x="2208" y="6417"/>
                  </a:lnTo>
                  <a:lnTo>
                    <a:pt x="2208" y="6654"/>
                  </a:lnTo>
                  <a:lnTo>
                    <a:pt x="2003" y="6654"/>
                  </a:lnTo>
                  <a:lnTo>
                    <a:pt x="2069" y="6542"/>
                  </a:lnTo>
                  <a:lnTo>
                    <a:pt x="2069" y="6417"/>
                  </a:lnTo>
                  <a:lnTo>
                    <a:pt x="1784" y="6654"/>
                  </a:lnTo>
                  <a:lnTo>
                    <a:pt x="1703" y="6542"/>
                  </a:lnTo>
                  <a:lnTo>
                    <a:pt x="1923" y="6056"/>
                  </a:lnTo>
                  <a:lnTo>
                    <a:pt x="2069" y="5819"/>
                  </a:lnTo>
                  <a:lnTo>
                    <a:pt x="2003" y="5682"/>
                  </a:lnTo>
                  <a:lnTo>
                    <a:pt x="1923" y="5682"/>
                  </a:lnTo>
                  <a:lnTo>
                    <a:pt x="1564" y="6056"/>
                  </a:lnTo>
                  <a:lnTo>
                    <a:pt x="1279" y="6056"/>
                  </a:lnTo>
                  <a:lnTo>
                    <a:pt x="994" y="6305"/>
                  </a:lnTo>
                  <a:lnTo>
                    <a:pt x="855" y="6305"/>
                  </a:lnTo>
                  <a:lnTo>
                    <a:pt x="570" y="6056"/>
                  </a:lnTo>
                  <a:lnTo>
                    <a:pt x="490" y="6168"/>
                  </a:lnTo>
                  <a:lnTo>
                    <a:pt x="490" y="6305"/>
                  </a:lnTo>
                  <a:lnTo>
                    <a:pt x="424" y="6417"/>
                  </a:lnTo>
                  <a:lnTo>
                    <a:pt x="66" y="6305"/>
                  </a:lnTo>
                  <a:lnTo>
                    <a:pt x="66" y="6168"/>
                  </a:lnTo>
                  <a:lnTo>
                    <a:pt x="66" y="6056"/>
                  </a:lnTo>
                  <a:lnTo>
                    <a:pt x="0" y="5931"/>
                  </a:lnTo>
                  <a:lnTo>
                    <a:pt x="0" y="5819"/>
                  </a:lnTo>
                  <a:lnTo>
                    <a:pt x="0" y="5682"/>
                  </a:lnTo>
                  <a:lnTo>
                    <a:pt x="66" y="5819"/>
                  </a:lnTo>
                  <a:lnTo>
                    <a:pt x="139" y="5682"/>
                  </a:lnTo>
                  <a:lnTo>
                    <a:pt x="66" y="5333"/>
                  </a:lnTo>
                  <a:lnTo>
                    <a:pt x="0" y="5084"/>
                  </a:lnTo>
                  <a:lnTo>
                    <a:pt x="139" y="4723"/>
                  </a:lnTo>
                  <a:lnTo>
                    <a:pt x="212" y="4361"/>
                  </a:lnTo>
                  <a:lnTo>
                    <a:pt x="212" y="4237"/>
                  </a:lnTo>
                  <a:lnTo>
                    <a:pt x="139" y="3988"/>
                  </a:lnTo>
                  <a:lnTo>
                    <a:pt x="285" y="3751"/>
                  </a:lnTo>
                  <a:lnTo>
                    <a:pt x="285" y="3502"/>
                  </a:lnTo>
                  <a:lnTo>
                    <a:pt x="490" y="3265"/>
                  </a:lnTo>
                  <a:lnTo>
                    <a:pt x="570" y="3389"/>
                  </a:lnTo>
                  <a:lnTo>
                    <a:pt x="636" y="3153"/>
                  </a:lnTo>
                  <a:lnTo>
                    <a:pt x="855" y="3153"/>
                  </a:lnTo>
                  <a:lnTo>
                    <a:pt x="928" y="3153"/>
                  </a:lnTo>
                  <a:lnTo>
                    <a:pt x="1075" y="3016"/>
                  </a:lnTo>
                  <a:lnTo>
                    <a:pt x="1140" y="2903"/>
                  </a:lnTo>
                  <a:lnTo>
                    <a:pt x="1140" y="2779"/>
                  </a:lnTo>
                  <a:lnTo>
                    <a:pt x="1279" y="2667"/>
                  </a:lnTo>
                  <a:lnTo>
                    <a:pt x="1499" y="2293"/>
                  </a:lnTo>
                  <a:lnTo>
                    <a:pt x="1564" y="2417"/>
                  </a:lnTo>
                  <a:lnTo>
                    <a:pt x="1784" y="2542"/>
                  </a:lnTo>
                  <a:lnTo>
                    <a:pt x="2003" y="2417"/>
                  </a:lnTo>
                  <a:lnTo>
                    <a:pt x="2069" y="2293"/>
                  </a:lnTo>
                  <a:lnTo>
                    <a:pt x="2069" y="2181"/>
                  </a:lnTo>
                  <a:lnTo>
                    <a:pt x="2288" y="2181"/>
                  </a:lnTo>
                  <a:lnTo>
                    <a:pt x="2566" y="1944"/>
                  </a:lnTo>
                  <a:lnTo>
                    <a:pt x="2632" y="1944"/>
                  </a:lnTo>
                  <a:lnTo>
                    <a:pt x="2712" y="2056"/>
                  </a:lnTo>
                  <a:lnTo>
                    <a:pt x="2778" y="2056"/>
                  </a:lnTo>
                  <a:lnTo>
                    <a:pt x="2851" y="2181"/>
                  </a:lnTo>
                  <a:lnTo>
                    <a:pt x="2712" y="2417"/>
                  </a:lnTo>
                  <a:lnTo>
                    <a:pt x="2778" y="2417"/>
                  </a:lnTo>
                  <a:lnTo>
                    <a:pt x="2917" y="2293"/>
                  </a:lnTo>
                  <a:lnTo>
                    <a:pt x="3070" y="2417"/>
                  </a:lnTo>
                  <a:lnTo>
                    <a:pt x="3216" y="2293"/>
                  </a:lnTo>
                  <a:lnTo>
                    <a:pt x="3355" y="1944"/>
                  </a:lnTo>
                  <a:lnTo>
                    <a:pt x="3567" y="1944"/>
                  </a:lnTo>
                  <a:lnTo>
                    <a:pt x="3925" y="1944"/>
                  </a:lnTo>
                  <a:lnTo>
                    <a:pt x="4064" y="1944"/>
                  </a:lnTo>
                  <a:lnTo>
                    <a:pt x="4145" y="1807"/>
                  </a:lnTo>
                  <a:lnTo>
                    <a:pt x="4349" y="1570"/>
                  </a:lnTo>
                  <a:lnTo>
                    <a:pt x="4430" y="1570"/>
                  </a:lnTo>
                  <a:lnTo>
                    <a:pt x="4430" y="1695"/>
                  </a:lnTo>
                  <a:lnTo>
                    <a:pt x="4496" y="1570"/>
                  </a:lnTo>
                  <a:lnTo>
                    <a:pt x="4569" y="1570"/>
                  </a:lnTo>
                  <a:lnTo>
                    <a:pt x="4569" y="1807"/>
                  </a:lnTo>
                  <a:lnTo>
                    <a:pt x="4635" y="2417"/>
                  </a:lnTo>
                  <a:lnTo>
                    <a:pt x="4708" y="2542"/>
                  </a:lnTo>
                  <a:lnTo>
                    <a:pt x="4781" y="2417"/>
                  </a:lnTo>
                  <a:lnTo>
                    <a:pt x="4781" y="2293"/>
                  </a:lnTo>
                  <a:lnTo>
                    <a:pt x="4993" y="2293"/>
                  </a:lnTo>
                  <a:lnTo>
                    <a:pt x="4993" y="2417"/>
                  </a:lnTo>
                  <a:lnTo>
                    <a:pt x="4920" y="2417"/>
                  </a:lnTo>
                  <a:lnTo>
                    <a:pt x="4920" y="2667"/>
                  </a:lnTo>
                  <a:lnTo>
                    <a:pt x="4993" y="2779"/>
                  </a:lnTo>
                  <a:lnTo>
                    <a:pt x="5073" y="2903"/>
                  </a:lnTo>
                  <a:lnTo>
                    <a:pt x="5139" y="2903"/>
                  </a:lnTo>
                  <a:lnTo>
                    <a:pt x="5139" y="2542"/>
                  </a:lnTo>
                  <a:lnTo>
                    <a:pt x="5278" y="1944"/>
                  </a:lnTo>
                  <a:lnTo>
                    <a:pt x="5358" y="1944"/>
                  </a:lnTo>
                  <a:lnTo>
                    <a:pt x="5358" y="1807"/>
                  </a:lnTo>
                  <a:lnTo>
                    <a:pt x="5424" y="1807"/>
                  </a:lnTo>
                  <a:lnTo>
                    <a:pt x="5563" y="2056"/>
                  </a:lnTo>
                  <a:lnTo>
                    <a:pt x="5782" y="1944"/>
                  </a:lnTo>
                  <a:lnTo>
                    <a:pt x="5921" y="2056"/>
                  </a:lnTo>
                  <a:lnTo>
                    <a:pt x="5994" y="2181"/>
                  </a:lnTo>
                  <a:lnTo>
                    <a:pt x="6140" y="2181"/>
                  </a:lnTo>
                  <a:lnTo>
                    <a:pt x="6206" y="2181"/>
                  </a:lnTo>
                  <a:lnTo>
                    <a:pt x="6287" y="2181"/>
                  </a:lnTo>
                  <a:lnTo>
                    <a:pt x="6206" y="2293"/>
                  </a:lnTo>
                  <a:lnTo>
                    <a:pt x="6287" y="2417"/>
                  </a:lnTo>
                  <a:lnTo>
                    <a:pt x="6425" y="2417"/>
                  </a:lnTo>
                  <a:lnTo>
                    <a:pt x="6491" y="2542"/>
                  </a:lnTo>
                  <a:lnTo>
                    <a:pt x="6572" y="2542"/>
                  </a:lnTo>
                  <a:lnTo>
                    <a:pt x="6637" y="2542"/>
                  </a:lnTo>
                  <a:lnTo>
                    <a:pt x="6711" y="2293"/>
                  </a:lnTo>
                  <a:lnTo>
                    <a:pt x="6637" y="2293"/>
                  </a:lnTo>
                  <a:lnTo>
                    <a:pt x="6637" y="1807"/>
                  </a:lnTo>
                  <a:lnTo>
                    <a:pt x="6776" y="1807"/>
                  </a:lnTo>
                  <a:lnTo>
                    <a:pt x="6857" y="1570"/>
                  </a:lnTo>
                  <a:lnTo>
                    <a:pt x="6711" y="1321"/>
                  </a:lnTo>
                  <a:lnTo>
                    <a:pt x="6637" y="1209"/>
                  </a:lnTo>
                  <a:lnTo>
                    <a:pt x="6711" y="972"/>
                  </a:lnTo>
                  <a:lnTo>
                    <a:pt x="6776" y="972"/>
                  </a:lnTo>
                  <a:lnTo>
                    <a:pt x="6857" y="835"/>
                  </a:lnTo>
                  <a:lnTo>
                    <a:pt x="6923" y="598"/>
                  </a:lnTo>
                  <a:lnTo>
                    <a:pt x="6996" y="598"/>
                  </a:lnTo>
                  <a:lnTo>
                    <a:pt x="7215" y="361"/>
                  </a:lnTo>
                  <a:lnTo>
                    <a:pt x="7281" y="361"/>
                  </a:lnTo>
                  <a:lnTo>
                    <a:pt x="7420" y="598"/>
                  </a:lnTo>
                  <a:lnTo>
                    <a:pt x="7566" y="723"/>
                  </a:lnTo>
                  <a:lnTo>
                    <a:pt x="7639" y="723"/>
                  </a:lnTo>
                  <a:lnTo>
                    <a:pt x="7851" y="723"/>
                  </a:lnTo>
                  <a:lnTo>
                    <a:pt x="7990" y="598"/>
                  </a:lnTo>
                  <a:lnTo>
                    <a:pt x="8209" y="361"/>
                  </a:lnTo>
                  <a:lnTo>
                    <a:pt x="8348" y="361"/>
                  </a:lnTo>
                  <a:lnTo>
                    <a:pt x="8633" y="112"/>
                  </a:lnTo>
                  <a:lnTo>
                    <a:pt x="8713" y="361"/>
                  </a:lnTo>
                  <a:lnTo>
                    <a:pt x="8713" y="598"/>
                  </a:lnTo>
                  <a:lnTo>
                    <a:pt x="8713" y="723"/>
                  </a:lnTo>
                  <a:lnTo>
                    <a:pt x="8852" y="598"/>
                  </a:lnTo>
                  <a:lnTo>
                    <a:pt x="8852" y="486"/>
                  </a:lnTo>
                  <a:lnTo>
                    <a:pt x="9203" y="237"/>
                  </a:lnTo>
                  <a:lnTo>
                    <a:pt x="9357" y="112"/>
                  </a:lnTo>
                  <a:lnTo>
                    <a:pt x="9357" y="0"/>
                  </a:lnTo>
                  <a:lnTo>
                    <a:pt x="9423" y="0"/>
                  </a:lnTo>
                  <a:lnTo>
                    <a:pt x="9357" y="361"/>
                  </a:lnTo>
                  <a:lnTo>
                    <a:pt x="9357" y="723"/>
                  </a:lnTo>
                  <a:lnTo>
                    <a:pt x="9357" y="835"/>
                  </a:lnTo>
                  <a:lnTo>
                    <a:pt x="9642" y="972"/>
                  </a:lnTo>
                  <a:lnTo>
                    <a:pt x="9708" y="1084"/>
                  </a:lnTo>
                  <a:lnTo>
                    <a:pt x="9561" y="1321"/>
                  </a:lnTo>
                  <a:lnTo>
                    <a:pt x="9846" y="1570"/>
                  </a:lnTo>
                  <a:lnTo>
                    <a:pt x="9927" y="1695"/>
                  </a:lnTo>
                  <a:lnTo>
                    <a:pt x="9993" y="1570"/>
                  </a:lnTo>
                  <a:lnTo>
                    <a:pt x="10066" y="1695"/>
                  </a:lnTo>
                  <a:lnTo>
                    <a:pt x="10132" y="1807"/>
                  </a:lnTo>
                  <a:lnTo>
                    <a:pt x="10066" y="2181"/>
                  </a:lnTo>
                  <a:lnTo>
                    <a:pt x="10278" y="2667"/>
                  </a:lnTo>
                  <a:lnTo>
                    <a:pt x="10351" y="2542"/>
                  </a:lnTo>
                  <a:lnTo>
                    <a:pt x="10424" y="2779"/>
                  </a:lnTo>
                  <a:lnTo>
                    <a:pt x="10424" y="2903"/>
                  </a:lnTo>
                  <a:lnTo>
                    <a:pt x="10490" y="3016"/>
                  </a:lnTo>
                  <a:lnTo>
                    <a:pt x="10636" y="3265"/>
                  </a:lnTo>
                  <a:lnTo>
                    <a:pt x="10570" y="3389"/>
                  </a:lnTo>
                  <a:lnTo>
                    <a:pt x="10636" y="3751"/>
                  </a:lnTo>
                  <a:lnTo>
                    <a:pt x="10636" y="3875"/>
                  </a:lnTo>
                  <a:lnTo>
                    <a:pt x="10570" y="3988"/>
                  </a:lnTo>
                  <a:lnTo>
                    <a:pt x="10636" y="4125"/>
                  </a:lnTo>
                  <a:lnTo>
                    <a:pt x="10775" y="4237"/>
                  </a:lnTo>
                  <a:lnTo>
                    <a:pt x="10855" y="4474"/>
                  </a:lnTo>
                  <a:lnTo>
                    <a:pt x="11140" y="4723"/>
                  </a:lnTo>
                  <a:lnTo>
                    <a:pt x="11060" y="4960"/>
                  </a:lnTo>
                  <a:lnTo>
                    <a:pt x="11140" y="5196"/>
                  </a:lnTo>
                  <a:lnTo>
                    <a:pt x="11206" y="5196"/>
                  </a:lnTo>
                  <a:lnTo>
                    <a:pt x="11279" y="5445"/>
                  </a:lnTo>
                  <a:lnTo>
                    <a:pt x="11345" y="5196"/>
                  </a:lnTo>
                  <a:lnTo>
                    <a:pt x="11279" y="5084"/>
                  </a:lnTo>
                  <a:lnTo>
                    <a:pt x="11425" y="4960"/>
                  </a:lnTo>
                  <a:lnTo>
                    <a:pt x="11425" y="5084"/>
                  </a:lnTo>
                  <a:lnTo>
                    <a:pt x="11564" y="5084"/>
                  </a:lnTo>
                  <a:lnTo>
                    <a:pt x="11637" y="4960"/>
                  </a:lnTo>
                  <a:lnTo>
                    <a:pt x="11923" y="4474"/>
                  </a:lnTo>
                  <a:lnTo>
                    <a:pt x="11988" y="4237"/>
                  </a:lnTo>
                  <a:lnTo>
                    <a:pt x="12354" y="4125"/>
                  </a:lnTo>
                  <a:lnTo>
                    <a:pt x="12493" y="3751"/>
                  </a:lnTo>
                  <a:lnTo>
                    <a:pt x="12420" y="3639"/>
                  </a:lnTo>
                  <a:lnTo>
                    <a:pt x="12493" y="3502"/>
                  </a:lnTo>
                  <a:lnTo>
                    <a:pt x="12712" y="3639"/>
                  </a:lnTo>
                  <a:lnTo>
                    <a:pt x="12778" y="3751"/>
                  </a:lnTo>
                  <a:lnTo>
                    <a:pt x="12851" y="3751"/>
                  </a:lnTo>
                  <a:lnTo>
                    <a:pt x="12851" y="3639"/>
                  </a:lnTo>
                  <a:lnTo>
                    <a:pt x="13282" y="3265"/>
                  </a:lnTo>
                  <a:lnTo>
                    <a:pt x="13282" y="3153"/>
                  </a:lnTo>
                  <a:lnTo>
                    <a:pt x="13348" y="3153"/>
                  </a:lnTo>
                  <a:lnTo>
                    <a:pt x="13348" y="3389"/>
                  </a:lnTo>
                  <a:lnTo>
                    <a:pt x="13487" y="3389"/>
                  </a:lnTo>
                  <a:lnTo>
                    <a:pt x="13202" y="3988"/>
                  </a:lnTo>
                  <a:lnTo>
                    <a:pt x="13282" y="4125"/>
                  </a:lnTo>
                  <a:lnTo>
                    <a:pt x="13421" y="3988"/>
                  </a:lnTo>
                  <a:lnTo>
                    <a:pt x="13487" y="3875"/>
                  </a:lnTo>
                  <a:lnTo>
                    <a:pt x="13640" y="3751"/>
                  </a:lnTo>
                  <a:lnTo>
                    <a:pt x="13640" y="3875"/>
                  </a:lnTo>
                  <a:lnTo>
                    <a:pt x="13779" y="4361"/>
                  </a:lnTo>
                  <a:lnTo>
                    <a:pt x="13779" y="4723"/>
                  </a:lnTo>
                  <a:lnTo>
                    <a:pt x="13845" y="4723"/>
                  </a:lnTo>
                  <a:lnTo>
                    <a:pt x="13925" y="4361"/>
                  </a:lnTo>
                  <a:lnTo>
                    <a:pt x="13925" y="4237"/>
                  </a:lnTo>
                  <a:lnTo>
                    <a:pt x="13991" y="4361"/>
                  </a:lnTo>
                  <a:lnTo>
                    <a:pt x="13991" y="4598"/>
                  </a:lnTo>
                  <a:lnTo>
                    <a:pt x="14064" y="4723"/>
                  </a:lnTo>
                  <a:lnTo>
                    <a:pt x="14064" y="4598"/>
                  </a:lnTo>
                  <a:lnTo>
                    <a:pt x="14064" y="4361"/>
                  </a:lnTo>
                  <a:lnTo>
                    <a:pt x="14130" y="4125"/>
                  </a:lnTo>
                  <a:lnTo>
                    <a:pt x="14211" y="4237"/>
                  </a:lnTo>
                  <a:lnTo>
                    <a:pt x="14276" y="4361"/>
                  </a:lnTo>
                  <a:close/>
                </a:path>
              </a:pathLst>
            </a:custGeom>
            <a:solidFill>
              <a:srgbClr val="E11A81">
                <a:lumMod val="20000"/>
                <a:lumOff val="80000"/>
              </a:srgbClr>
            </a:solidFill>
            <a:ln w="6350" cap="flat">
              <a:solidFill>
                <a:sysClr val="window" lastClr="FFFFFF"/>
              </a:solidFill>
              <a:prstDash val="solid"/>
              <a:round/>
              <a:headEnd type="none" w="med" len="med"/>
              <a:tailEnd type="none" w="med" len="me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86496">
                <a:defRPr/>
              </a:pPr>
              <a:endParaRPr lang="fr-FR" sz="1400">
                <a:solidFill>
                  <a:srgbClr val="5E5E5E"/>
                </a:solidFill>
                <a:latin typeface="Helvetica Neue"/>
              </a:endParaRPr>
            </a:p>
          </p:txBody>
        </p:sp>
        <p:sp>
          <p:nvSpPr>
            <p:cNvPr id="48" name="Freeform 25">
              <a:extLst>
                <a:ext uri="{FF2B5EF4-FFF2-40B4-BE49-F238E27FC236}">
                  <a16:creationId xmlns:a16="http://schemas.microsoft.com/office/drawing/2014/main" id="{B0A815B4-2CDD-44BE-9456-9B63D7B6B224}"/>
                </a:ext>
              </a:extLst>
            </p:cNvPr>
            <p:cNvSpPr>
              <a:spLocks noChangeAspect="1"/>
            </p:cNvSpPr>
            <p:nvPr/>
          </p:nvSpPr>
          <p:spPr bwMode="auto">
            <a:xfrm>
              <a:off x="3649921" y="4346011"/>
              <a:ext cx="190181" cy="157150"/>
            </a:xfrm>
            <a:custGeom>
              <a:avLst/>
              <a:gdLst>
                <a:gd name="T0" fmla="*/ 760 w 20000"/>
                <a:gd name="T1" fmla="*/ 189 h 20000"/>
                <a:gd name="T2" fmla="*/ 775 w 20000"/>
                <a:gd name="T3" fmla="*/ 147 h 20000"/>
                <a:gd name="T4" fmla="*/ 700 w 20000"/>
                <a:gd name="T5" fmla="*/ 80 h 20000"/>
                <a:gd name="T6" fmla="*/ 654 w 20000"/>
                <a:gd name="T7" fmla="*/ 3 h 20000"/>
                <a:gd name="T8" fmla="*/ 602 w 20000"/>
                <a:gd name="T9" fmla="*/ 24 h 20000"/>
                <a:gd name="T10" fmla="*/ 549 w 20000"/>
                <a:gd name="T11" fmla="*/ 3 h 20000"/>
                <a:gd name="T12" fmla="*/ 574 w 20000"/>
                <a:gd name="T13" fmla="*/ 63 h 20000"/>
                <a:gd name="T14" fmla="*/ 545 w 20000"/>
                <a:gd name="T15" fmla="*/ 108 h 20000"/>
                <a:gd name="T16" fmla="*/ 486 w 20000"/>
                <a:gd name="T17" fmla="*/ 119 h 20000"/>
                <a:gd name="T18" fmla="*/ 458 w 20000"/>
                <a:gd name="T19" fmla="*/ 151 h 20000"/>
                <a:gd name="T20" fmla="*/ 429 w 20000"/>
                <a:gd name="T21" fmla="*/ 185 h 20000"/>
                <a:gd name="T22" fmla="*/ 383 w 20000"/>
                <a:gd name="T23" fmla="*/ 217 h 20000"/>
                <a:gd name="T24" fmla="*/ 387 w 20000"/>
                <a:gd name="T25" fmla="*/ 252 h 20000"/>
                <a:gd name="T26" fmla="*/ 342 w 20000"/>
                <a:gd name="T27" fmla="*/ 255 h 20000"/>
                <a:gd name="T28" fmla="*/ 345 w 20000"/>
                <a:gd name="T29" fmla="*/ 287 h 20000"/>
                <a:gd name="T30" fmla="*/ 342 w 20000"/>
                <a:gd name="T31" fmla="*/ 308 h 20000"/>
                <a:gd name="T32" fmla="*/ 387 w 20000"/>
                <a:gd name="T33" fmla="*/ 319 h 20000"/>
                <a:gd name="T34" fmla="*/ 401 w 20000"/>
                <a:gd name="T35" fmla="*/ 354 h 20000"/>
                <a:gd name="T36" fmla="*/ 394 w 20000"/>
                <a:gd name="T37" fmla="*/ 392 h 20000"/>
                <a:gd name="T38" fmla="*/ 370 w 20000"/>
                <a:gd name="T39" fmla="*/ 399 h 20000"/>
                <a:gd name="T40" fmla="*/ 320 w 20000"/>
                <a:gd name="T41" fmla="*/ 374 h 20000"/>
                <a:gd name="T42" fmla="*/ 282 w 20000"/>
                <a:gd name="T43" fmla="*/ 364 h 20000"/>
                <a:gd name="T44" fmla="*/ 257 w 20000"/>
                <a:gd name="T45" fmla="*/ 332 h 20000"/>
                <a:gd name="T46" fmla="*/ 190 w 20000"/>
                <a:gd name="T47" fmla="*/ 357 h 20000"/>
                <a:gd name="T48" fmla="*/ 155 w 20000"/>
                <a:gd name="T49" fmla="*/ 343 h 20000"/>
                <a:gd name="T50" fmla="*/ 112 w 20000"/>
                <a:gd name="T51" fmla="*/ 360 h 20000"/>
                <a:gd name="T52" fmla="*/ 130 w 20000"/>
                <a:gd name="T53" fmla="*/ 403 h 20000"/>
                <a:gd name="T54" fmla="*/ 155 w 20000"/>
                <a:gd name="T55" fmla="*/ 441 h 20000"/>
                <a:gd name="T56" fmla="*/ 155 w 20000"/>
                <a:gd name="T57" fmla="*/ 480 h 20000"/>
                <a:gd name="T58" fmla="*/ 120 w 20000"/>
                <a:gd name="T59" fmla="*/ 522 h 20000"/>
                <a:gd name="T60" fmla="*/ 63 w 20000"/>
                <a:gd name="T61" fmla="*/ 592 h 20000"/>
                <a:gd name="T62" fmla="*/ 39 w 20000"/>
                <a:gd name="T63" fmla="*/ 644 h 20000"/>
                <a:gd name="T64" fmla="*/ 0 w 20000"/>
                <a:gd name="T65" fmla="*/ 662 h 20000"/>
                <a:gd name="T66" fmla="*/ 112 w 20000"/>
                <a:gd name="T67" fmla="*/ 718 h 20000"/>
                <a:gd name="T68" fmla="*/ 183 w 20000"/>
                <a:gd name="T69" fmla="*/ 718 h 20000"/>
                <a:gd name="T70" fmla="*/ 232 w 20000"/>
                <a:gd name="T71" fmla="*/ 693 h 20000"/>
                <a:gd name="T72" fmla="*/ 250 w 20000"/>
                <a:gd name="T73" fmla="*/ 644 h 20000"/>
                <a:gd name="T74" fmla="*/ 271 w 20000"/>
                <a:gd name="T75" fmla="*/ 683 h 20000"/>
                <a:gd name="T76" fmla="*/ 236 w 20000"/>
                <a:gd name="T77" fmla="*/ 722 h 20000"/>
                <a:gd name="T78" fmla="*/ 324 w 20000"/>
                <a:gd name="T79" fmla="*/ 736 h 20000"/>
                <a:gd name="T80" fmla="*/ 397 w 20000"/>
                <a:gd name="T81" fmla="*/ 781 h 20000"/>
                <a:gd name="T82" fmla="*/ 447 w 20000"/>
                <a:gd name="T83" fmla="*/ 795 h 20000"/>
                <a:gd name="T84" fmla="*/ 500 w 20000"/>
                <a:gd name="T85" fmla="*/ 813 h 20000"/>
                <a:gd name="T86" fmla="*/ 493 w 20000"/>
                <a:gd name="T87" fmla="*/ 799 h 20000"/>
                <a:gd name="T88" fmla="*/ 542 w 20000"/>
                <a:gd name="T89" fmla="*/ 823 h 20000"/>
                <a:gd name="T90" fmla="*/ 581 w 20000"/>
                <a:gd name="T91" fmla="*/ 791 h 20000"/>
                <a:gd name="T92" fmla="*/ 665 w 20000"/>
                <a:gd name="T93" fmla="*/ 767 h 20000"/>
                <a:gd name="T94" fmla="*/ 700 w 20000"/>
                <a:gd name="T95" fmla="*/ 753 h 20000"/>
                <a:gd name="T96" fmla="*/ 704 w 20000"/>
                <a:gd name="T97" fmla="*/ 722 h 20000"/>
                <a:gd name="T98" fmla="*/ 700 w 20000"/>
                <a:gd name="T99" fmla="*/ 707 h 20000"/>
                <a:gd name="T100" fmla="*/ 760 w 20000"/>
                <a:gd name="T101" fmla="*/ 658 h 20000"/>
                <a:gd name="T102" fmla="*/ 806 w 20000"/>
                <a:gd name="T103" fmla="*/ 613 h 20000"/>
                <a:gd name="T104" fmla="*/ 830 w 20000"/>
                <a:gd name="T105" fmla="*/ 567 h 20000"/>
                <a:gd name="T106" fmla="*/ 880 w 20000"/>
                <a:gd name="T107" fmla="*/ 543 h 20000"/>
                <a:gd name="T108" fmla="*/ 904 w 20000"/>
                <a:gd name="T109" fmla="*/ 536 h 20000"/>
                <a:gd name="T110" fmla="*/ 933 w 20000"/>
                <a:gd name="T111" fmla="*/ 497 h 20000"/>
                <a:gd name="T112" fmla="*/ 982 w 20000"/>
                <a:gd name="T113" fmla="*/ 403 h 20000"/>
                <a:gd name="T114" fmla="*/ 904 w 20000"/>
                <a:gd name="T115" fmla="*/ 374 h 20000"/>
                <a:gd name="T116" fmla="*/ 834 w 20000"/>
                <a:gd name="T117" fmla="*/ 350 h 20000"/>
                <a:gd name="T118" fmla="*/ 750 w 20000"/>
                <a:gd name="T119" fmla="*/ 297 h 200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0000"/>
                <a:gd name="T181" fmla="*/ 0 h 20000"/>
                <a:gd name="T182" fmla="*/ 20000 w 20000"/>
                <a:gd name="T183" fmla="*/ 20000 h 2000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0000" h="20000">
                  <a:moveTo>
                    <a:pt x="15345" y="6434"/>
                  </a:moveTo>
                  <a:lnTo>
                    <a:pt x="15345" y="6269"/>
                  </a:lnTo>
                  <a:lnTo>
                    <a:pt x="15206" y="6269"/>
                  </a:lnTo>
                  <a:lnTo>
                    <a:pt x="15133" y="6008"/>
                  </a:lnTo>
                  <a:lnTo>
                    <a:pt x="14921" y="5842"/>
                  </a:lnTo>
                  <a:lnTo>
                    <a:pt x="14848" y="5668"/>
                  </a:lnTo>
                  <a:lnTo>
                    <a:pt x="14848" y="5503"/>
                  </a:lnTo>
                  <a:lnTo>
                    <a:pt x="15206" y="4989"/>
                  </a:lnTo>
                  <a:lnTo>
                    <a:pt x="15206" y="4745"/>
                  </a:lnTo>
                  <a:lnTo>
                    <a:pt x="15411" y="4571"/>
                  </a:lnTo>
                  <a:lnTo>
                    <a:pt x="15272" y="4232"/>
                  </a:lnTo>
                  <a:lnTo>
                    <a:pt x="15345" y="4066"/>
                  </a:lnTo>
                  <a:lnTo>
                    <a:pt x="15491" y="3892"/>
                  </a:lnTo>
                  <a:lnTo>
                    <a:pt x="15557" y="3892"/>
                  </a:lnTo>
                  <a:lnTo>
                    <a:pt x="15630" y="3892"/>
                  </a:lnTo>
                  <a:lnTo>
                    <a:pt x="15776" y="3892"/>
                  </a:lnTo>
                  <a:lnTo>
                    <a:pt x="15996" y="3979"/>
                  </a:lnTo>
                  <a:lnTo>
                    <a:pt x="16061" y="3979"/>
                  </a:lnTo>
                  <a:lnTo>
                    <a:pt x="15915" y="3640"/>
                  </a:lnTo>
                  <a:lnTo>
                    <a:pt x="15711" y="3561"/>
                  </a:lnTo>
                  <a:lnTo>
                    <a:pt x="15630" y="3126"/>
                  </a:lnTo>
                  <a:lnTo>
                    <a:pt x="15491" y="2960"/>
                  </a:lnTo>
                  <a:lnTo>
                    <a:pt x="15630" y="2621"/>
                  </a:lnTo>
                  <a:lnTo>
                    <a:pt x="15491" y="2447"/>
                  </a:lnTo>
                  <a:lnTo>
                    <a:pt x="15411" y="2447"/>
                  </a:lnTo>
                  <a:lnTo>
                    <a:pt x="15133" y="2281"/>
                  </a:lnTo>
                  <a:lnTo>
                    <a:pt x="14987" y="2447"/>
                  </a:lnTo>
                  <a:lnTo>
                    <a:pt x="14848" y="2447"/>
                  </a:lnTo>
                  <a:lnTo>
                    <a:pt x="14563" y="2368"/>
                  </a:lnTo>
                  <a:lnTo>
                    <a:pt x="14205" y="1942"/>
                  </a:lnTo>
                  <a:lnTo>
                    <a:pt x="14059" y="1942"/>
                  </a:lnTo>
                  <a:lnTo>
                    <a:pt x="13993" y="1602"/>
                  </a:lnTo>
                  <a:lnTo>
                    <a:pt x="14132" y="1358"/>
                  </a:lnTo>
                  <a:lnTo>
                    <a:pt x="13993" y="1184"/>
                  </a:lnTo>
                  <a:lnTo>
                    <a:pt x="13920" y="1184"/>
                  </a:lnTo>
                  <a:lnTo>
                    <a:pt x="13920" y="1097"/>
                  </a:lnTo>
                  <a:lnTo>
                    <a:pt x="13993" y="1097"/>
                  </a:lnTo>
                  <a:lnTo>
                    <a:pt x="13993" y="923"/>
                  </a:lnTo>
                  <a:lnTo>
                    <a:pt x="13570" y="845"/>
                  </a:lnTo>
                  <a:lnTo>
                    <a:pt x="13270" y="78"/>
                  </a:lnTo>
                  <a:lnTo>
                    <a:pt x="13204" y="0"/>
                  </a:lnTo>
                  <a:lnTo>
                    <a:pt x="12919" y="0"/>
                  </a:lnTo>
                  <a:lnTo>
                    <a:pt x="12846" y="78"/>
                  </a:lnTo>
                  <a:lnTo>
                    <a:pt x="12707" y="165"/>
                  </a:lnTo>
                  <a:lnTo>
                    <a:pt x="12561" y="165"/>
                  </a:lnTo>
                  <a:lnTo>
                    <a:pt x="12422" y="253"/>
                  </a:lnTo>
                  <a:lnTo>
                    <a:pt x="12495" y="583"/>
                  </a:lnTo>
                  <a:lnTo>
                    <a:pt x="12276" y="679"/>
                  </a:lnTo>
                  <a:lnTo>
                    <a:pt x="12203" y="583"/>
                  </a:lnTo>
                  <a:lnTo>
                    <a:pt x="12137" y="583"/>
                  </a:lnTo>
                  <a:lnTo>
                    <a:pt x="11918" y="583"/>
                  </a:lnTo>
                  <a:lnTo>
                    <a:pt x="11779" y="505"/>
                  </a:lnTo>
                  <a:lnTo>
                    <a:pt x="11852" y="418"/>
                  </a:lnTo>
                  <a:lnTo>
                    <a:pt x="11779" y="165"/>
                  </a:lnTo>
                  <a:lnTo>
                    <a:pt x="11567" y="78"/>
                  </a:lnTo>
                  <a:lnTo>
                    <a:pt x="11348" y="165"/>
                  </a:lnTo>
                  <a:lnTo>
                    <a:pt x="11275" y="165"/>
                  </a:lnTo>
                  <a:lnTo>
                    <a:pt x="11129" y="0"/>
                  </a:lnTo>
                  <a:lnTo>
                    <a:pt x="11129" y="78"/>
                  </a:lnTo>
                  <a:lnTo>
                    <a:pt x="10990" y="253"/>
                  </a:lnTo>
                  <a:lnTo>
                    <a:pt x="11063" y="505"/>
                  </a:lnTo>
                  <a:lnTo>
                    <a:pt x="10990" y="505"/>
                  </a:lnTo>
                  <a:lnTo>
                    <a:pt x="10924" y="583"/>
                  </a:lnTo>
                  <a:lnTo>
                    <a:pt x="10924" y="1097"/>
                  </a:lnTo>
                  <a:lnTo>
                    <a:pt x="11209" y="1263"/>
                  </a:lnTo>
                  <a:lnTo>
                    <a:pt x="11567" y="1184"/>
                  </a:lnTo>
                  <a:lnTo>
                    <a:pt x="11567" y="1437"/>
                  </a:lnTo>
                  <a:lnTo>
                    <a:pt x="11633" y="1524"/>
                  </a:lnTo>
                  <a:lnTo>
                    <a:pt x="11633" y="1698"/>
                  </a:lnTo>
                  <a:lnTo>
                    <a:pt x="11779" y="1776"/>
                  </a:lnTo>
                  <a:lnTo>
                    <a:pt x="11852" y="2029"/>
                  </a:lnTo>
                  <a:lnTo>
                    <a:pt x="11779" y="2281"/>
                  </a:lnTo>
                  <a:lnTo>
                    <a:pt x="11852" y="2542"/>
                  </a:lnTo>
                  <a:lnTo>
                    <a:pt x="11714" y="2621"/>
                  </a:lnTo>
                  <a:lnTo>
                    <a:pt x="11567" y="2447"/>
                  </a:lnTo>
                  <a:lnTo>
                    <a:pt x="11348" y="2447"/>
                  </a:lnTo>
                  <a:lnTo>
                    <a:pt x="11209" y="2621"/>
                  </a:lnTo>
                  <a:lnTo>
                    <a:pt x="11063" y="2621"/>
                  </a:lnTo>
                  <a:lnTo>
                    <a:pt x="10924" y="2542"/>
                  </a:lnTo>
                  <a:lnTo>
                    <a:pt x="10778" y="2621"/>
                  </a:lnTo>
                  <a:lnTo>
                    <a:pt x="10566" y="2542"/>
                  </a:lnTo>
                  <a:lnTo>
                    <a:pt x="10420" y="2708"/>
                  </a:lnTo>
                  <a:lnTo>
                    <a:pt x="10354" y="2786"/>
                  </a:lnTo>
                  <a:lnTo>
                    <a:pt x="10135" y="3047"/>
                  </a:lnTo>
                  <a:lnTo>
                    <a:pt x="10062" y="2960"/>
                  </a:lnTo>
                  <a:lnTo>
                    <a:pt x="9996" y="2882"/>
                  </a:lnTo>
                  <a:lnTo>
                    <a:pt x="9850" y="2882"/>
                  </a:lnTo>
                  <a:lnTo>
                    <a:pt x="9850" y="3047"/>
                  </a:lnTo>
                  <a:lnTo>
                    <a:pt x="9711" y="3047"/>
                  </a:lnTo>
                  <a:lnTo>
                    <a:pt x="9492" y="3222"/>
                  </a:lnTo>
                  <a:lnTo>
                    <a:pt x="9711" y="3300"/>
                  </a:lnTo>
                  <a:lnTo>
                    <a:pt x="9711" y="3387"/>
                  </a:lnTo>
                  <a:lnTo>
                    <a:pt x="9573" y="3465"/>
                  </a:lnTo>
                  <a:lnTo>
                    <a:pt x="9573" y="3640"/>
                  </a:lnTo>
                  <a:lnTo>
                    <a:pt x="9426" y="3727"/>
                  </a:lnTo>
                  <a:lnTo>
                    <a:pt x="9288" y="3640"/>
                  </a:lnTo>
                  <a:lnTo>
                    <a:pt x="9207" y="3727"/>
                  </a:lnTo>
                  <a:lnTo>
                    <a:pt x="9134" y="3727"/>
                  </a:lnTo>
                  <a:lnTo>
                    <a:pt x="8849" y="3640"/>
                  </a:lnTo>
                  <a:lnTo>
                    <a:pt x="8849" y="3805"/>
                  </a:lnTo>
                  <a:lnTo>
                    <a:pt x="8710" y="4145"/>
                  </a:lnTo>
                  <a:lnTo>
                    <a:pt x="8783" y="4145"/>
                  </a:lnTo>
                  <a:lnTo>
                    <a:pt x="8849" y="4232"/>
                  </a:lnTo>
                  <a:lnTo>
                    <a:pt x="8849" y="4310"/>
                  </a:lnTo>
                  <a:lnTo>
                    <a:pt x="8783" y="4406"/>
                  </a:lnTo>
                  <a:lnTo>
                    <a:pt x="8710" y="4484"/>
                  </a:lnTo>
                  <a:lnTo>
                    <a:pt x="8637" y="4650"/>
                  </a:lnTo>
                  <a:lnTo>
                    <a:pt x="8564" y="4650"/>
                  </a:lnTo>
                  <a:lnTo>
                    <a:pt x="8498" y="4571"/>
                  </a:lnTo>
                  <a:lnTo>
                    <a:pt x="8360" y="4824"/>
                  </a:lnTo>
                  <a:lnTo>
                    <a:pt x="8140" y="4745"/>
                  </a:lnTo>
                  <a:lnTo>
                    <a:pt x="7855" y="4650"/>
                  </a:lnTo>
                  <a:lnTo>
                    <a:pt x="7855" y="4745"/>
                  </a:lnTo>
                  <a:lnTo>
                    <a:pt x="7921" y="4989"/>
                  </a:lnTo>
                  <a:lnTo>
                    <a:pt x="7775" y="5163"/>
                  </a:lnTo>
                  <a:lnTo>
                    <a:pt x="7775" y="5250"/>
                  </a:lnTo>
                  <a:lnTo>
                    <a:pt x="7775" y="5329"/>
                  </a:lnTo>
                  <a:lnTo>
                    <a:pt x="7636" y="5590"/>
                  </a:lnTo>
                  <a:lnTo>
                    <a:pt x="7636" y="5755"/>
                  </a:lnTo>
                  <a:lnTo>
                    <a:pt x="7709" y="5842"/>
                  </a:lnTo>
                  <a:lnTo>
                    <a:pt x="7775" y="5842"/>
                  </a:lnTo>
                  <a:lnTo>
                    <a:pt x="7921" y="5929"/>
                  </a:lnTo>
                  <a:lnTo>
                    <a:pt x="7994" y="6095"/>
                  </a:lnTo>
                  <a:lnTo>
                    <a:pt x="7921" y="6173"/>
                  </a:lnTo>
                  <a:lnTo>
                    <a:pt x="7855" y="6095"/>
                  </a:lnTo>
                  <a:lnTo>
                    <a:pt x="7775" y="6173"/>
                  </a:lnTo>
                  <a:lnTo>
                    <a:pt x="7775" y="6269"/>
                  </a:lnTo>
                  <a:lnTo>
                    <a:pt x="7709" y="6513"/>
                  </a:lnTo>
                  <a:lnTo>
                    <a:pt x="7570" y="6434"/>
                  </a:lnTo>
                  <a:lnTo>
                    <a:pt x="7497" y="6347"/>
                  </a:lnTo>
                  <a:lnTo>
                    <a:pt x="7424" y="6434"/>
                  </a:lnTo>
                  <a:lnTo>
                    <a:pt x="7351" y="6347"/>
                  </a:lnTo>
                  <a:lnTo>
                    <a:pt x="7147" y="6269"/>
                  </a:lnTo>
                  <a:lnTo>
                    <a:pt x="6993" y="6269"/>
                  </a:lnTo>
                  <a:lnTo>
                    <a:pt x="6927" y="6173"/>
                  </a:lnTo>
                  <a:lnTo>
                    <a:pt x="6847" y="6269"/>
                  </a:lnTo>
                  <a:lnTo>
                    <a:pt x="6847" y="6347"/>
                  </a:lnTo>
                  <a:lnTo>
                    <a:pt x="6847" y="6434"/>
                  </a:lnTo>
                  <a:lnTo>
                    <a:pt x="6847" y="6513"/>
                  </a:lnTo>
                  <a:lnTo>
                    <a:pt x="6847" y="6687"/>
                  </a:lnTo>
                  <a:lnTo>
                    <a:pt x="6993" y="6687"/>
                  </a:lnTo>
                  <a:lnTo>
                    <a:pt x="7066" y="6774"/>
                  </a:lnTo>
                  <a:lnTo>
                    <a:pt x="7066" y="6852"/>
                  </a:lnTo>
                  <a:lnTo>
                    <a:pt x="6993" y="6948"/>
                  </a:lnTo>
                  <a:lnTo>
                    <a:pt x="6927" y="6948"/>
                  </a:lnTo>
                  <a:lnTo>
                    <a:pt x="6708" y="6852"/>
                  </a:lnTo>
                  <a:lnTo>
                    <a:pt x="6642" y="6948"/>
                  </a:lnTo>
                  <a:lnTo>
                    <a:pt x="6642" y="7027"/>
                  </a:lnTo>
                  <a:lnTo>
                    <a:pt x="6708" y="7027"/>
                  </a:lnTo>
                  <a:lnTo>
                    <a:pt x="6781" y="7366"/>
                  </a:lnTo>
                  <a:lnTo>
                    <a:pt x="6708" y="7366"/>
                  </a:lnTo>
                  <a:lnTo>
                    <a:pt x="6708" y="7453"/>
                  </a:lnTo>
                  <a:lnTo>
                    <a:pt x="6781" y="7453"/>
                  </a:lnTo>
                  <a:lnTo>
                    <a:pt x="6927" y="7453"/>
                  </a:lnTo>
                  <a:lnTo>
                    <a:pt x="6927" y="7619"/>
                  </a:lnTo>
                  <a:lnTo>
                    <a:pt x="6993" y="7619"/>
                  </a:lnTo>
                  <a:lnTo>
                    <a:pt x="7066" y="7706"/>
                  </a:lnTo>
                  <a:lnTo>
                    <a:pt x="7285" y="7619"/>
                  </a:lnTo>
                  <a:lnTo>
                    <a:pt x="7351" y="7706"/>
                  </a:lnTo>
                  <a:lnTo>
                    <a:pt x="7351" y="7793"/>
                  </a:lnTo>
                  <a:lnTo>
                    <a:pt x="7497" y="7793"/>
                  </a:lnTo>
                  <a:lnTo>
                    <a:pt x="7636" y="7793"/>
                  </a:lnTo>
                  <a:lnTo>
                    <a:pt x="7855" y="7706"/>
                  </a:lnTo>
                  <a:lnTo>
                    <a:pt x="7855" y="7793"/>
                  </a:lnTo>
                  <a:lnTo>
                    <a:pt x="7775" y="7958"/>
                  </a:lnTo>
                  <a:lnTo>
                    <a:pt x="7921" y="8037"/>
                  </a:lnTo>
                  <a:lnTo>
                    <a:pt x="7921" y="8132"/>
                  </a:lnTo>
                  <a:lnTo>
                    <a:pt x="7921" y="8211"/>
                  </a:lnTo>
                  <a:lnTo>
                    <a:pt x="7994" y="8376"/>
                  </a:lnTo>
                  <a:lnTo>
                    <a:pt x="8213" y="8298"/>
                  </a:lnTo>
                  <a:lnTo>
                    <a:pt x="8213" y="8376"/>
                  </a:lnTo>
                  <a:lnTo>
                    <a:pt x="8140" y="8550"/>
                  </a:lnTo>
                  <a:lnTo>
                    <a:pt x="8213" y="8637"/>
                  </a:lnTo>
                  <a:lnTo>
                    <a:pt x="8213" y="8716"/>
                  </a:lnTo>
                  <a:lnTo>
                    <a:pt x="8213" y="8811"/>
                  </a:lnTo>
                  <a:lnTo>
                    <a:pt x="8213" y="9055"/>
                  </a:lnTo>
                  <a:lnTo>
                    <a:pt x="8060" y="9151"/>
                  </a:lnTo>
                  <a:lnTo>
                    <a:pt x="8060" y="9229"/>
                  </a:lnTo>
                  <a:lnTo>
                    <a:pt x="8213" y="9316"/>
                  </a:lnTo>
                  <a:lnTo>
                    <a:pt x="8213" y="9482"/>
                  </a:lnTo>
                  <a:lnTo>
                    <a:pt x="8060" y="9482"/>
                  </a:lnTo>
                  <a:lnTo>
                    <a:pt x="7994" y="9482"/>
                  </a:lnTo>
                  <a:lnTo>
                    <a:pt x="7994" y="9316"/>
                  </a:lnTo>
                  <a:lnTo>
                    <a:pt x="7855" y="9229"/>
                  </a:lnTo>
                  <a:lnTo>
                    <a:pt x="7855" y="9151"/>
                  </a:lnTo>
                  <a:lnTo>
                    <a:pt x="7775" y="9055"/>
                  </a:lnTo>
                  <a:lnTo>
                    <a:pt x="7636" y="9151"/>
                  </a:lnTo>
                  <a:lnTo>
                    <a:pt x="7570" y="9316"/>
                  </a:lnTo>
                  <a:lnTo>
                    <a:pt x="7636" y="9395"/>
                  </a:lnTo>
                  <a:lnTo>
                    <a:pt x="7636" y="9482"/>
                  </a:lnTo>
                  <a:lnTo>
                    <a:pt x="7497" y="9482"/>
                  </a:lnTo>
                  <a:lnTo>
                    <a:pt x="7497" y="9656"/>
                  </a:lnTo>
                  <a:lnTo>
                    <a:pt x="7285" y="9734"/>
                  </a:lnTo>
                  <a:lnTo>
                    <a:pt x="7212" y="9822"/>
                  </a:lnTo>
                  <a:lnTo>
                    <a:pt x="6927" y="9822"/>
                  </a:lnTo>
                  <a:lnTo>
                    <a:pt x="6927" y="9656"/>
                  </a:lnTo>
                  <a:lnTo>
                    <a:pt x="6847" y="9656"/>
                  </a:lnTo>
                  <a:lnTo>
                    <a:pt x="6781" y="9482"/>
                  </a:lnTo>
                  <a:lnTo>
                    <a:pt x="6708" y="9569"/>
                  </a:lnTo>
                  <a:lnTo>
                    <a:pt x="6496" y="9482"/>
                  </a:lnTo>
                  <a:lnTo>
                    <a:pt x="6496" y="9151"/>
                  </a:lnTo>
                  <a:lnTo>
                    <a:pt x="6496" y="9055"/>
                  </a:lnTo>
                  <a:lnTo>
                    <a:pt x="6423" y="8977"/>
                  </a:lnTo>
                  <a:lnTo>
                    <a:pt x="6284" y="8977"/>
                  </a:lnTo>
                  <a:lnTo>
                    <a:pt x="6218" y="9055"/>
                  </a:lnTo>
                  <a:lnTo>
                    <a:pt x="6138" y="8977"/>
                  </a:lnTo>
                  <a:lnTo>
                    <a:pt x="5999" y="9055"/>
                  </a:lnTo>
                  <a:lnTo>
                    <a:pt x="5919" y="8890"/>
                  </a:lnTo>
                  <a:lnTo>
                    <a:pt x="5780" y="8811"/>
                  </a:lnTo>
                  <a:lnTo>
                    <a:pt x="5714" y="8811"/>
                  </a:lnTo>
                  <a:lnTo>
                    <a:pt x="5634" y="8977"/>
                  </a:lnTo>
                  <a:lnTo>
                    <a:pt x="5210" y="8890"/>
                  </a:lnTo>
                  <a:lnTo>
                    <a:pt x="5144" y="8811"/>
                  </a:lnTo>
                  <a:lnTo>
                    <a:pt x="5210" y="8716"/>
                  </a:lnTo>
                  <a:lnTo>
                    <a:pt x="5210" y="8550"/>
                  </a:lnTo>
                  <a:lnTo>
                    <a:pt x="5144" y="8472"/>
                  </a:lnTo>
                  <a:lnTo>
                    <a:pt x="5144" y="8376"/>
                  </a:lnTo>
                  <a:lnTo>
                    <a:pt x="5210" y="8211"/>
                  </a:lnTo>
                  <a:lnTo>
                    <a:pt x="5210" y="8037"/>
                  </a:lnTo>
                  <a:lnTo>
                    <a:pt x="4925" y="8376"/>
                  </a:lnTo>
                  <a:lnTo>
                    <a:pt x="4786" y="8376"/>
                  </a:lnTo>
                  <a:lnTo>
                    <a:pt x="4706" y="8376"/>
                  </a:lnTo>
                  <a:lnTo>
                    <a:pt x="4567" y="8132"/>
                  </a:lnTo>
                  <a:lnTo>
                    <a:pt x="4421" y="8211"/>
                  </a:lnTo>
                  <a:lnTo>
                    <a:pt x="4421" y="8298"/>
                  </a:lnTo>
                  <a:lnTo>
                    <a:pt x="4355" y="8298"/>
                  </a:lnTo>
                  <a:lnTo>
                    <a:pt x="4216" y="8376"/>
                  </a:lnTo>
                  <a:lnTo>
                    <a:pt x="4143" y="8376"/>
                  </a:lnTo>
                  <a:lnTo>
                    <a:pt x="3858" y="8637"/>
                  </a:lnTo>
                  <a:lnTo>
                    <a:pt x="3712" y="8637"/>
                  </a:lnTo>
                  <a:lnTo>
                    <a:pt x="3573" y="8637"/>
                  </a:lnTo>
                  <a:lnTo>
                    <a:pt x="3493" y="8716"/>
                  </a:lnTo>
                  <a:lnTo>
                    <a:pt x="3427" y="8811"/>
                  </a:lnTo>
                  <a:lnTo>
                    <a:pt x="3288" y="8977"/>
                  </a:lnTo>
                  <a:lnTo>
                    <a:pt x="3215" y="8977"/>
                  </a:lnTo>
                  <a:lnTo>
                    <a:pt x="3215" y="8811"/>
                  </a:lnTo>
                  <a:lnTo>
                    <a:pt x="3142" y="8550"/>
                  </a:lnTo>
                  <a:lnTo>
                    <a:pt x="3142" y="8472"/>
                  </a:lnTo>
                  <a:lnTo>
                    <a:pt x="3142" y="8298"/>
                  </a:lnTo>
                  <a:lnTo>
                    <a:pt x="2930" y="8037"/>
                  </a:lnTo>
                  <a:lnTo>
                    <a:pt x="2645" y="8037"/>
                  </a:lnTo>
                  <a:lnTo>
                    <a:pt x="2645" y="8132"/>
                  </a:lnTo>
                  <a:lnTo>
                    <a:pt x="2426" y="8132"/>
                  </a:lnTo>
                  <a:lnTo>
                    <a:pt x="2214" y="8037"/>
                  </a:lnTo>
                  <a:lnTo>
                    <a:pt x="2280" y="8376"/>
                  </a:lnTo>
                  <a:lnTo>
                    <a:pt x="2280" y="8550"/>
                  </a:lnTo>
                  <a:lnTo>
                    <a:pt x="2280" y="8716"/>
                  </a:lnTo>
                  <a:lnTo>
                    <a:pt x="2426" y="8890"/>
                  </a:lnTo>
                  <a:lnTo>
                    <a:pt x="2426" y="9055"/>
                  </a:lnTo>
                  <a:lnTo>
                    <a:pt x="2426" y="9151"/>
                  </a:lnTo>
                  <a:lnTo>
                    <a:pt x="2645" y="9151"/>
                  </a:lnTo>
                  <a:lnTo>
                    <a:pt x="2565" y="9229"/>
                  </a:lnTo>
                  <a:lnTo>
                    <a:pt x="2711" y="9316"/>
                  </a:lnTo>
                  <a:lnTo>
                    <a:pt x="2711" y="9569"/>
                  </a:lnTo>
                  <a:lnTo>
                    <a:pt x="2645" y="9569"/>
                  </a:lnTo>
                  <a:lnTo>
                    <a:pt x="2645" y="9734"/>
                  </a:lnTo>
                  <a:lnTo>
                    <a:pt x="2645" y="10161"/>
                  </a:lnTo>
                  <a:lnTo>
                    <a:pt x="2711" y="10335"/>
                  </a:lnTo>
                  <a:lnTo>
                    <a:pt x="2784" y="10414"/>
                  </a:lnTo>
                  <a:lnTo>
                    <a:pt x="2864" y="10335"/>
                  </a:lnTo>
                  <a:lnTo>
                    <a:pt x="2930" y="10335"/>
                  </a:lnTo>
                  <a:lnTo>
                    <a:pt x="2930" y="10414"/>
                  </a:lnTo>
                  <a:lnTo>
                    <a:pt x="3069" y="10501"/>
                  </a:lnTo>
                  <a:lnTo>
                    <a:pt x="3142" y="10675"/>
                  </a:lnTo>
                  <a:lnTo>
                    <a:pt x="3215" y="10753"/>
                  </a:lnTo>
                  <a:lnTo>
                    <a:pt x="3288" y="10840"/>
                  </a:lnTo>
                  <a:lnTo>
                    <a:pt x="3288" y="10919"/>
                  </a:lnTo>
                  <a:lnTo>
                    <a:pt x="3427" y="11014"/>
                  </a:lnTo>
                  <a:lnTo>
                    <a:pt x="3427" y="11093"/>
                  </a:lnTo>
                  <a:lnTo>
                    <a:pt x="3427" y="11180"/>
                  </a:lnTo>
                  <a:lnTo>
                    <a:pt x="3427" y="11258"/>
                  </a:lnTo>
                  <a:lnTo>
                    <a:pt x="3288" y="11258"/>
                  </a:lnTo>
                  <a:lnTo>
                    <a:pt x="3288" y="11432"/>
                  </a:lnTo>
                  <a:lnTo>
                    <a:pt x="3142" y="11598"/>
                  </a:lnTo>
                  <a:lnTo>
                    <a:pt x="3069" y="11685"/>
                  </a:lnTo>
                  <a:lnTo>
                    <a:pt x="2864" y="11763"/>
                  </a:lnTo>
                  <a:lnTo>
                    <a:pt x="2864" y="11859"/>
                  </a:lnTo>
                  <a:lnTo>
                    <a:pt x="2645" y="12103"/>
                  </a:lnTo>
                  <a:lnTo>
                    <a:pt x="2426" y="12364"/>
                  </a:lnTo>
                  <a:lnTo>
                    <a:pt x="2280" y="12442"/>
                  </a:lnTo>
                  <a:lnTo>
                    <a:pt x="2280" y="12538"/>
                  </a:lnTo>
                  <a:lnTo>
                    <a:pt x="2426" y="12538"/>
                  </a:lnTo>
                  <a:lnTo>
                    <a:pt x="2426" y="12616"/>
                  </a:lnTo>
                  <a:lnTo>
                    <a:pt x="2280" y="12782"/>
                  </a:lnTo>
                  <a:lnTo>
                    <a:pt x="2426" y="13121"/>
                  </a:lnTo>
                  <a:lnTo>
                    <a:pt x="2280" y="13461"/>
                  </a:lnTo>
                  <a:lnTo>
                    <a:pt x="2141" y="13801"/>
                  </a:lnTo>
                  <a:lnTo>
                    <a:pt x="2280" y="14140"/>
                  </a:lnTo>
                  <a:lnTo>
                    <a:pt x="2075" y="14140"/>
                  </a:lnTo>
                  <a:lnTo>
                    <a:pt x="1783" y="13966"/>
                  </a:lnTo>
                  <a:lnTo>
                    <a:pt x="1432" y="14062"/>
                  </a:lnTo>
                  <a:lnTo>
                    <a:pt x="1432" y="14306"/>
                  </a:lnTo>
                  <a:lnTo>
                    <a:pt x="1286" y="14306"/>
                  </a:lnTo>
                  <a:lnTo>
                    <a:pt x="1147" y="14741"/>
                  </a:lnTo>
                  <a:lnTo>
                    <a:pt x="1213" y="14906"/>
                  </a:lnTo>
                  <a:lnTo>
                    <a:pt x="1286" y="14906"/>
                  </a:lnTo>
                  <a:lnTo>
                    <a:pt x="1352" y="14819"/>
                  </a:lnTo>
                  <a:lnTo>
                    <a:pt x="1432" y="14906"/>
                  </a:lnTo>
                  <a:lnTo>
                    <a:pt x="1286" y="15159"/>
                  </a:lnTo>
                  <a:lnTo>
                    <a:pt x="1074" y="15159"/>
                  </a:lnTo>
                  <a:lnTo>
                    <a:pt x="1001" y="15246"/>
                  </a:lnTo>
                  <a:lnTo>
                    <a:pt x="1074" y="15324"/>
                  </a:lnTo>
                  <a:lnTo>
                    <a:pt x="789" y="15586"/>
                  </a:lnTo>
                  <a:lnTo>
                    <a:pt x="709" y="15490"/>
                  </a:lnTo>
                  <a:lnTo>
                    <a:pt x="570" y="15664"/>
                  </a:lnTo>
                  <a:lnTo>
                    <a:pt x="504" y="15586"/>
                  </a:lnTo>
                  <a:lnTo>
                    <a:pt x="504" y="15490"/>
                  </a:lnTo>
                  <a:lnTo>
                    <a:pt x="504" y="15411"/>
                  </a:lnTo>
                  <a:lnTo>
                    <a:pt x="424" y="15490"/>
                  </a:lnTo>
                  <a:lnTo>
                    <a:pt x="504" y="15664"/>
                  </a:lnTo>
                  <a:lnTo>
                    <a:pt x="73" y="16003"/>
                  </a:lnTo>
                  <a:lnTo>
                    <a:pt x="0" y="16003"/>
                  </a:lnTo>
                  <a:lnTo>
                    <a:pt x="0" y="16343"/>
                  </a:lnTo>
                  <a:lnTo>
                    <a:pt x="1001" y="16430"/>
                  </a:lnTo>
                  <a:lnTo>
                    <a:pt x="1432" y="16343"/>
                  </a:lnTo>
                  <a:lnTo>
                    <a:pt x="1783" y="16430"/>
                  </a:lnTo>
                  <a:lnTo>
                    <a:pt x="2075" y="16508"/>
                  </a:lnTo>
                  <a:lnTo>
                    <a:pt x="2141" y="16770"/>
                  </a:lnTo>
                  <a:lnTo>
                    <a:pt x="1929" y="17022"/>
                  </a:lnTo>
                  <a:lnTo>
                    <a:pt x="2002" y="17188"/>
                  </a:lnTo>
                  <a:lnTo>
                    <a:pt x="2141" y="17275"/>
                  </a:lnTo>
                  <a:lnTo>
                    <a:pt x="2280" y="17362"/>
                  </a:lnTo>
                  <a:lnTo>
                    <a:pt x="2214" y="17188"/>
                  </a:lnTo>
                  <a:lnTo>
                    <a:pt x="2280" y="17022"/>
                  </a:lnTo>
                  <a:lnTo>
                    <a:pt x="2280" y="16848"/>
                  </a:lnTo>
                  <a:lnTo>
                    <a:pt x="2280" y="16770"/>
                  </a:lnTo>
                  <a:lnTo>
                    <a:pt x="2499" y="16848"/>
                  </a:lnTo>
                  <a:lnTo>
                    <a:pt x="2499" y="17109"/>
                  </a:lnTo>
                  <a:lnTo>
                    <a:pt x="2565" y="17362"/>
                  </a:lnTo>
                  <a:lnTo>
                    <a:pt x="3288" y="17362"/>
                  </a:lnTo>
                  <a:lnTo>
                    <a:pt x="3573" y="17527"/>
                  </a:lnTo>
                  <a:lnTo>
                    <a:pt x="3712" y="17362"/>
                  </a:lnTo>
                  <a:lnTo>
                    <a:pt x="3858" y="17275"/>
                  </a:lnTo>
                  <a:lnTo>
                    <a:pt x="3858" y="17188"/>
                  </a:lnTo>
                  <a:lnTo>
                    <a:pt x="3639" y="17022"/>
                  </a:lnTo>
                  <a:lnTo>
                    <a:pt x="3639" y="16848"/>
                  </a:lnTo>
                  <a:lnTo>
                    <a:pt x="3858" y="16604"/>
                  </a:lnTo>
                  <a:lnTo>
                    <a:pt x="4077" y="16508"/>
                  </a:lnTo>
                  <a:lnTo>
                    <a:pt x="4355" y="16604"/>
                  </a:lnTo>
                  <a:lnTo>
                    <a:pt x="4421" y="16848"/>
                  </a:lnTo>
                  <a:lnTo>
                    <a:pt x="4501" y="16770"/>
                  </a:lnTo>
                  <a:lnTo>
                    <a:pt x="4706" y="16770"/>
                  </a:lnTo>
                  <a:lnTo>
                    <a:pt x="4852" y="16683"/>
                  </a:lnTo>
                  <a:lnTo>
                    <a:pt x="4786" y="16343"/>
                  </a:lnTo>
                  <a:lnTo>
                    <a:pt x="4786" y="16091"/>
                  </a:lnTo>
                  <a:lnTo>
                    <a:pt x="4501" y="16091"/>
                  </a:lnTo>
                  <a:lnTo>
                    <a:pt x="4421" y="15751"/>
                  </a:lnTo>
                  <a:lnTo>
                    <a:pt x="4567" y="15586"/>
                  </a:lnTo>
                  <a:lnTo>
                    <a:pt x="4501" y="15324"/>
                  </a:lnTo>
                  <a:lnTo>
                    <a:pt x="4567" y="15324"/>
                  </a:lnTo>
                  <a:lnTo>
                    <a:pt x="4706" y="15586"/>
                  </a:lnTo>
                  <a:lnTo>
                    <a:pt x="5071" y="15586"/>
                  </a:lnTo>
                  <a:lnTo>
                    <a:pt x="5144" y="15664"/>
                  </a:lnTo>
                  <a:lnTo>
                    <a:pt x="5210" y="16091"/>
                  </a:lnTo>
                  <a:lnTo>
                    <a:pt x="5429" y="16265"/>
                  </a:lnTo>
                  <a:lnTo>
                    <a:pt x="5356" y="16169"/>
                  </a:lnTo>
                  <a:lnTo>
                    <a:pt x="5634" y="15829"/>
                  </a:lnTo>
                  <a:lnTo>
                    <a:pt x="5780" y="16003"/>
                  </a:lnTo>
                  <a:lnTo>
                    <a:pt x="5780" y="16265"/>
                  </a:lnTo>
                  <a:lnTo>
                    <a:pt x="5495" y="16508"/>
                  </a:lnTo>
                  <a:lnTo>
                    <a:pt x="5495" y="16604"/>
                  </a:lnTo>
                  <a:lnTo>
                    <a:pt x="5210" y="16770"/>
                  </a:lnTo>
                  <a:lnTo>
                    <a:pt x="5144" y="16683"/>
                  </a:lnTo>
                  <a:lnTo>
                    <a:pt x="5071" y="16770"/>
                  </a:lnTo>
                  <a:lnTo>
                    <a:pt x="4925" y="16770"/>
                  </a:lnTo>
                  <a:lnTo>
                    <a:pt x="4786" y="16848"/>
                  </a:lnTo>
                  <a:lnTo>
                    <a:pt x="4501" y="16944"/>
                  </a:lnTo>
                  <a:lnTo>
                    <a:pt x="4640" y="17188"/>
                  </a:lnTo>
                  <a:lnTo>
                    <a:pt x="4640" y="17275"/>
                  </a:lnTo>
                  <a:lnTo>
                    <a:pt x="4786" y="17449"/>
                  </a:lnTo>
                  <a:lnTo>
                    <a:pt x="5005" y="17449"/>
                  </a:lnTo>
                  <a:lnTo>
                    <a:pt x="5283" y="17449"/>
                  </a:lnTo>
                  <a:lnTo>
                    <a:pt x="5634" y="17362"/>
                  </a:lnTo>
                  <a:lnTo>
                    <a:pt x="5853" y="17362"/>
                  </a:lnTo>
                  <a:lnTo>
                    <a:pt x="6138" y="17109"/>
                  </a:lnTo>
                  <a:lnTo>
                    <a:pt x="6284" y="17109"/>
                  </a:lnTo>
                  <a:lnTo>
                    <a:pt x="6496" y="17188"/>
                  </a:lnTo>
                  <a:lnTo>
                    <a:pt x="6642" y="17449"/>
                  </a:lnTo>
                  <a:lnTo>
                    <a:pt x="6569" y="17788"/>
                  </a:lnTo>
                  <a:lnTo>
                    <a:pt x="6708" y="17954"/>
                  </a:lnTo>
                  <a:lnTo>
                    <a:pt x="6708" y="18032"/>
                  </a:lnTo>
                  <a:lnTo>
                    <a:pt x="6496" y="18468"/>
                  </a:lnTo>
                  <a:lnTo>
                    <a:pt x="6993" y="18468"/>
                  </a:lnTo>
                  <a:lnTo>
                    <a:pt x="7497" y="18546"/>
                  </a:lnTo>
                  <a:lnTo>
                    <a:pt x="7636" y="18468"/>
                  </a:lnTo>
                  <a:lnTo>
                    <a:pt x="7709" y="18468"/>
                  </a:lnTo>
                  <a:lnTo>
                    <a:pt x="7775" y="18633"/>
                  </a:lnTo>
                  <a:lnTo>
                    <a:pt x="8060" y="18886"/>
                  </a:lnTo>
                  <a:lnTo>
                    <a:pt x="8213" y="18633"/>
                  </a:lnTo>
                  <a:lnTo>
                    <a:pt x="8498" y="18711"/>
                  </a:lnTo>
                  <a:lnTo>
                    <a:pt x="8564" y="18711"/>
                  </a:lnTo>
                  <a:lnTo>
                    <a:pt x="8637" y="18807"/>
                  </a:lnTo>
                  <a:lnTo>
                    <a:pt x="8564" y="18886"/>
                  </a:lnTo>
                  <a:lnTo>
                    <a:pt x="8637" y="18973"/>
                  </a:lnTo>
                  <a:lnTo>
                    <a:pt x="8849" y="19051"/>
                  </a:lnTo>
                  <a:lnTo>
                    <a:pt x="9068" y="19051"/>
                  </a:lnTo>
                  <a:lnTo>
                    <a:pt x="9134" y="19051"/>
                  </a:lnTo>
                  <a:lnTo>
                    <a:pt x="9068" y="19225"/>
                  </a:lnTo>
                  <a:lnTo>
                    <a:pt x="9288" y="19312"/>
                  </a:lnTo>
                  <a:lnTo>
                    <a:pt x="9353" y="19478"/>
                  </a:lnTo>
                  <a:lnTo>
                    <a:pt x="9288" y="19652"/>
                  </a:lnTo>
                  <a:lnTo>
                    <a:pt x="9426" y="19817"/>
                  </a:lnTo>
                  <a:lnTo>
                    <a:pt x="9573" y="19896"/>
                  </a:lnTo>
                  <a:lnTo>
                    <a:pt x="9638" y="19896"/>
                  </a:lnTo>
                  <a:lnTo>
                    <a:pt x="9777" y="19556"/>
                  </a:lnTo>
                  <a:lnTo>
                    <a:pt x="9850" y="19652"/>
                  </a:lnTo>
                  <a:lnTo>
                    <a:pt x="9916" y="19730"/>
                  </a:lnTo>
                  <a:lnTo>
                    <a:pt x="10135" y="19652"/>
                  </a:lnTo>
                  <a:lnTo>
                    <a:pt x="10135" y="19478"/>
                  </a:lnTo>
                  <a:lnTo>
                    <a:pt x="9916" y="19478"/>
                  </a:lnTo>
                  <a:lnTo>
                    <a:pt x="9916" y="19556"/>
                  </a:lnTo>
                  <a:lnTo>
                    <a:pt x="9850" y="19556"/>
                  </a:lnTo>
                  <a:lnTo>
                    <a:pt x="9850" y="19478"/>
                  </a:lnTo>
                  <a:lnTo>
                    <a:pt x="9916" y="19391"/>
                  </a:lnTo>
                  <a:lnTo>
                    <a:pt x="9777" y="19312"/>
                  </a:lnTo>
                  <a:lnTo>
                    <a:pt x="9777" y="19225"/>
                  </a:lnTo>
                  <a:lnTo>
                    <a:pt x="10062" y="19225"/>
                  </a:lnTo>
                  <a:lnTo>
                    <a:pt x="9996" y="19312"/>
                  </a:lnTo>
                  <a:lnTo>
                    <a:pt x="10354" y="19312"/>
                  </a:lnTo>
                  <a:lnTo>
                    <a:pt x="10420" y="19312"/>
                  </a:lnTo>
                  <a:lnTo>
                    <a:pt x="10566" y="19391"/>
                  </a:lnTo>
                  <a:lnTo>
                    <a:pt x="10566" y="19478"/>
                  </a:lnTo>
                  <a:lnTo>
                    <a:pt x="10705" y="19556"/>
                  </a:lnTo>
                  <a:lnTo>
                    <a:pt x="11063" y="19478"/>
                  </a:lnTo>
                  <a:lnTo>
                    <a:pt x="11209" y="19478"/>
                  </a:lnTo>
                  <a:lnTo>
                    <a:pt x="11209" y="19652"/>
                  </a:lnTo>
                  <a:lnTo>
                    <a:pt x="11209" y="19817"/>
                  </a:lnTo>
                  <a:lnTo>
                    <a:pt x="10990" y="19896"/>
                  </a:lnTo>
                  <a:lnTo>
                    <a:pt x="11063" y="19991"/>
                  </a:lnTo>
                  <a:lnTo>
                    <a:pt x="11275" y="19896"/>
                  </a:lnTo>
                  <a:lnTo>
                    <a:pt x="11275" y="19991"/>
                  </a:lnTo>
                  <a:lnTo>
                    <a:pt x="11348" y="19991"/>
                  </a:lnTo>
                  <a:lnTo>
                    <a:pt x="11429" y="19896"/>
                  </a:lnTo>
                  <a:lnTo>
                    <a:pt x="11348" y="19896"/>
                  </a:lnTo>
                  <a:lnTo>
                    <a:pt x="11348" y="19478"/>
                  </a:lnTo>
                  <a:lnTo>
                    <a:pt x="11567" y="19138"/>
                  </a:lnTo>
                  <a:lnTo>
                    <a:pt x="11779" y="19138"/>
                  </a:lnTo>
                  <a:lnTo>
                    <a:pt x="11991" y="19051"/>
                  </a:lnTo>
                  <a:lnTo>
                    <a:pt x="12561" y="19391"/>
                  </a:lnTo>
                  <a:lnTo>
                    <a:pt x="12642" y="19225"/>
                  </a:lnTo>
                  <a:lnTo>
                    <a:pt x="12561" y="18973"/>
                  </a:lnTo>
                  <a:lnTo>
                    <a:pt x="12561" y="18886"/>
                  </a:lnTo>
                  <a:lnTo>
                    <a:pt x="12846" y="18711"/>
                  </a:lnTo>
                  <a:lnTo>
                    <a:pt x="12992" y="18807"/>
                  </a:lnTo>
                  <a:lnTo>
                    <a:pt x="13065" y="18633"/>
                  </a:lnTo>
                  <a:lnTo>
                    <a:pt x="13270" y="18633"/>
                  </a:lnTo>
                  <a:lnTo>
                    <a:pt x="13489" y="18546"/>
                  </a:lnTo>
                  <a:lnTo>
                    <a:pt x="13570" y="18468"/>
                  </a:lnTo>
                  <a:lnTo>
                    <a:pt x="13635" y="18293"/>
                  </a:lnTo>
                  <a:lnTo>
                    <a:pt x="13920" y="18293"/>
                  </a:lnTo>
                  <a:lnTo>
                    <a:pt x="13920" y="18372"/>
                  </a:lnTo>
                  <a:lnTo>
                    <a:pt x="13993" y="18546"/>
                  </a:lnTo>
                  <a:lnTo>
                    <a:pt x="14132" y="18468"/>
                  </a:lnTo>
                  <a:lnTo>
                    <a:pt x="14205" y="18372"/>
                  </a:lnTo>
                  <a:lnTo>
                    <a:pt x="14205" y="18293"/>
                  </a:lnTo>
                  <a:lnTo>
                    <a:pt x="14205" y="18206"/>
                  </a:lnTo>
                  <a:lnTo>
                    <a:pt x="14344" y="18206"/>
                  </a:lnTo>
                  <a:lnTo>
                    <a:pt x="14417" y="18128"/>
                  </a:lnTo>
                  <a:lnTo>
                    <a:pt x="14278" y="18032"/>
                  </a:lnTo>
                  <a:lnTo>
                    <a:pt x="14278" y="17788"/>
                  </a:lnTo>
                  <a:lnTo>
                    <a:pt x="14344" y="17693"/>
                  </a:lnTo>
                  <a:lnTo>
                    <a:pt x="14417" y="17614"/>
                  </a:lnTo>
                  <a:lnTo>
                    <a:pt x="14417" y="17527"/>
                  </a:lnTo>
                  <a:lnTo>
                    <a:pt x="14344" y="17362"/>
                  </a:lnTo>
                  <a:lnTo>
                    <a:pt x="14278" y="17449"/>
                  </a:lnTo>
                  <a:lnTo>
                    <a:pt x="14278" y="17527"/>
                  </a:lnTo>
                  <a:lnTo>
                    <a:pt x="14205" y="17449"/>
                  </a:lnTo>
                  <a:lnTo>
                    <a:pt x="14132" y="17449"/>
                  </a:lnTo>
                  <a:lnTo>
                    <a:pt x="14059" y="17527"/>
                  </a:lnTo>
                  <a:lnTo>
                    <a:pt x="13855" y="17614"/>
                  </a:lnTo>
                  <a:lnTo>
                    <a:pt x="13774" y="17527"/>
                  </a:lnTo>
                  <a:lnTo>
                    <a:pt x="13774" y="17449"/>
                  </a:lnTo>
                  <a:lnTo>
                    <a:pt x="13920" y="17362"/>
                  </a:lnTo>
                  <a:lnTo>
                    <a:pt x="13993" y="17275"/>
                  </a:lnTo>
                  <a:lnTo>
                    <a:pt x="14205" y="17109"/>
                  </a:lnTo>
                  <a:lnTo>
                    <a:pt x="14278" y="16770"/>
                  </a:lnTo>
                  <a:lnTo>
                    <a:pt x="14483" y="16683"/>
                  </a:lnTo>
                  <a:lnTo>
                    <a:pt x="14483" y="16508"/>
                  </a:lnTo>
                  <a:lnTo>
                    <a:pt x="14636" y="16091"/>
                  </a:lnTo>
                  <a:lnTo>
                    <a:pt x="14783" y="16003"/>
                  </a:lnTo>
                  <a:lnTo>
                    <a:pt x="14921" y="16091"/>
                  </a:lnTo>
                  <a:lnTo>
                    <a:pt x="15345" y="16003"/>
                  </a:lnTo>
                  <a:lnTo>
                    <a:pt x="15345" y="15925"/>
                  </a:lnTo>
                  <a:lnTo>
                    <a:pt x="15345" y="15829"/>
                  </a:lnTo>
                  <a:lnTo>
                    <a:pt x="15411" y="15925"/>
                  </a:lnTo>
                  <a:lnTo>
                    <a:pt x="15491" y="15925"/>
                  </a:lnTo>
                  <a:lnTo>
                    <a:pt x="15630" y="15664"/>
                  </a:lnTo>
                  <a:lnTo>
                    <a:pt x="15711" y="15411"/>
                  </a:lnTo>
                  <a:lnTo>
                    <a:pt x="15849" y="15324"/>
                  </a:lnTo>
                  <a:lnTo>
                    <a:pt x="15849" y="15159"/>
                  </a:lnTo>
                  <a:lnTo>
                    <a:pt x="15776" y="15081"/>
                  </a:lnTo>
                  <a:lnTo>
                    <a:pt x="15849" y="14819"/>
                  </a:lnTo>
                  <a:lnTo>
                    <a:pt x="16273" y="14741"/>
                  </a:lnTo>
                  <a:lnTo>
                    <a:pt x="16346" y="14819"/>
                  </a:lnTo>
                  <a:lnTo>
                    <a:pt x="16419" y="14645"/>
                  </a:lnTo>
                  <a:lnTo>
                    <a:pt x="16558" y="14480"/>
                  </a:lnTo>
                  <a:lnTo>
                    <a:pt x="16704" y="14480"/>
                  </a:lnTo>
                  <a:lnTo>
                    <a:pt x="16777" y="14645"/>
                  </a:lnTo>
                  <a:lnTo>
                    <a:pt x="16777" y="14741"/>
                  </a:lnTo>
                  <a:lnTo>
                    <a:pt x="16843" y="14645"/>
                  </a:lnTo>
                  <a:lnTo>
                    <a:pt x="16924" y="14645"/>
                  </a:lnTo>
                  <a:lnTo>
                    <a:pt x="16843" y="14401"/>
                  </a:lnTo>
                  <a:lnTo>
                    <a:pt x="16843" y="13966"/>
                  </a:lnTo>
                  <a:lnTo>
                    <a:pt x="16843" y="13722"/>
                  </a:lnTo>
                  <a:lnTo>
                    <a:pt x="16924" y="13626"/>
                  </a:lnTo>
                  <a:lnTo>
                    <a:pt x="17062" y="13626"/>
                  </a:lnTo>
                  <a:lnTo>
                    <a:pt x="17209" y="13626"/>
                  </a:lnTo>
                  <a:lnTo>
                    <a:pt x="17347" y="13461"/>
                  </a:lnTo>
                  <a:lnTo>
                    <a:pt x="17413" y="13296"/>
                  </a:lnTo>
                  <a:lnTo>
                    <a:pt x="17698" y="13209"/>
                  </a:lnTo>
                  <a:lnTo>
                    <a:pt x="17698" y="13296"/>
                  </a:lnTo>
                  <a:lnTo>
                    <a:pt x="17771" y="13209"/>
                  </a:lnTo>
                  <a:lnTo>
                    <a:pt x="17852" y="13121"/>
                  </a:lnTo>
                  <a:lnTo>
                    <a:pt x="17917" y="13121"/>
                  </a:lnTo>
                  <a:lnTo>
                    <a:pt x="17917" y="13383"/>
                  </a:lnTo>
                  <a:lnTo>
                    <a:pt x="18056" y="13296"/>
                  </a:lnTo>
                  <a:lnTo>
                    <a:pt x="17991" y="13121"/>
                  </a:lnTo>
                  <a:lnTo>
                    <a:pt x="17991" y="13043"/>
                  </a:lnTo>
                  <a:lnTo>
                    <a:pt x="18137" y="12956"/>
                  </a:lnTo>
                  <a:lnTo>
                    <a:pt x="18275" y="12956"/>
                  </a:lnTo>
                  <a:lnTo>
                    <a:pt x="18341" y="12956"/>
                  </a:lnTo>
                  <a:lnTo>
                    <a:pt x="18414" y="12878"/>
                  </a:lnTo>
                  <a:lnTo>
                    <a:pt x="18560" y="12616"/>
                  </a:lnTo>
                  <a:lnTo>
                    <a:pt x="18626" y="12538"/>
                  </a:lnTo>
                  <a:lnTo>
                    <a:pt x="18765" y="12616"/>
                  </a:lnTo>
                  <a:lnTo>
                    <a:pt x="18765" y="12442"/>
                  </a:lnTo>
                  <a:lnTo>
                    <a:pt x="19065" y="12277"/>
                  </a:lnTo>
                  <a:lnTo>
                    <a:pt x="19065" y="12199"/>
                  </a:lnTo>
                  <a:lnTo>
                    <a:pt x="18984" y="12103"/>
                  </a:lnTo>
                  <a:lnTo>
                    <a:pt x="18919" y="12024"/>
                  </a:lnTo>
                  <a:lnTo>
                    <a:pt x="18845" y="11685"/>
                  </a:lnTo>
                  <a:lnTo>
                    <a:pt x="18845" y="11345"/>
                  </a:lnTo>
                  <a:lnTo>
                    <a:pt x="19204" y="11180"/>
                  </a:lnTo>
                  <a:lnTo>
                    <a:pt x="19204" y="10753"/>
                  </a:lnTo>
                  <a:lnTo>
                    <a:pt x="19269" y="10675"/>
                  </a:lnTo>
                  <a:lnTo>
                    <a:pt x="19627" y="10414"/>
                  </a:lnTo>
                  <a:lnTo>
                    <a:pt x="19773" y="10161"/>
                  </a:lnTo>
                  <a:lnTo>
                    <a:pt x="19700" y="10074"/>
                  </a:lnTo>
                  <a:lnTo>
                    <a:pt x="19700" y="9900"/>
                  </a:lnTo>
                  <a:lnTo>
                    <a:pt x="19912" y="9734"/>
                  </a:lnTo>
                  <a:lnTo>
                    <a:pt x="19993" y="9395"/>
                  </a:lnTo>
                  <a:lnTo>
                    <a:pt x="19773" y="9055"/>
                  </a:lnTo>
                  <a:lnTo>
                    <a:pt x="19700" y="9055"/>
                  </a:lnTo>
                  <a:lnTo>
                    <a:pt x="19700" y="8811"/>
                  </a:lnTo>
                  <a:lnTo>
                    <a:pt x="19700" y="8472"/>
                  </a:lnTo>
                  <a:lnTo>
                    <a:pt x="19415" y="8472"/>
                  </a:lnTo>
                  <a:lnTo>
                    <a:pt x="19415" y="8637"/>
                  </a:lnTo>
                  <a:lnTo>
                    <a:pt x="19350" y="8811"/>
                  </a:lnTo>
                  <a:lnTo>
                    <a:pt x="19065" y="8716"/>
                  </a:lnTo>
                  <a:lnTo>
                    <a:pt x="18341" y="9055"/>
                  </a:lnTo>
                  <a:lnTo>
                    <a:pt x="18275" y="9151"/>
                  </a:lnTo>
                  <a:lnTo>
                    <a:pt x="18056" y="9151"/>
                  </a:lnTo>
                  <a:lnTo>
                    <a:pt x="17917" y="9151"/>
                  </a:lnTo>
                  <a:lnTo>
                    <a:pt x="17771" y="8890"/>
                  </a:lnTo>
                  <a:lnTo>
                    <a:pt x="17347" y="8890"/>
                  </a:lnTo>
                  <a:lnTo>
                    <a:pt x="17209" y="8716"/>
                  </a:lnTo>
                  <a:lnTo>
                    <a:pt x="17062" y="8716"/>
                  </a:lnTo>
                  <a:lnTo>
                    <a:pt x="16989" y="8637"/>
                  </a:lnTo>
                  <a:lnTo>
                    <a:pt x="16924" y="8637"/>
                  </a:lnTo>
                  <a:lnTo>
                    <a:pt x="16924" y="8472"/>
                  </a:lnTo>
                  <a:lnTo>
                    <a:pt x="16624" y="8472"/>
                  </a:lnTo>
                  <a:lnTo>
                    <a:pt x="16200" y="8211"/>
                  </a:lnTo>
                  <a:lnTo>
                    <a:pt x="15996" y="8298"/>
                  </a:lnTo>
                  <a:lnTo>
                    <a:pt x="15996" y="8211"/>
                  </a:lnTo>
                  <a:lnTo>
                    <a:pt x="15915" y="8211"/>
                  </a:lnTo>
                  <a:lnTo>
                    <a:pt x="15776" y="8132"/>
                  </a:lnTo>
                  <a:lnTo>
                    <a:pt x="15776" y="7793"/>
                  </a:lnTo>
                  <a:lnTo>
                    <a:pt x="15491" y="7706"/>
                  </a:lnTo>
                  <a:lnTo>
                    <a:pt x="15491" y="7453"/>
                  </a:lnTo>
                  <a:lnTo>
                    <a:pt x="15206" y="7192"/>
                  </a:lnTo>
                  <a:lnTo>
                    <a:pt x="15068" y="7027"/>
                  </a:lnTo>
                  <a:lnTo>
                    <a:pt x="15133" y="6513"/>
                  </a:lnTo>
                  <a:lnTo>
                    <a:pt x="15345" y="6434"/>
                  </a:lnTo>
                  <a:close/>
                </a:path>
              </a:pathLst>
            </a:custGeom>
            <a:solidFill>
              <a:srgbClr val="E11A81">
                <a:lumMod val="20000"/>
                <a:lumOff val="80000"/>
              </a:srgbClr>
            </a:solidFill>
            <a:ln w="6350" cap="flat">
              <a:solidFill>
                <a:sysClr val="window" lastClr="FFFFFF"/>
              </a:solidFill>
              <a:prstDash val="solid"/>
              <a:round/>
              <a:headEnd type="none" w="med" len="med"/>
              <a:tailEnd type="none" w="med" len="me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86496">
                <a:defRPr/>
              </a:pPr>
              <a:endParaRPr lang="fr-FR" sz="1400">
                <a:solidFill>
                  <a:srgbClr val="5E5E5E"/>
                </a:solidFill>
                <a:latin typeface="Helvetica Neue"/>
              </a:endParaRPr>
            </a:p>
          </p:txBody>
        </p:sp>
        <p:sp>
          <p:nvSpPr>
            <p:cNvPr id="49" name="Freeform 26">
              <a:extLst>
                <a:ext uri="{FF2B5EF4-FFF2-40B4-BE49-F238E27FC236}">
                  <a16:creationId xmlns:a16="http://schemas.microsoft.com/office/drawing/2014/main" id="{26A1AB6D-69D4-41CC-8109-40EBB928BA3B}"/>
                </a:ext>
              </a:extLst>
            </p:cNvPr>
            <p:cNvSpPr>
              <a:spLocks noChangeAspect="1"/>
            </p:cNvSpPr>
            <p:nvPr/>
          </p:nvSpPr>
          <p:spPr bwMode="auto">
            <a:xfrm>
              <a:off x="3894880" y="4492518"/>
              <a:ext cx="59022" cy="123136"/>
            </a:xfrm>
            <a:custGeom>
              <a:avLst/>
              <a:gdLst>
                <a:gd name="T0" fmla="*/ 278 w 20000"/>
                <a:gd name="T1" fmla="*/ 508 h 20000"/>
                <a:gd name="T2" fmla="*/ 278 w 20000"/>
                <a:gd name="T3" fmla="*/ 522 h 20000"/>
                <a:gd name="T4" fmla="*/ 256 w 20000"/>
                <a:gd name="T5" fmla="*/ 546 h 20000"/>
                <a:gd name="T6" fmla="*/ 246 w 20000"/>
                <a:gd name="T7" fmla="*/ 581 h 20000"/>
                <a:gd name="T8" fmla="*/ 236 w 20000"/>
                <a:gd name="T9" fmla="*/ 623 h 20000"/>
                <a:gd name="T10" fmla="*/ 236 w 20000"/>
                <a:gd name="T11" fmla="*/ 648 h 20000"/>
                <a:gd name="T12" fmla="*/ 204 w 20000"/>
                <a:gd name="T13" fmla="*/ 637 h 20000"/>
                <a:gd name="T14" fmla="*/ 193 w 20000"/>
                <a:gd name="T15" fmla="*/ 620 h 20000"/>
                <a:gd name="T16" fmla="*/ 161 w 20000"/>
                <a:gd name="T17" fmla="*/ 609 h 20000"/>
                <a:gd name="T18" fmla="*/ 95 w 20000"/>
                <a:gd name="T19" fmla="*/ 581 h 20000"/>
                <a:gd name="T20" fmla="*/ 99 w 20000"/>
                <a:gd name="T21" fmla="*/ 549 h 20000"/>
                <a:gd name="T22" fmla="*/ 116 w 20000"/>
                <a:gd name="T23" fmla="*/ 543 h 20000"/>
                <a:gd name="T24" fmla="*/ 133 w 20000"/>
                <a:gd name="T25" fmla="*/ 528 h 20000"/>
                <a:gd name="T26" fmla="*/ 99 w 20000"/>
                <a:gd name="T27" fmla="*/ 528 h 20000"/>
                <a:gd name="T28" fmla="*/ 91 w 20000"/>
                <a:gd name="T29" fmla="*/ 511 h 20000"/>
                <a:gd name="T30" fmla="*/ 56 w 20000"/>
                <a:gd name="T31" fmla="*/ 508 h 20000"/>
                <a:gd name="T32" fmla="*/ 70 w 20000"/>
                <a:gd name="T33" fmla="*/ 486 h 20000"/>
                <a:gd name="T34" fmla="*/ 77 w 20000"/>
                <a:gd name="T35" fmla="*/ 472 h 20000"/>
                <a:gd name="T36" fmla="*/ 85 w 20000"/>
                <a:gd name="T37" fmla="*/ 455 h 20000"/>
                <a:gd name="T38" fmla="*/ 74 w 20000"/>
                <a:gd name="T39" fmla="*/ 437 h 20000"/>
                <a:gd name="T40" fmla="*/ 35 w 20000"/>
                <a:gd name="T41" fmla="*/ 455 h 20000"/>
                <a:gd name="T42" fmla="*/ 39 w 20000"/>
                <a:gd name="T43" fmla="*/ 423 h 20000"/>
                <a:gd name="T44" fmla="*/ 46 w 20000"/>
                <a:gd name="T45" fmla="*/ 409 h 20000"/>
                <a:gd name="T46" fmla="*/ 70 w 20000"/>
                <a:gd name="T47" fmla="*/ 385 h 20000"/>
                <a:gd name="T48" fmla="*/ 56 w 20000"/>
                <a:gd name="T49" fmla="*/ 368 h 20000"/>
                <a:gd name="T50" fmla="*/ 21 w 20000"/>
                <a:gd name="T51" fmla="*/ 357 h 20000"/>
                <a:gd name="T52" fmla="*/ 21 w 20000"/>
                <a:gd name="T53" fmla="*/ 350 h 20000"/>
                <a:gd name="T54" fmla="*/ 17 w 20000"/>
                <a:gd name="T55" fmla="*/ 339 h 20000"/>
                <a:gd name="T56" fmla="*/ 46 w 20000"/>
                <a:gd name="T57" fmla="*/ 308 h 20000"/>
                <a:gd name="T58" fmla="*/ 28 w 20000"/>
                <a:gd name="T59" fmla="*/ 291 h 20000"/>
                <a:gd name="T60" fmla="*/ 17 w 20000"/>
                <a:gd name="T61" fmla="*/ 276 h 20000"/>
                <a:gd name="T62" fmla="*/ 0 w 20000"/>
                <a:gd name="T63" fmla="*/ 269 h 20000"/>
                <a:gd name="T64" fmla="*/ 10 w 20000"/>
                <a:gd name="T65" fmla="*/ 262 h 20000"/>
                <a:gd name="T66" fmla="*/ 32 w 20000"/>
                <a:gd name="T67" fmla="*/ 252 h 20000"/>
                <a:gd name="T68" fmla="*/ 35 w 20000"/>
                <a:gd name="T69" fmla="*/ 238 h 20000"/>
                <a:gd name="T70" fmla="*/ 28 w 20000"/>
                <a:gd name="T71" fmla="*/ 224 h 20000"/>
                <a:gd name="T72" fmla="*/ 46 w 20000"/>
                <a:gd name="T73" fmla="*/ 199 h 20000"/>
                <a:gd name="T74" fmla="*/ 49 w 20000"/>
                <a:gd name="T75" fmla="*/ 182 h 20000"/>
                <a:gd name="T76" fmla="*/ 60 w 20000"/>
                <a:gd name="T77" fmla="*/ 192 h 20000"/>
                <a:gd name="T78" fmla="*/ 85 w 20000"/>
                <a:gd name="T79" fmla="*/ 168 h 20000"/>
                <a:gd name="T80" fmla="*/ 99 w 20000"/>
                <a:gd name="T81" fmla="*/ 161 h 20000"/>
                <a:gd name="T82" fmla="*/ 119 w 20000"/>
                <a:gd name="T83" fmla="*/ 154 h 20000"/>
                <a:gd name="T84" fmla="*/ 140 w 20000"/>
                <a:gd name="T85" fmla="*/ 140 h 20000"/>
                <a:gd name="T86" fmla="*/ 151 w 20000"/>
                <a:gd name="T87" fmla="*/ 119 h 20000"/>
                <a:gd name="T88" fmla="*/ 186 w 20000"/>
                <a:gd name="T89" fmla="*/ 112 h 20000"/>
                <a:gd name="T90" fmla="*/ 207 w 20000"/>
                <a:gd name="T91" fmla="*/ 133 h 20000"/>
                <a:gd name="T92" fmla="*/ 221 w 20000"/>
                <a:gd name="T93" fmla="*/ 105 h 20000"/>
                <a:gd name="T94" fmla="*/ 211 w 20000"/>
                <a:gd name="T95" fmla="*/ 70 h 20000"/>
                <a:gd name="T96" fmla="*/ 221 w 20000"/>
                <a:gd name="T97" fmla="*/ 35 h 20000"/>
                <a:gd name="T98" fmla="*/ 214 w 20000"/>
                <a:gd name="T99" fmla="*/ 3 h 20000"/>
                <a:gd name="T100" fmla="*/ 246 w 20000"/>
                <a:gd name="T101" fmla="*/ 7 h 20000"/>
                <a:gd name="T102" fmla="*/ 256 w 20000"/>
                <a:gd name="T103" fmla="*/ 45 h 20000"/>
                <a:gd name="T104" fmla="*/ 256 w 20000"/>
                <a:gd name="T105" fmla="*/ 98 h 20000"/>
                <a:gd name="T106" fmla="*/ 256 w 20000"/>
                <a:gd name="T107" fmla="*/ 133 h 20000"/>
                <a:gd name="T108" fmla="*/ 281 w 20000"/>
                <a:gd name="T109" fmla="*/ 168 h 20000"/>
                <a:gd name="T110" fmla="*/ 288 w 20000"/>
                <a:gd name="T111" fmla="*/ 206 h 20000"/>
                <a:gd name="T112" fmla="*/ 292 w 20000"/>
                <a:gd name="T113" fmla="*/ 234 h 20000"/>
                <a:gd name="T114" fmla="*/ 295 w 20000"/>
                <a:gd name="T115" fmla="*/ 259 h 20000"/>
                <a:gd name="T116" fmla="*/ 302 w 20000"/>
                <a:gd name="T117" fmla="*/ 297 h 20000"/>
                <a:gd name="T118" fmla="*/ 306 w 20000"/>
                <a:gd name="T119" fmla="*/ 350 h 20000"/>
                <a:gd name="T120" fmla="*/ 270 w 20000"/>
                <a:gd name="T121" fmla="*/ 431 h 200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000"/>
                <a:gd name="T184" fmla="*/ 0 h 20000"/>
                <a:gd name="T185" fmla="*/ 20000 w 20000"/>
                <a:gd name="T186" fmla="*/ 20000 h 2000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000" h="20000">
                  <a:moveTo>
                    <a:pt x="17673" y="14800"/>
                  </a:moveTo>
                  <a:lnTo>
                    <a:pt x="17885" y="15011"/>
                  </a:lnTo>
                  <a:lnTo>
                    <a:pt x="18143" y="15444"/>
                  </a:lnTo>
                  <a:lnTo>
                    <a:pt x="18143" y="15667"/>
                  </a:lnTo>
                  <a:lnTo>
                    <a:pt x="18143" y="15878"/>
                  </a:lnTo>
                  <a:lnTo>
                    <a:pt x="17673" y="15989"/>
                  </a:lnTo>
                  <a:lnTo>
                    <a:pt x="17673" y="16100"/>
                  </a:lnTo>
                  <a:lnTo>
                    <a:pt x="18143" y="16100"/>
                  </a:lnTo>
                  <a:lnTo>
                    <a:pt x="17885" y="16311"/>
                  </a:lnTo>
                  <a:lnTo>
                    <a:pt x="17438" y="16644"/>
                  </a:lnTo>
                  <a:lnTo>
                    <a:pt x="17438" y="16856"/>
                  </a:lnTo>
                  <a:lnTo>
                    <a:pt x="16757" y="16856"/>
                  </a:lnTo>
                  <a:lnTo>
                    <a:pt x="16992" y="16956"/>
                  </a:lnTo>
                  <a:lnTo>
                    <a:pt x="17673" y="17078"/>
                  </a:lnTo>
                  <a:lnTo>
                    <a:pt x="17227" y="17511"/>
                  </a:lnTo>
                  <a:lnTo>
                    <a:pt x="16075" y="17944"/>
                  </a:lnTo>
                  <a:lnTo>
                    <a:pt x="16310" y="18478"/>
                  </a:lnTo>
                  <a:lnTo>
                    <a:pt x="15605" y="19022"/>
                  </a:lnTo>
                  <a:lnTo>
                    <a:pt x="15394" y="19122"/>
                  </a:lnTo>
                  <a:lnTo>
                    <a:pt x="15394" y="19233"/>
                  </a:lnTo>
                  <a:lnTo>
                    <a:pt x="15864" y="19122"/>
                  </a:lnTo>
                  <a:lnTo>
                    <a:pt x="16075" y="19122"/>
                  </a:lnTo>
                  <a:lnTo>
                    <a:pt x="16075" y="19233"/>
                  </a:lnTo>
                  <a:lnTo>
                    <a:pt x="15394" y="19989"/>
                  </a:lnTo>
                  <a:lnTo>
                    <a:pt x="14454" y="19989"/>
                  </a:lnTo>
                  <a:lnTo>
                    <a:pt x="14242" y="19767"/>
                  </a:lnTo>
                  <a:lnTo>
                    <a:pt x="13537" y="19767"/>
                  </a:lnTo>
                  <a:lnTo>
                    <a:pt x="13325" y="19667"/>
                  </a:lnTo>
                  <a:lnTo>
                    <a:pt x="12855" y="19767"/>
                  </a:lnTo>
                  <a:lnTo>
                    <a:pt x="12620" y="19667"/>
                  </a:lnTo>
                  <a:lnTo>
                    <a:pt x="12855" y="19122"/>
                  </a:lnTo>
                  <a:lnTo>
                    <a:pt x="12620" y="19122"/>
                  </a:lnTo>
                  <a:lnTo>
                    <a:pt x="12174" y="19122"/>
                  </a:lnTo>
                  <a:lnTo>
                    <a:pt x="11962" y="18900"/>
                  </a:lnTo>
                  <a:lnTo>
                    <a:pt x="11704" y="19022"/>
                  </a:lnTo>
                  <a:lnTo>
                    <a:pt x="10552" y="18800"/>
                  </a:lnTo>
                  <a:lnTo>
                    <a:pt x="9636" y="18689"/>
                  </a:lnTo>
                  <a:lnTo>
                    <a:pt x="8508" y="18478"/>
                  </a:lnTo>
                  <a:lnTo>
                    <a:pt x="6181" y="17944"/>
                  </a:lnTo>
                  <a:lnTo>
                    <a:pt x="6439" y="17822"/>
                  </a:lnTo>
                  <a:lnTo>
                    <a:pt x="6181" y="17611"/>
                  </a:lnTo>
                  <a:lnTo>
                    <a:pt x="6181" y="17511"/>
                  </a:lnTo>
                  <a:lnTo>
                    <a:pt x="6439" y="16956"/>
                  </a:lnTo>
                  <a:lnTo>
                    <a:pt x="6886" y="16956"/>
                  </a:lnTo>
                  <a:lnTo>
                    <a:pt x="6886" y="17078"/>
                  </a:lnTo>
                  <a:lnTo>
                    <a:pt x="7098" y="17078"/>
                  </a:lnTo>
                  <a:lnTo>
                    <a:pt x="7568" y="16744"/>
                  </a:lnTo>
                  <a:lnTo>
                    <a:pt x="7803" y="16744"/>
                  </a:lnTo>
                  <a:lnTo>
                    <a:pt x="8014" y="16522"/>
                  </a:lnTo>
                  <a:lnTo>
                    <a:pt x="8719" y="16311"/>
                  </a:lnTo>
                  <a:lnTo>
                    <a:pt x="7098" y="16211"/>
                  </a:lnTo>
                  <a:lnTo>
                    <a:pt x="6886" y="16100"/>
                  </a:lnTo>
                  <a:lnTo>
                    <a:pt x="6439" y="16100"/>
                  </a:lnTo>
                  <a:lnTo>
                    <a:pt x="6439" y="16311"/>
                  </a:lnTo>
                  <a:lnTo>
                    <a:pt x="5969" y="16211"/>
                  </a:lnTo>
                  <a:lnTo>
                    <a:pt x="5969" y="16100"/>
                  </a:lnTo>
                  <a:lnTo>
                    <a:pt x="5734" y="16100"/>
                  </a:lnTo>
                  <a:lnTo>
                    <a:pt x="5969" y="15778"/>
                  </a:lnTo>
                  <a:lnTo>
                    <a:pt x="4583" y="15989"/>
                  </a:lnTo>
                  <a:lnTo>
                    <a:pt x="4371" y="15878"/>
                  </a:lnTo>
                  <a:lnTo>
                    <a:pt x="3666" y="15878"/>
                  </a:lnTo>
                  <a:lnTo>
                    <a:pt x="3666" y="15667"/>
                  </a:lnTo>
                  <a:lnTo>
                    <a:pt x="4113" y="15667"/>
                  </a:lnTo>
                  <a:lnTo>
                    <a:pt x="4818" y="15344"/>
                  </a:lnTo>
                  <a:lnTo>
                    <a:pt x="4371" y="15133"/>
                  </a:lnTo>
                  <a:lnTo>
                    <a:pt x="4583" y="15011"/>
                  </a:lnTo>
                  <a:lnTo>
                    <a:pt x="4818" y="15133"/>
                  </a:lnTo>
                  <a:lnTo>
                    <a:pt x="5523" y="14911"/>
                  </a:lnTo>
                  <a:lnTo>
                    <a:pt x="5734" y="14700"/>
                  </a:lnTo>
                  <a:lnTo>
                    <a:pt x="5053" y="14578"/>
                  </a:lnTo>
                  <a:lnTo>
                    <a:pt x="5053" y="14478"/>
                  </a:lnTo>
                  <a:lnTo>
                    <a:pt x="5969" y="14367"/>
                  </a:lnTo>
                  <a:lnTo>
                    <a:pt x="5734" y="14267"/>
                  </a:lnTo>
                  <a:lnTo>
                    <a:pt x="5523" y="14044"/>
                  </a:lnTo>
                  <a:lnTo>
                    <a:pt x="5969" y="13933"/>
                  </a:lnTo>
                  <a:lnTo>
                    <a:pt x="5969" y="13722"/>
                  </a:lnTo>
                  <a:lnTo>
                    <a:pt x="5523" y="13500"/>
                  </a:lnTo>
                  <a:lnTo>
                    <a:pt x="4818" y="13500"/>
                  </a:lnTo>
                  <a:lnTo>
                    <a:pt x="4818" y="13722"/>
                  </a:lnTo>
                  <a:lnTo>
                    <a:pt x="3666" y="13833"/>
                  </a:lnTo>
                  <a:lnTo>
                    <a:pt x="2985" y="13833"/>
                  </a:lnTo>
                  <a:lnTo>
                    <a:pt x="2280" y="14044"/>
                  </a:lnTo>
                  <a:lnTo>
                    <a:pt x="2280" y="13933"/>
                  </a:lnTo>
                  <a:lnTo>
                    <a:pt x="2538" y="13622"/>
                  </a:lnTo>
                  <a:lnTo>
                    <a:pt x="1833" y="13189"/>
                  </a:lnTo>
                  <a:lnTo>
                    <a:pt x="2538" y="13067"/>
                  </a:lnTo>
                  <a:lnTo>
                    <a:pt x="2985" y="13067"/>
                  </a:lnTo>
                  <a:lnTo>
                    <a:pt x="3196" y="12967"/>
                  </a:lnTo>
                  <a:lnTo>
                    <a:pt x="3196" y="12856"/>
                  </a:lnTo>
                  <a:lnTo>
                    <a:pt x="2985" y="12633"/>
                  </a:lnTo>
                  <a:lnTo>
                    <a:pt x="3196" y="12533"/>
                  </a:lnTo>
                  <a:lnTo>
                    <a:pt x="4583" y="12100"/>
                  </a:lnTo>
                  <a:lnTo>
                    <a:pt x="4583" y="11989"/>
                  </a:lnTo>
                  <a:lnTo>
                    <a:pt x="4583" y="11889"/>
                  </a:lnTo>
                  <a:lnTo>
                    <a:pt x="4113" y="11889"/>
                  </a:lnTo>
                  <a:lnTo>
                    <a:pt x="4113" y="11667"/>
                  </a:lnTo>
                  <a:lnTo>
                    <a:pt x="3901" y="11667"/>
                  </a:lnTo>
                  <a:lnTo>
                    <a:pt x="3666" y="11344"/>
                  </a:lnTo>
                  <a:lnTo>
                    <a:pt x="2750" y="11456"/>
                  </a:lnTo>
                  <a:lnTo>
                    <a:pt x="2538" y="11244"/>
                  </a:lnTo>
                  <a:lnTo>
                    <a:pt x="1363" y="11244"/>
                  </a:lnTo>
                  <a:lnTo>
                    <a:pt x="1363" y="11022"/>
                  </a:lnTo>
                  <a:lnTo>
                    <a:pt x="1363" y="10911"/>
                  </a:lnTo>
                  <a:lnTo>
                    <a:pt x="917" y="11022"/>
                  </a:lnTo>
                  <a:lnTo>
                    <a:pt x="917" y="10911"/>
                  </a:lnTo>
                  <a:lnTo>
                    <a:pt x="1363" y="10811"/>
                  </a:lnTo>
                  <a:lnTo>
                    <a:pt x="1363" y="10689"/>
                  </a:lnTo>
                  <a:lnTo>
                    <a:pt x="917" y="10689"/>
                  </a:lnTo>
                  <a:lnTo>
                    <a:pt x="917" y="10589"/>
                  </a:lnTo>
                  <a:lnTo>
                    <a:pt x="1128" y="10478"/>
                  </a:lnTo>
                  <a:lnTo>
                    <a:pt x="917" y="10044"/>
                  </a:lnTo>
                  <a:lnTo>
                    <a:pt x="447" y="10044"/>
                  </a:lnTo>
                  <a:lnTo>
                    <a:pt x="447" y="9944"/>
                  </a:lnTo>
                  <a:lnTo>
                    <a:pt x="2985" y="9511"/>
                  </a:lnTo>
                  <a:lnTo>
                    <a:pt x="3196" y="9400"/>
                  </a:lnTo>
                  <a:lnTo>
                    <a:pt x="2985" y="9289"/>
                  </a:lnTo>
                  <a:lnTo>
                    <a:pt x="2538" y="9078"/>
                  </a:lnTo>
                  <a:lnTo>
                    <a:pt x="1833" y="8967"/>
                  </a:lnTo>
                  <a:lnTo>
                    <a:pt x="1363" y="9078"/>
                  </a:lnTo>
                  <a:lnTo>
                    <a:pt x="1128" y="8867"/>
                  </a:lnTo>
                  <a:lnTo>
                    <a:pt x="1833" y="8644"/>
                  </a:lnTo>
                  <a:lnTo>
                    <a:pt x="1128" y="8533"/>
                  </a:lnTo>
                  <a:lnTo>
                    <a:pt x="682" y="8744"/>
                  </a:lnTo>
                  <a:lnTo>
                    <a:pt x="447" y="8744"/>
                  </a:lnTo>
                  <a:lnTo>
                    <a:pt x="212" y="8433"/>
                  </a:lnTo>
                  <a:lnTo>
                    <a:pt x="0" y="8311"/>
                  </a:lnTo>
                  <a:lnTo>
                    <a:pt x="212" y="8211"/>
                  </a:lnTo>
                  <a:lnTo>
                    <a:pt x="447" y="8311"/>
                  </a:lnTo>
                  <a:lnTo>
                    <a:pt x="682" y="8100"/>
                  </a:lnTo>
                  <a:lnTo>
                    <a:pt x="1363" y="8000"/>
                  </a:lnTo>
                  <a:lnTo>
                    <a:pt x="1128" y="7778"/>
                  </a:lnTo>
                  <a:lnTo>
                    <a:pt x="1363" y="7667"/>
                  </a:lnTo>
                  <a:lnTo>
                    <a:pt x="2068" y="7778"/>
                  </a:lnTo>
                  <a:lnTo>
                    <a:pt x="2280" y="7444"/>
                  </a:lnTo>
                  <a:lnTo>
                    <a:pt x="1833" y="7444"/>
                  </a:lnTo>
                  <a:lnTo>
                    <a:pt x="2068" y="7344"/>
                  </a:lnTo>
                  <a:lnTo>
                    <a:pt x="2280" y="7344"/>
                  </a:lnTo>
                  <a:lnTo>
                    <a:pt x="2538" y="7022"/>
                  </a:lnTo>
                  <a:lnTo>
                    <a:pt x="1833" y="7022"/>
                  </a:lnTo>
                  <a:lnTo>
                    <a:pt x="1833" y="6911"/>
                  </a:lnTo>
                  <a:lnTo>
                    <a:pt x="2068" y="6700"/>
                  </a:lnTo>
                  <a:lnTo>
                    <a:pt x="2280" y="6489"/>
                  </a:lnTo>
                  <a:lnTo>
                    <a:pt x="2985" y="6267"/>
                  </a:lnTo>
                  <a:lnTo>
                    <a:pt x="2985" y="6156"/>
                  </a:lnTo>
                  <a:lnTo>
                    <a:pt x="3196" y="6056"/>
                  </a:lnTo>
                  <a:lnTo>
                    <a:pt x="2750" y="5722"/>
                  </a:lnTo>
                  <a:lnTo>
                    <a:pt x="2985" y="5622"/>
                  </a:lnTo>
                  <a:lnTo>
                    <a:pt x="3196" y="5622"/>
                  </a:lnTo>
                  <a:lnTo>
                    <a:pt x="3196" y="5833"/>
                  </a:lnTo>
                  <a:lnTo>
                    <a:pt x="3666" y="5722"/>
                  </a:lnTo>
                  <a:lnTo>
                    <a:pt x="3666" y="5833"/>
                  </a:lnTo>
                  <a:lnTo>
                    <a:pt x="3901" y="5933"/>
                  </a:lnTo>
                  <a:lnTo>
                    <a:pt x="4583" y="5833"/>
                  </a:lnTo>
                  <a:lnTo>
                    <a:pt x="4583" y="5289"/>
                  </a:lnTo>
                  <a:lnTo>
                    <a:pt x="5264" y="5189"/>
                  </a:lnTo>
                  <a:lnTo>
                    <a:pt x="5523" y="5189"/>
                  </a:lnTo>
                  <a:lnTo>
                    <a:pt x="5734" y="5189"/>
                  </a:lnTo>
                  <a:lnTo>
                    <a:pt x="5969" y="5189"/>
                  </a:lnTo>
                  <a:lnTo>
                    <a:pt x="5969" y="4967"/>
                  </a:lnTo>
                  <a:lnTo>
                    <a:pt x="6439" y="4967"/>
                  </a:lnTo>
                  <a:lnTo>
                    <a:pt x="6439" y="4856"/>
                  </a:lnTo>
                  <a:lnTo>
                    <a:pt x="6651" y="4856"/>
                  </a:lnTo>
                  <a:lnTo>
                    <a:pt x="7356" y="4856"/>
                  </a:lnTo>
                  <a:lnTo>
                    <a:pt x="7803" y="4756"/>
                  </a:lnTo>
                  <a:lnTo>
                    <a:pt x="8273" y="4756"/>
                  </a:lnTo>
                  <a:lnTo>
                    <a:pt x="8508" y="4644"/>
                  </a:lnTo>
                  <a:lnTo>
                    <a:pt x="8954" y="4544"/>
                  </a:lnTo>
                  <a:lnTo>
                    <a:pt x="9166" y="4322"/>
                  </a:lnTo>
                  <a:lnTo>
                    <a:pt x="9166" y="4111"/>
                  </a:lnTo>
                  <a:lnTo>
                    <a:pt x="9424" y="3989"/>
                  </a:lnTo>
                  <a:lnTo>
                    <a:pt x="9636" y="3889"/>
                  </a:lnTo>
                  <a:lnTo>
                    <a:pt x="9871" y="3678"/>
                  </a:lnTo>
                  <a:lnTo>
                    <a:pt x="10082" y="3678"/>
                  </a:lnTo>
                  <a:lnTo>
                    <a:pt x="11257" y="3456"/>
                  </a:lnTo>
                  <a:lnTo>
                    <a:pt x="11704" y="3556"/>
                  </a:lnTo>
                  <a:lnTo>
                    <a:pt x="12174" y="3456"/>
                  </a:lnTo>
                  <a:lnTo>
                    <a:pt x="12409" y="3456"/>
                  </a:lnTo>
                  <a:lnTo>
                    <a:pt x="12409" y="3556"/>
                  </a:lnTo>
                  <a:lnTo>
                    <a:pt x="12855" y="3678"/>
                  </a:lnTo>
                  <a:lnTo>
                    <a:pt x="13537" y="4111"/>
                  </a:lnTo>
                  <a:lnTo>
                    <a:pt x="13984" y="3889"/>
                  </a:lnTo>
                  <a:lnTo>
                    <a:pt x="14242" y="3778"/>
                  </a:lnTo>
                  <a:lnTo>
                    <a:pt x="14454" y="3556"/>
                  </a:lnTo>
                  <a:lnTo>
                    <a:pt x="14454" y="3244"/>
                  </a:lnTo>
                  <a:lnTo>
                    <a:pt x="14454" y="2911"/>
                  </a:lnTo>
                  <a:lnTo>
                    <a:pt x="14242" y="2478"/>
                  </a:lnTo>
                  <a:lnTo>
                    <a:pt x="13984" y="2378"/>
                  </a:lnTo>
                  <a:lnTo>
                    <a:pt x="13772" y="2167"/>
                  </a:lnTo>
                  <a:lnTo>
                    <a:pt x="13984" y="1733"/>
                  </a:lnTo>
                  <a:lnTo>
                    <a:pt x="13772" y="1400"/>
                  </a:lnTo>
                  <a:lnTo>
                    <a:pt x="13984" y="1178"/>
                  </a:lnTo>
                  <a:lnTo>
                    <a:pt x="14454" y="1078"/>
                  </a:lnTo>
                  <a:lnTo>
                    <a:pt x="14242" y="867"/>
                  </a:lnTo>
                  <a:lnTo>
                    <a:pt x="13984" y="644"/>
                  </a:lnTo>
                  <a:lnTo>
                    <a:pt x="13984" y="211"/>
                  </a:lnTo>
                  <a:lnTo>
                    <a:pt x="13984" y="100"/>
                  </a:lnTo>
                  <a:lnTo>
                    <a:pt x="14242" y="100"/>
                  </a:lnTo>
                  <a:lnTo>
                    <a:pt x="15159" y="0"/>
                  </a:lnTo>
                  <a:lnTo>
                    <a:pt x="15605" y="0"/>
                  </a:lnTo>
                  <a:lnTo>
                    <a:pt x="16075" y="211"/>
                  </a:lnTo>
                  <a:lnTo>
                    <a:pt x="16075" y="533"/>
                  </a:lnTo>
                  <a:lnTo>
                    <a:pt x="16522" y="867"/>
                  </a:lnTo>
                  <a:lnTo>
                    <a:pt x="16522" y="1178"/>
                  </a:lnTo>
                  <a:lnTo>
                    <a:pt x="16757" y="1400"/>
                  </a:lnTo>
                  <a:lnTo>
                    <a:pt x="16757" y="1733"/>
                  </a:lnTo>
                  <a:lnTo>
                    <a:pt x="16992" y="2044"/>
                  </a:lnTo>
                  <a:lnTo>
                    <a:pt x="17227" y="2478"/>
                  </a:lnTo>
                  <a:lnTo>
                    <a:pt x="16757" y="3022"/>
                  </a:lnTo>
                  <a:lnTo>
                    <a:pt x="16757" y="3122"/>
                  </a:lnTo>
                  <a:lnTo>
                    <a:pt x="16757" y="3456"/>
                  </a:lnTo>
                  <a:lnTo>
                    <a:pt x="16757" y="3556"/>
                  </a:lnTo>
                  <a:lnTo>
                    <a:pt x="16757" y="4111"/>
                  </a:lnTo>
                  <a:lnTo>
                    <a:pt x="16992" y="4322"/>
                  </a:lnTo>
                  <a:lnTo>
                    <a:pt x="17438" y="4644"/>
                  </a:lnTo>
                  <a:lnTo>
                    <a:pt x="17673" y="4644"/>
                  </a:lnTo>
                  <a:lnTo>
                    <a:pt x="18355" y="5189"/>
                  </a:lnTo>
                  <a:lnTo>
                    <a:pt x="18590" y="5722"/>
                  </a:lnTo>
                  <a:lnTo>
                    <a:pt x="18590" y="6056"/>
                  </a:lnTo>
                  <a:lnTo>
                    <a:pt x="18590" y="6156"/>
                  </a:lnTo>
                  <a:lnTo>
                    <a:pt x="18848" y="6367"/>
                  </a:lnTo>
                  <a:lnTo>
                    <a:pt x="19060" y="6700"/>
                  </a:lnTo>
                  <a:lnTo>
                    <a:pt x="19060" y="6911"/>
                  </a:lnTo>
                  <a:lnTo>
                    <a:pt x="19060" y="7022"/>
                  </a:lnTo>
                  <a:lnTo>
                    <a:pt x="19060" y="7233"/>
                  </a:lnTo>
                  <a:lnTo>
                    <a:pt x="19060" y="7444"/>
                  </a:lnTo>
                  <a:lnTo>
                    <a:pt x="19060" y="7667"/>
                  </a:lnTo>
                  <a:lnTo>
                    <a:pt x="19295" y="7878"/>
                  </a:lnTo>
                  <a:lnTo>
                    <a:pt x="19295" y="8000"/>
                  </a:lnTo>
                  <a:lnTo>
                    <a:pt x="19506" y="8433"/>
                  </a:lnTo>
                  <a:lnTo>
                    <a:pt x="19765" y="8644"/>
                  </a:lnTo>
                  <a:lnTo>
                    <a:pt x="19765" y="8967"/>
                  </a:lnTo>
                  <a:lnTo>
                    <a:pt x="19765" y="9178"/>
                  </a:lnTo>
                  <a:lnTo>
                    <a:pt x="19976" y="10156"/>
                  </a:lnTo>
                  <a:lnTo>
                    <a:pt x="19976" y="10256"/>
                  </a:lnTo>
                  <a:lnTo>
                    <a:pt x="19976" y="10589"/>
                  </a:lnTo>
                  <a:lnTo>
                    <a:pt x="19976" y="10811"/>
                  </a:lnTo>
                  <a:lnTo>
                    <a:pt x="19060" y="11456"/>
                  </a:lnTo>
                  <a:lnTo>
                    <a:pt x="18143" y="12200"/>
                  </a:lnTo>
                  <a:lnTo>
                    <a:pt x="17673" y="12856"/>
                  </a:lnTo>
                  <a:lnTo>
                    <a:pt x="17673" y="13289"/>
                  </a:lnTo>
                  <a:lnTo>
                    <a:pt x="17438" y="13833"/>
                  </a:lnTo>
                  <a:lnTo>
                    <a:pt x="17673" y="14800"/>
                  </a:lnTo>
                  <a:close/>
                </a:path>
              </a:pathLst>
            </a:custGeom>
            <a:solidFill>
              <a:srgbClr val="E11A81">
                <a:lumMod val="20000"/>
                <a:lumOff val="80000"/>
              </a:srgbClr>
            </a:solidFill>
            <a:ln w="6350" cap="flat">
              <a:solidFill>
                <a:sysClr val="window" lastClr="FFFFFF"/>
              </a:solidFill>
              <a:prstDash val="solid"/>
              <a:round/>
              <a:headEnd type="none" w="med" len="med"/>
              <a:tailEnd type="none" w="med" len="me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86496">
                <a:defRPr/>
              </a:pPr>
              <a:endParaRPr lang="fr-FR" sz="1400">
                <a:solidFill>
                  <a:srgbClr val="5E5E5E"/>
                </a:solidFill>
                <a:latin typeface="Helvetica Neue"/>
              </a:endParaRPr>
            </a:p>
          </p:txBody>
        </p:sp>
        <p:sp>
          <p:nvSpPr>
            <p:cNvPr id="50" name="Forme libre 10">
              <a:extLst>
                <a:ext uri="{FF2B5EF4-FFF2-40B4-BE49-F238E27FC236}">
                  <a16:creationId xmlns:a16="http://schemas.microsoft.com/office/drawing/2014/main" id="{0EBA1389-1A85-4AB8-9D51-482218DFB651}"/>
                </a:ext>
              </a:extLst>
            </p:cNvPr>
            <p:cNvSpPr/>
            <p:nvPr/>
          </p:nvSpPr>
          <p:spPr>
            <a:xfrm>
              <a:off x="3497931" y="3906294"/>
              <a:ext cx="141119" cy="167723"/>
            </a:xfrm>
            <a:custGeom>
              <a:avLst/>
              <a:gdLst>
                <a:gd name="connsiteX0" fmla="*/ 409523 w 1016595"/>
                <a:gd name="connsiteY0" fmla="*/ 0 h 1226416"/>
                <a:gd name="connsiteX1" fmla="*/ 409523 w 1016595"/>
                <a:gd name="connsiteY1" fmla="*/ 4493 h 1226416"/>
                <a:gd name="connsiteX2" fmla="*/ 414531 w 1016595"/>
                <a:gd name="connsiteY2" fmla="*/ 14482 h 1226416"/>
                <a:gd name="connsiteX3" fmla="*/ 414531 w 1016595"/>
                <a:gd name="connsiteY3" fmla="*/ 23954 h 1226416"/>
                <a:gd name="connsiteX4" fmla="*/ 419539 w 1016595"/>
                <a:gd name="connsiteY4" fmla="*/ 48425 h 1226416"/>
                <a:gd name="connsiteX5" fmla="*/ 429554 w 1016595"/>
                <a:gd name="connsiteY5" fmla="*/ 58413 h 1226416"/>
                <a:gd name="connsiteX6" fmla="*/ 439050 w 1016595"/>
                <a:gd name="connsiteY6" fmla="*/ 77904 h 1226416"/>
                <a:gd name="connsiteX7" fmla="*/ 429554 w 1016595"/>
                <a:gd name="connsiteY7" fmla="*/ 91870 h 1226416"/>
                <a:gd name="connsiteX8" fmla="*/ 429554 w 1016595"/>
                <a:gd name="connsiteY8" fmla="*/ 96880 h 1226416"/>
                <a:gd name="connsiteX9" fmla="*/ 429554 w 1016595"/>
                <a:gd name="connsiteY9" fmla="*/ 101859 h 1226416"/>
                <a:gd name="connsiteX10" fmla="*/ 429554 w 1016595"/>
                <a:gd name="connsiteY10" fmla="*/ 120834 h 1226416"/>
                <a:gd name="connsiteX11" fmla="*/ 434042 w 1016595"/>
                <a:gd name="connsiteY11" fmla="*/ 126329 h 1226416"/>
                <a:gd name="connsiteX12" fmla="*/ 429554 w 1016595"/>
                <a:gd name="connsiteY12" fmla="*/ 130822 h 1226416"/>
                <a:gd name="connsiteX13" fmla="*/ 439050 w 1016595"/>
                <a:gd name="connsiteY13" fmla="*/ 150314 h 1226416"/>
                <a:gd name="connsiteX14" fmla="*/ 449065 w 1016595"/>
                <a:gd name="connsiteY14" fmla="*/ 150314 h 1226416"/>
                <a:gd name="connsiteX15" fmla="*/ 458608 w 1016595"/>
                <a:gd name="connsiteY15" fmla="*/ 150314 h 1226416"/>
                <a:gd name="connsiteX16" fmla="*/ 473112 w 1016595"/>
                <a:gd name="connsiteY16" fmla="*/ 155293 h 1226416"/>
                <a:gd name="connsiteX17" fmla="*/ 473112 w 1016595"/>
                <a:gd name="connsiteY17" fmla="*/ 159786 h 1226416"/>
                <a:gd name="connsiteX18" fmla="*/ 478120 w 1016595"/>
                <a:gd name="connsiteY18" fmla="*/ 169775 h 1226416"/>
                <a:gd name="connsiteX19" fmla="*/ 482608 w 1016595"/>
                <a:gd name="connsiteY19" fmla="*/ 174784 h 1226416"/>
                <a:gd name="connsiteX20" fmla="*/ 487615 w 1016595"/>
                <a:gd name="connsiteY20" fmla="*/ 174784 h 1226416"/>
                <a:gd name="connsiteX21" fmla="*/ 502638 w 1016595"/>
                <a:gd name="connsiteY21" fmla="*/ 203748 h 1226416"/>
                <a:gd name="connsiteX22" fmla="*/ 517189 w 1016595"/>
                <a:gd name="connsiteY22" fmla="*/ 198738 h 1226416"/>
                <a:gd name="connsiteX23" fmla="*/ 522197 w 1016595"/>
                <a:gd name="connsiteY23" fmla="*/ 208241 h 1226416"/>
                <a:gd name="connsiteX24" fmla="*/ 532212 w 1016595"/>
                <a:gd name="connsiteY24" fmla="*/ 208241 h 1226416"/>
                <a:gd name="connsiteX25" fmla="*/ 532212 w 1016595"/>
                <a:gd name="connsiteY25" fmla="*/ 213706 h 1226416"/>
                <a:gd name="connsiteX26" fmla="*/ 536700 w 1016595"/>
                <a:gd name="connsiteY26" fmla="*/ 213706 h 1226416"/>
                <a:gd name="connsiteX27" fmla="*/ 541708 w 1016595"/>
                <a:gd name="connsiteY27" fmla="*/ 208241 h 1226416"/>
                <a:gd name="connsiteX28" fmla="*/ 546196 w 1016595"/>
                <a:gd name="connsiteY28" fmla="*/ 194245 h 1226416"/>
                <a:gd name="connsiteX29" fmla="*/ 546196 w 1016595"/>
                <a:gd name="connsiteY29" fmla="*/ 189266 h 1226416"/>
                <a:gd name="connsiteX30" fmla="*/ 551723 w 1016595"/>
                <a:gd name="connsiteY30" fmla="*/ 184256 h 1226416"/>
                <a:gd name="connsiteX31" fmla="*/ 561219 w 1016595"/>
                <a:gd name="connsiteY31" fmla="*/ 184256 h 1226416"/>
                <a:gd name="connsiteX32" fmla="*/ 570762 w 1016595"/>
                <a:gd name="connsiteY32" fmla="*/ 174784 h 1226416"/>
                <a:gd name="connsiteX33" fmla="*/ 580777 w 1016595"/>
                <a:gd name="connsiteY33" fmla="*/ 174784 h 1226416"/>
                <a:gd name="connsiteX34" fmla="*/ 590273 w 1016595"/>
                <a:gd name="connsiteY34" fmla="*/ 169775 h 1226416"/>
                <a:gd name="connsiteX35" fmla="*/ 600289 w 1016595"/>
                <a:gd name="connsiteY35" fmla="*/ 169775 h 1226416"/>
                <a:gd name="connsiteX36" fmla="*/ 605296 w 1016595"/>
                <a:gd name="connsiteY36" fmla="*/ 169775 h 1226416"/>
                <a:gd name="connsiteX37" fmla="*/ 605296 w 1016595"/>
                <a:gd name="connsiteY37" fmla="*/ 165281 h 1226416"/>
                <a:gd name="connsiteX38" fmla="*/ 609832 w 1016595"/>
                <a:gd name="connsiteY38" fmla="*/ 159786 h 1226416"/>
                <a:gd name="connsiteX39" fmla="*/ 609832 w 1016595"/>
                <a:gd name="connsiteY39" fmla="*/ 165281 h 1226416"/>
                <a:gd name="connsiteX40" fmla="*/ 615312 w 1016595"/>
                <a:gd name="connsiteY40" fmla="*/ 165281 h 1226416"/>
                <a:gd name="connsiteX41" fmla="*/ 619847 w 1016595"/>
                <a:gd name="connsiteY41" fmla="*/ 165281 h 1226416"/>
                <a:gd name="connsiteX42" fmla="*/ 624807 w 1016595"/>
                <a:gd name="connsiteY42" fmla="*/ 174784 h 1226416"/>
                <a:gd name="connsiteX43" fmla="*/ 629343 w 1016595"/>
                <a:gd name="connsiteY43" fmla="*/ 179277 h 1226416"/>
                <a:gd name="connsiteX44" fmla="*/ 629343 w 1016595"/>
                <a:gd name="connsiteY44" fmla="*/ 184256 h 1226416"/>
                <a:gd name="connsiteX45" fmla="*/ 634823 w 1016595"/>
                <a:gd name="connsiteY45" fmla="*/ 189266 h 1226416"/>
                <a:gd name="connsiteX46" fmla="*/ 639831 w 1016595"/>
                <a:gd name="connsiteY46" fmla="*/ 194245 h 1226416"/>
                <a:gd name="connsiteX47" fmla="*/ 634823 w 1016595"/>
                <a:gd name="connsiteY47" fmla="*/ 198738 h 1226416"/>
                <a:gd name="connsiteX48" fmla="*/ 644366 w 1016595"/>
                <a:gd name="connsiteY48" fmla="*/ 208241 h 1226416"/>
                <a:gd name="connsiteX49" fmla="*/ 653862 w 1016595"/>
                <a:gd name="connsiteY49" fmla="*/ 208241 h 1226416"/>
                <a:gd name="connsiteX50" fmla="*/ 659389 w 1016595"/>
                <a:gd name="connsiteY50" fmla="*/ 213706 h 1226416"/>
                <a:gd name="connsiteX51" fmla="*/ 653862 w 1016595"/>
                <a:gd name="connsiteY51" fmla="*/ 218230 h 1226416"/>
                <a:gd name="connsiteX52" fmla="*/ 659389 w 1016595"/>
                <a:gd name="connsiteY52" fmla="*/ 223209 h 1226416"/>
                <a:gd name="connsiteX53" fmla="*/ 653862 w 1016595"/>
                <a:gd name="connsiteY53" fmla="*/ 227702 h 1226416"/>
                <a:gd name="connsiteX54" fmla="*/ 653862 w 1016595"/>
                <a:gd name="connsiteY54" fmla="*/ 237690 h 1226416"/>
                <a:gd name="connsiteX55" fmla="*/ 653862 w 1016595"/>
                <a:gd name="connsiteY55" fmla="*/ 247163 h 1226416"/>
                <a:gd name="connsiteX56" fmla="*/ 659389 w 1016595"/>
                <a:gd name="connsiteY56" fmla="*/ 252658 h 1226416"/>
                <a:gd name="connsiteX57" fmla="*/ 663877 w 1016595"/>
                <a:gd name="connsiteY57" fmla="*/ 262161 h 1226416"/>
                <a:gd name="connsiteX58" fmla="*/ 663877 w 1016595"/>
                <a:gd name="connsiteY58" fmla="*/ 266654 h 1226416"/>
                <a:gd name="connsiteX59" fmla="*/ 663877 w 1016595"/>
                <a:gd name="connsiteY59" fmla="*/ 276643 h 1226416"/>
                <a:gd name="connsiteX60" fmla="*/ 668885 w 1016595"/>
                <a:gd name="connsiteY60" fmla="*/ 291125 h 1226416"/>
                <a:gd name="connsiteX61" fmla="*/ 668885 w 1016595"/>
                <a:gd name="connsiteY61" fmla="*/ 305606 h 1226416"/>
                <a:gd name="connsiteX62" fmla="*/ 683435 w 1016595"/>
                <a:gd name="connsiteY62" fmla="*/ 310585 h 1226416"/>
                <a:gd name="connsiteX63" fmla="*/ 683435 w 1016595"/>
                <a:gd name="connsiteY63" fmla="*/ 315079 h 1226416"/>
                <a:gd name="connsiteX64" fmla="*/ 698459 w 1016595"/>
                <a:gd name="connsiteY64" fmla="*/ 320574 h 1226416"/>
                <a:gd name="connsiteX65" fmla="*/ 702947 w 1016595"/>
                <a:gd name="connsiteY65" fmla="*/ 325067 h 1226416"/>
                <a:gd name="connsiteX66" fmla="*/ 713434 w 1016595"/>
                <a:gd name="connsiteY66" fmla="*/ 320574 h 1226416"/>
                <a:gd name="connsiteX67" fmla="*/ 722977 w 1016595"/>
                <a:gd name="connsiteY67" fmla="*/ 315079 h 1226416"/>
                <a:gd name="connsiteX68" fmla="*/ 727465 w 1016595"/>
                <a:gd name="connsiteY68" fmla="*/ 315079 h 1226416"/>
                <a:gd name="connsiteX69" fmla="*/ 732473 w 1016595"/>
                <a:gd name="connsiteY69" fmla="*/ 305606 h 1226416"/>
                <a:gd name="connsiteX70" fmla="*/ 752032 w 1016595"/>
                <a:gd name="connsiteY70" fmla="*/ 305606 h 1226416"/>
                <a:gd name="connsiteX71" fmla="*/ 752032 w 1016595"/>
                <a:gd name="connsiteY71" fmla="*/ 315079 h 1226416"/>
                <a:gd name="connsiteX72" fmla="*/ 747024 w 1016595"/>
                <a:gd name="connsiteY72" fmla="*/ 320574 h 1226416"/>
                <a:gd name="connsiteX73" fmla="*/ 747024 w 1016595"/>
                <a:gd name="connsiteY73" fmla="*/ 325067 h 1226416"/>
                <a:gd name="connsiteX74" fmla="*/ 766535 w 1016595"/>
                <a:gd name="connsiteY74" fmla="*/ 320574 h 1226416"/>
                <a:gd name="connsiteX75" fmla="*/ 771543 w 1016595"/>
                <a:gd name="connsiteY75" fmla="*/ 320574 h 1226416"/>
                <a:gd name="connsiteX76" fmla="*/ 771543 w 1016595"/>
                <a:gd name="connsiteY76" fmla="*/ 325067 h 1226416"/>
                <a:gd name="connsiteX77" fmla="*/ 781558 w 1016595"/>
                <a:gd name="connsiteY77" fmla="*/ 320574 h 1226416"/>
                <a:gd name="connsiteX78" fmla="*/ 786566 w 1016595"/>
                <a:gd name="connsiteY78" fmla="*/ 325067 h 1226416"/>
                <a:gd name="connsiteX79" fmla="*/ 796581 w 1016595"/>
                <a:gd name="connsiteY79" fmla="*/ 340065 h 1226416"/>
                <a:gd name="connsiteX80" fmla="*/ 801069 w 1016595"/>
                <a:gd name="connsiteY80" fmla="*/ 340065 h 1226416"/>
                <a:gd name="connsiteX81" fmla="*/ 806077 w 1016595"/>
                <a:gd name="connsiteY81" fmla="*/ 354031 h 1226416"/>
                <a:gd name="connsiteX82" fmla="*/ 806077 w 1016595"/>
                <a:gd name="connsiteY82" fmla="*/ 369029 h 1226416"/>
                <a:gd name="connsiteX83" fmla="*/ 806077 w 1016595"/>
                <a:gd name="connsiteY83" fmla="*/ 382995 h 1226416"/>
                <a:gd name="connsiteX84" fmla="*/ 801069 w 1016595"/>
                <a:gd name="connsiteY84" fmla="*/ 388490 h 1226416"/>
                <a:gd name="connsiteX85" fmla="*/ 801069 w 1016595"/>
                <a:gd name="connsiteY85" fmla="*/ 392983 h 1226416"/>
                <a:gd name="connsiteX86" fmla="*/ 806077 w 1016595"/>
                <a:gd name="connsiteY86" fmla="*/ 407981 h 1226416"/>
                <a:gd name="connsiteX87" fmla="*/ 810612 w 1016595"/>
                <a:gd name="connsiteY87" fmla="*/ 412474 h 1226416"/>
                <a:gd name="connsiteX88" fmla="*/ 810612 w 1016595"/>
                <a:gd name="connsiteY88" fmla="*/ 417454 h 1226416"/>
                <a:gd name="connsiteX89" fmla="*/ 815620 w 1016595"/>
                <a:gd name="connsiteY89" fmla="*/ 421947 h 1226416"/>
                <a:gd name="connsiteX90" fmla="*/ 820108 w 1016595"/>
                <a:gd name="connsiteY90" fmla="*/ 427442 h 1226416"/>
                <a:gd name="connsiteX91" fmla="*/ 820108 w 1016595"/>
                <a:gd name="connsiteY91" fmla="*/ 421947 h 1226416"/>
                <a:gd name="connsiteX92" fmla="*/ 820108 w 1016595"/>
                <a:gd name="connsiteY92" fmla="*/ 417454 h 1226416"/>
                <a:gd name="connsiteX93" fmla="*/ 825635 w 1016595"/>
                <a:gd name="connsiteY93" fmla="*/ 421947 h 1226416"/>
                <a:gd name="connsiteX94" fmla="*/ 830123 w 1016595"/>
                <a:gd name="connsiteY94" fmla="*/ 407981 h 1226416"/>
                <a:gd name="connsiteX95" fmla="*/ 830123 w 1016595"/>
                <a:gd name="connsiteY95" fmla="*/ 402486 h 1226416"/>
                <a:gd name="connsiteX96" fmla="*/ 839619 w 1016595"/>
                <a:gd name="connsiteY96" fmla="*/ 402486 h 1226416"/>
                <a:gd name="connsiteX97" fmla="*/ 854642 w 1016595"/>
                <a:gd name="connsiteY97" fmla="*/ 397993 h 1226416"/>
                <a:gd name="connsiteX98" fmla="*/ 854642 w 1016595"/>
                <a:gd name="connsiteY98" fmla="*/ 402486 h 1226416"/>
                <a:gd name="connsiteX99" fmla="*/ 860170 w 1016595"/>
                <a:gd name="connsiteY99" fmla="*/ 402486 h 1226416"/>
                <a:gd name="connsiteX100" fmla="*/ 860170 w 1016595"/>
                <a:gd name="connsiteY100" fmla="*/ 397993 h 1226416"/>
                <a:gd name="connsiteX101" fmla="*/ 869665 w 1016595"/>
                <a:gd name="connsiteY101" fmla="*/ 397993 h 1226416"/>
                <a:gd name="connsiteX102" fmla="*/ 869665 w 1016595"/>
                <a:gd name="connsiteY102" fmla="*/ 402486 h 1226416"/>
                <a:gd name="connsiteX103" fmla="*/ 879681 w 1016595"/>
                <a:gd name="connsiteY103" fmla="*/ 407981 h 1226416"/>
                <a:gd name="connsiteX104" fmla="*/ 879681 w 1016595"/>
                <a:gd name="connsiteY104" fmla="*/ 412474 h 1226416"/>
                <a:gd name="connsiteX105" fmla="*/ 893712 w 1016595"/>
                <a:gd name="connsiteY105" fmla="*/ 407981 h 1226416"/>
                <a:gd name="connsiteX106" fmla="*/ 908735 w 1016595"/>
                <a:gd name="connsiteY106" fmla="*/ 402486 h 1226416"/>
                <a:gd name="connsiteX107" fmla="*/ 918231 w 1016595"/>
                <a:gd name="connsiteY107" fmla="*/ 402486 h 1226416"/>
                <a:gd name="connsiteX108" fmla="*/ 933254 w 1016595"/>
                <a:gd name="connsiteY108" fmla="*/ 392983 h 1226416"/>
                <a:gd name="connsiteX109" fmla="*/ 933254 w 1016595"/>
                <a:gd name="connsiteY109" fmla="*/ 402486 h 1226416"/>
                <a:gd name="connsiteX110" fmla="*/ 943269 w 1016595"/>
                <a:gd name="connsiteY110" fmla="*/ 402486 h 1226416"/>
                <a:gd name="connsiteX111" fmla="*/ 947804 w 1016595"/>
                <a:gd name="connsiteY111" fmla="*/ 421947 h 1226416"/>
                <a:gd name="connsiteX112" fmla="*/ 952812 w 1016595"/>
                <a:gd name="connsiteY112" fmla="*/ 421947 h 1226416"/>
                <a:gd name="connsiteX113" fmla="*/ 957300 w 1016595"/>
                <a:gd name="connsiteY113" fmla="*/ 417454 h 1226416"/>
                <a:gd name="connsiteX114" fmla="*/ 962828 w 1016595"/>
                <a:gd name="connsiteY114" fmla="*/ 421947 h 1226416"/>
                <a:gd name="connsiteX115" fmla="*/ 967316 w 1016595"/>
                <a:gd name="connsiteY115" fmla="*/ 436914 h 1226416"/>
                <a:gd name="connsiteX116" fmla="*/ 972323 w 1016595"/>
                <a:gd name="connsiteY116" fmla="*/ 441408 h 1226416"/>
                <a:gd name="connsiteX117" fmla="*/ 972323 w 1016595"/>
                <a:gd name="connsiteY117" fmla="*/ 446417 h 1226416"/>
                <a:gd name="connsiteX118" fmla="*/ 981819 w 1016595"/>
                <a:gd name="connsiteY118" fmla="*/ 446417 h 1226416"/>
                <a:gd name="connsiteX119" fmla="*/ 981819 w 1016595"/>
                <a:gd name="connsiteY119" fmla="*/ 441408 h 1226416"/>
                <a:gd name="connsiteX120" fmla="*/ 976811 w 1016595"/>
                <a:gd name="connsiteY120" fmla="*/ 436914 h 1226416"/>
                <a:gd name="connsiteX121" fmla="*/ 981819 w 1016595"/>
                <a:gd name="connsiteY121" fmla="*/ 431935 h 1226416"/>
                <a:gd name="connsiteX122" fmla="*/ 986354 w 1016595"/>
                <a:gd name="connsiteY122" fmla="*/ 436914 h 1226416"/>
                <a:gd name="connsiteX123" fmla="*/ 996370 w 1016595"/>
                <a:gd name="connsiteY123" fmla="*/ 441408 h 1226416"/>
                <a:gd name="connsiteX124" fmla="*/ 1001377 w 1016595"/>
                <a:gd name="connsiteY124" fmla="*/ 451396 h 1226416"/>
                <a:gd name="connsiteX125" fmla="*/ 991834 w 1016595"/>
                <a:gd name="connsiteY125" fmla="*/ 456406 h 1226416"/>
                <a:gd name="connsiteX126" fmla="*/ 976811 w 1016595"/>
                <a:gd name="connsiteY126" fmla="*/ 470371 h 1226416"/>
                <a:gd name="connsiteX127" fmla="*/ 976811 w 1016595"/>
                <a:gd name="connsiteY127" fmla="*/ 485369 h 1226416"/>
                <a:gd name="connsiteX128" fmla="*/ 976811 w 1016595"/>
                <a:gd name="connsiteY128" fmla="*/ 499851 h 1226416"/>
                <a:gd name="connsiteX129" fmla="*/ 972323 w 1016595"/>
                <a:gd name="connsiteY129" fmla="*/ 514819 h 1226416"/>
                <a:gd name="connsiteX130" fmla="*/ 981819 w 1016595"/>
                <a:gd name="connsiteY130" fmla="*/ 519312 h 1226416"/>
                <a:gd name="connsiteX131" fmla="*/ 981819 w 1016595"/>
                <a:gd name="connsiteY131" fmla="*/ 514819 h 1226416"/>
                <a:gd name="connsiteX132" fmla="*/ 991834 w 1016595"/>
                <a:gd name="connsiteY132" fmla="*/ 514819 h 1226416"/>
                <a:gd name="connsiteX133" fmla="*/ 996370 w 1016595"/>
                <a:gd name="connsiteY133" fmla="*/ 528815 h 1226416"/>
                <a:gd name="connsiteX134" fmla="*/ 1006858 w 1016595"/>
                <a:gd name="connsiteY134" fmla="*/ 543783 h 1226416"/>
                <a:gd name="connsiteX135" fmla="*/ 1006858 w 1016595"/>
                <a:gd name="connsiteY135" fmla="*/ 548276 h 1226416"/>
                <a:gd name="connsiteX136" fmla="*/ 1006858 w 1016595"/>
                <a:gd name="connsiteY136" fmla="*/ 553285 h 1226416"/>
                <a:gd name="connsiteX137" fmla="*/ 986354 w 1016595"/>
                <a:gd name="connsiteY137" fmla="*/ 563274 h 1226416"/>
                <a:gd name="connsiteX138" fmla="*/ 981819 w 1016595"/>
                <a:gd name="connsiteY138" fmla="*/ 563274 h 1226416"/>
                <a:gd name="connsiteX139" fmla="*/ 972323 w 1016595"/>
                <a:gd name="connsiteY139" fmla="*/ 577240 h 1226416"/>
                <a:gd name="connsiteX140" fmla="*/ 981819 w 1016595"/>
                <a:gd name="connsiteY140" fmla="*/ 592237 h 1226416"/>
                <a:gd name="connsiteX141" fmla="*/ 976811 w 1016595"/>
                <a:gd name="connsiteY141" fmla="*/ 602226 h 1226416"/>
                <a:gd name="connsiteX142" fmla="*/ 962828 w 1016595"/>
                <a:gd name="connsiteY142" fmla="*/ 606719 h 1226416"/>
                <a:gd name="connsiteX143" fmla="*/ 957300 w 1016595"/>
                <a:gd name="connsiteY143" fmla="*/ 602226 h 1226416"/>
                <a:gd name="connsiteX144" fmla="*/ 955851 w 1016595"/>
                <a:gd name="connsiteY144" fmla="*/ 602226 h 1226416"/>
                <a:gd name="connsiteX145" fmla="*/ 955851 w 1016595"/>
                <a:gd name="connsiteY145" fmla="*/ 604063 h 1226416"/>
                <a:gd name="connsiteX146" fmla="*/ 957552 w 1016595"/>
                <a:gd name="connsiteY146" fmla="*/ 604063 h 1226416"/>
                <a:gd name="connsiteX147" fmla="*/ 962586 w 1016595"/>
                <a:gd name="connsiteY147" fmla="*/ 608557 h 1226416"/>
                <a:gd name="connsiteX148" fmla="*/ 977080 w 1016595"/>
                <a:gd name="connsiteY148" fmla="*/ 604063 h 1226416"/>
                <a:gd name="connsiteX149" fmla="*/ 986590 w 1016595"/>
                <a:gd name="connsiteY149" fmla="*/ 604063 h 1226416"/>
                <a:gd name="connsiteX150" fmla="*/ 996609 w 1016595"/>
                <a:gd name="connsiteY150" fmla="*/ 608557 h 1226416"/>
                <a:gd name="connsiteX151" fmla="*/ 996609 w 1016595"/>
                <a:gd name="connsiteY151" fmla="*/ 613551 h 1226416"/>
                <a:gd name="connsiteX152" fmla="*/ 1006576 w 1016595"/>
                <a:gd name="connsiteY152" fmla="*/ 613551 h 1226416"/>
                <a:gd name="connsiteX153" fmla="*/ 1011102 w 1016595"/>
                <a:gd name="connsiteY153" fmla="*/ 613551 h 1226416"/>
                <a:gd name="connsiteX154" fmla="*/ 1006576 w 1016595"/>
                <a:gd name="connsiteY154" fmla="*/ 637563 h 1226416"/>
                <a:gd name="connsiteX155" fmla="*/ 1011102 w 1016595"/>
                <a:gd name="connsiteY155" fmla="*/ 637563 h 1226416"/>
                <a:gd name="connsiteX156" fmla="*/ 1011102 w 1016595"/>
                <a:gd name="connsiteY156" fmla="*/ 643056 h 1226416"/>
                <a:gd name="connsiteX157" fmla="*/ 1016595 w 1016595"/>
                <a:gd name="connsiteY157" fmla="*/ 643056 h 1226416"/>
                <a:gd name="connsiteX158" fmla="*/ 1016595 w 1016595"/>
                <a:gd name="connsiteY158" fmla="*/ 662532 h 1226416"/>
                <a:gd name="connsiteX159" fmla="*/ 1016595 w 1016595"/>
                <a:gd name="connsiteY159" fmla="*/ 672062 h 1226416"/>
                <a:gd name="connsiteX160" fmla="*/ 1011102 w 1016595"/>
                <a:gd name="connsiteY160" fmla="*/ 672062 h 1226416"/>
                <a:gd name="connsiteX161" fmla="*/ 1011102 w 1016595"/>
                <a:gd name="connsiteY161" fmla="*/ 681550 h 1226416"/>
                <a:gd name="connsiteX162" fmla="*/ 1006576 w 1016595"/>
                <a:gd name="connsiteY162" fmla="*/ 696032 h 1226416"/>
                <a:gd name="connsiteX163" fmla="*/ 1011102 w 1016595"/>
                <a:gd name="connsiteY163" fmla="*/ 701026 h 1226416"/>
                <a:gd name="connsiteX164" fmla="*/ 1001592 w 1016595"/>
                <a:gd name="connsiteY164" fmla="*/ 711055 h 1226416"/>
                <a:gd name="connsiteX165" fmla="*/ 1001592 w 1016595"/>
                <a:gd name="connsiteY165" fmla="*/ 715549 h 1226416"/>
                <a:gd name="connsiteX166" fmla="*/ 1011102 w 1016595"/>
                <a:gd name="connsiteY166" fmla="*/ 715549 h 1226416"/>
                <a:gd name="connsiteX167" fmla="*/ 1016595 w 1016595"/>
                <a:gd name="connsiteY167" fmla="*/ 720543 h 1226416"/>
                <a:gd name="connsiteX168" fmla="*/ 1011102 w 1016595"/>
                <a:gd name="connsiteY168" fmla="*/ 725038 h 1226416"/>
                <a:gd name="connsiteX169" fmla="*/ 1011102 w 1016595"/>
                <a:gd name="connsiteY169" fmla="*/ 735025 h 1226416"/>
                <a:gd name="connsiteX170" fmla="*/ 1011102 w 1016595"/>
                <a:gd name="connsiteY170" fmla="*/ 740019 h 1226416"/>
                <a:gd name="connsiteX171" fmla="*/ 1001592 w 1016595"/>
                <a:gd name="connsiteY171" fmla="*/ 744513 h 1226416"/>
                <a:gd name="connsiteX172" fmla="*/ 996609 w 1016595"/>
                <a:gd name="connsiteY172" fmla="*/ 744513 h 1226416"/>
                <a:gd name="connsiteX173" fmla="*/ 996609 w 1016595"/>
                <a:gd name="connsiteY173" fmla="*/ 754543 h 1226416"/>
                <a:gd name="connsiteX174" fmla="*/ 991574 w 1016595"/>
                <a:gd name="connsiteY174" fmla="*/ 754543 h 1226416"/>
                <a:gd name="connsiteX175" fmla="*/ 986590 w 1016595"/>
                <a:gd name="connsiteY175" fmla="*/ 759536 h 1226416"/>
                <a:gd name="connsiteX176" fmla="*/ 982064 w 1016595"/>
                <a:gd name="connsiteY176" fmla="*/ 759536 h 1226416"/>
                <a:gd name="connsiteX177" fmla="*/ 982064 w 1016595"/>
                <a:gd name="connsiteY177" fmla="*/ 769524 h 1226416"/>
                <a:gd name="connsiteX178" fmla="*/ 977080 w 1016595"/>
                <a:gd name="connsiteY178" fmla="*/ 769524 h 1226416"/>
                <a:gd name="connsiteX179" fmla="*/ 972554 w 1016595"/>
                <a:gd name="connsiteY179" fmla="*/ 783507 h 1226416"/>
                <a:gd name="connsiteX180" fmla="*/ 972554 w 1016595"/>
                <a:gd name="connsiteY180" fmla="*/ 788501 h 1226416"/>
                <a:gd name="connsiteX181" fmla="*/ 972554 w 1016595"/>
                <a:gd name="connsiteY181" fmla="*/ 793037 h 1226416"/>
                <a:gd name="connsiteX182" fmla="*/ 962586 w 1016595"/>
                <a:gd name="connsiteY182" fmla="*/ 793037 h 1226416"/>
                <a:gd name="connsiteX183" fmla="*/ 957552 w 1016595"/>
                <a:gd name="connsiteY183" fmla="*/ 793037 h 1226416"/>
                <a:gd name="connsiteX184" fmla="*/ 947584 w 1016595"/>
                <a:gd name="connsiteY184" fmla="*/ 788501 h 1226416"/>
                <a:gd name="connsiteX185" fmla="*/ 938074 w 1016595"/>
                <a:gd name="connsiteY185" fmla="*/ 798530 h 1226416"/>
                <a:gd name="connsiteX186" fmla="*/ 943058 w 1016595"/>
                <a:gd name="connsiteY186" fmla="*/ 803024 h 1226416"/>
                <a:gd name="connsiteX187" fmla="*/ 953077 w 1016595"/>
                <a:gd name="connsiteY187" fmla="*/ 812512 h 1226416"/>
                <a:gd name="connsiteX188" fmla="*/ 953077 w 1016595"/>
                <a:gd name="connsiteY188" fmla="*/ 822500 h 1226416"/>
                <a:gd name="connsiteX189" fmla="*/ 957552 w 1016595"/>
                <a:gd name="connsiteY189" fmla="*/ 827494 h 1226416"/>
                <a:gd name="connsiteX190" fmla="*/ 947584 w 1016595"/>
                <a:gd name="connsiteY190" fmla="*/ 837523 h 1226416"/>
                <a:gd name="connsiteX191" fmla="*/ 953077 w 1016595"/>
                <a:gd name="connsiteY191" fmla="*/ 842017 h 1226416"/>
                <a:gd name="connsiteX192" fmla="*/ 957552 w 1016595"/>
                <a:gd name="connsiteY192" fmla="*/ 842017 h 1226416"/>
                <a:gd name="connsiteX193" fmla="*/ 957552 w 1016595"/>
                <a:gd name="connsiteY193" fmla="*/ 851506 h 1226416"/>
                <a:gd name="connsiteX194" fmla="*/ 953077 w 1016595"/>
                <a:gd name="connsiteY194" fmla="*/ 851506 h 1226416"/>
                <a:gd name="connsiteX195" fmla="*/ 953077 w 1016595"/>
                <a:gd name="connsiteY195" fmla="*/ 856999 h 1226416"/>
                <a:gd name="connsiteX196" fmla="*/ 947584 w 1016595"/>
                <a:gd name="connsiteY196" fmla="*/ 861493 h 1226416"/>
                <a:gd name="connsiteX197" fmla="*/ 947584 w 1016595"/>
                <a:gd name="connsiteY197" fmla="*/ 866487 h 1226416"/>
                <a:gd name="connsiteX198" fmla="*/ 947584 w 1016595"/>
                <a:gd name="connsiteY198" fmla="*/ 870982 h 1226416"/>
                <a:gd name="connsiteX199" fmla="*/ 947584 w 1016595"/>
                <a:gd name="connsiteY199" fmla="*/ 881011 h 1226416"/>
                <a:gd name="connsiteX200" fmla="*/ 953077 w 1016595"/>
                <a:gd name="connsiteY200" fmla="*/ 886005 h 1226416"/>
                <a:gd name="connsiteX201" fmla="*/ 953077 w 1016595"/>
                <a:gd name="connsiteY201" fmla="*/ 895493 h 1226416"/>
                <a:gd name="connsiteX202" fmla="*/ 947584 w 1016595"/>
                <a:gd name="connsiteY202" fmla="*/ 899987 h 1226416"/>
                <a:gd name="connsiteX203" fmla="*/ 947584 w 1016595"/>
                <a:gd name="connsiteY203" fmla="*/ 905480 h 1226416"/>
                <a:gd name="connsiteX204" fmla="*/ 947584 w 1016595"/>
                <a:gd name="connsiteY204" fmla="*/ 909975 h 1226416"/>
                <a:gd name="connsiteX205" fmla="*/ 953077 w 1016595"/>
                <a:gd name="connsiteY205" fmla="*/ 915010 h 1226416"/>
                <a:gd name="connsiteX206" fmla="*/ 947584 w 1016595"/>
                <a:gd name="connsiteY206" fmla="*/ 924998 h 1226416"/>
                <a:gd name="connsiteX207" fmla="*/ 947584 w 1016595"/>
                <a:gd name="connsiteY207" fmla="*/ 938981 h 1226416"/>
                <a:gd name="connsiteX208" fmla="*/ 938074 w 1016595"/>
                <a:gd name="connsiteY208" fmla="*/ 938981 h 1226416"/>
                <a:gd name="connsiteX209" fmla="*/ 928056 w 1016595"/>
                <a:gd name="connsiteY209" fmla="*/ 929492 h 1226416"/>
                <a:gd name="connsiteX210" fmla="*/ 918546 w 1016595"/>
                <a:gd name="connsiteY210" fmla="*/ 929492 h 1226416"/>
                <a:gd name="connsiteX211" fmla="*/ 908527 w 1016595"/>
                <a:gd name="connsiteY211" fmla="*/ 919505 h 1226416"/>
                <a:gd name="connsiteX212" fmla="*/ 903544 w 1016595"/>
                <a:gd name="connsiteY212" fmla="*/ 915010 h 1226416"/>
                <a:gd name="connsiteX213" fmla="*/ 899018 w 1016595"/>
                <a:gd name="connsiteY213" fmla="*/ 919505 h 1226416"/>
                <a:gd name="connsiteX214" fmla="*/ 894034 w 1016595"/>
                <a:gd name="connsiteY214" fmla="*/ 924998 h 1226416"/>
                <a:gd name="connsiteX215" fmla="*/ 884015 w 1016595"/>
                <a:gd name="connsiteY215" fmla="*/ 929492 h 1226416"/>
                <a:gd name="connsiteX216" fmla="*/ 884015 w 1016595"/>
                <a:gd name="connsiteY216" fmla="*/ 938981 h 1226416"/>
                <a:gd name="connsiteX217" fmla="*/ 879540 w 1016595"/>
                <a:gd name="connsiteY217" fmla="*/ 938981 h 1226416"/>
                <a:gd name="connsiteX218" fmla="*/ 879540 w 1016595"/>
                <a:gd name="connsiteY218" fmla="*/ 944474 h 1226416"/>
                <a:gd name="connsiteX219" fmla="*/ 879540 w 1016595"/>
                <a:gd name="connsiteY219" fmla="*/ 948968 h 1226416"/>
                <a:gd name="connsiteX220" fmla="*/ 874505 w 1016595"/>
                <a:gd name="connsiteY220" fmla="*/ 948968 h 1226416"/>
                <a:gd name="connsiteX221" fmla="*/ 870030 w 1016595"/>
                <a:gd name="connsiteY221" fmla="*/ 944474 h 1226416"/>
                <a:gd name="connsiteX222" fmla="*/ 860012 w 1016595"/>
                <a:gd name="connsiteY222" fmla="*/ 944474 h 1226416"/>
                <a:gd name="connsiteX223" fmla="*/ 849485 w 1016595"/>
                <a:gd name="connsiteY223" fmla="*/ 944474 h 1226416"/>
                <a:gd name="connsiteX224" fmla="*/ 845009 w 1016595"/>
                <a:gd name="connsiteY224" fmla="*/ 948968 h 1226416"/>
                <a:gd name="connsiteX225" fmla="*/ 839975 w 1016595"/>
                <a:gd name="connsiteY225" fmla="*/ 948968 h 1226416"/>
                <a:gd name="connsiteX226" fmla="*/ 839975 w 1016595"/>
                <a:gd name="connsiteY226" fmla="*/ 958498 h 1226416"/>
                <a:gd name="connsiteX227" fmla="*/ 830516 w 1016595"/>
                <a:gd name="connsiteY227" fmla="*/ 953962 h 1226416"/>
                <a:gd name="connsiteX228" fmla="*/ 825990 w 1016595"/>
                <a:gd name="connsiteY228" fmla="*/ 958498 h 1226416"/>
                <a:gd name="connsiteX229" fmla="*/ 820497 w 1016595"/>
                <a:gd name="connsiteY229" fmla="*/ 958498 h 1226416"/>
                <a:gd name="connsiteX230" fmla="*/ 815971 w 1016595"/>
                <a:gd name="connsiteY230" fmla="*/ 963991 h 1226416"/>
                <a:gd name="connsiteX231" fmla="*/ 806461 w 1016595"/>
                <a:gd name="connsiteY231" fmla="*/ 968486 h 1226416"/>
                <a:gd name="connsiteX232" fmla="*/ 806461 w 1016595"/>
                <a:gd name="connsiteY232" fmla="*/ 973479 h 1226416"/>
                <a:gd name="connsiteX233" fmla="*/ 810987 w 1016595"/>
                <a:gd name="connsiteY233" fmla="*/ 982968 h 1226416"/>
                <a:gd name="connsiteX234" fmla="*/ 810987 w 1016595"/>
                <a:gd name="connsiteY234" fmla="*/ 987961 h 1226416"/>
                <a:gd name="connsiteX235" fmla="*/ 810987 w 1016595"/>
                <a:gd name="connsiteY235" fmla="*/ 992955 h 1226416"/>
                <a:gd name="connsiteX236" fmla="*/ 810987 w 1016595"/>
                <a:gd name="connsiteY236" fmla="*/ 997450 h 1226416"/>
                <a:gd name="connsiteX237" fmla="*/ 815971 w 1016595"/>
                <a:gd name="connsiteY237" fmla="*/ 1006980 h 1226416"/>
                <a:gd name="connsiteX238" fmla="*/ 810987 w 1016595"/>
                <a:gd name="connsiteY238" fmla="*/ 1021961 h 1226416"/>
                <a:gd name="connsiteX239" fmla="*/ 815971 w 1016595"/>
                <a:gd name="connsiteY239" fmla="*/ 1026455 h 1226416"/>
                <a:gd name="connsiteX240" fmla="*/ 820497 w 1016595"/>
                <a:gd name="connsiteY240" fmla="*/ 1031949 h 1226416"/>
                <a:gd name="connsiteX241" fmla="*/ 825990 w 1016595"/>
                <a:gd name="connsiteY241" fmla="*/ 1026455 h 1226416"/>
                <a:gd name="connsiteX242" fmla="*/ 830516 w 1016595"/>
                <a:gd name="connsiteY242" fmla="*/ 1031949 h 1226416"/>
                <a:gd name="connsiteX243" fmla="*/ 825990 w 1016595"/>
                <a:gd name="connsiteY243" fmla="*/ 1036443 h 1226416"/>
                <a:gd name="connsiteX244" fmla="*/ 830516 w 1016595"/>
                <a:gd name="connsiteY244" fmla="*/ 1041478 h 1226416"/>
                <a:gd name="connsiteX245" fmla="*/ 839975 w 1016595"/>
                <a:gd name="connsiteY245" fmla="*/ 1041478 h 1226416"/>
                <a:gd name="connsiteX246" fmla="*/ 845009 w 1016595"/>
                <a:gd name="connsiteY246" fmla="*/ 1041478 h 1226416"/>
                <a:gd name="connsiteX247" fmla="*/ 845009 w 1016595"/>
                <a:gd name="connsiteY247" fmla="*/ 1051466 h 1226416"/>
                <a:gd name="connsiteX248" fmla="*/ 839975 w 1016595"/>
                <a:gd name="connsiteY248" fmla="*/ 1055960 h 1226416"/>
                <a:gd name="connsiteX249" fmla="*/ 830516 w 1016595"/>
                <a:gd name="connsiteY249" fmla="*/ 1060954 h 1226416"/>
                <a:gd name="connsiteX250" fmla="*/ 825990 w 1016595"/>
                <a:gd name="connsiteY250" fmla="*/ 1060954 h 1226416"/>
                <a:gd name="connsiteX251" fmla="*/ 820497 w 1016595"/>
                <a:gd name="connsiteY251" fmla="*/ 1055960 h 1226416"/>
                <a:gd name="connsiteX252" fmla="*/ 800969 w 1016595"/>
                <a:gd name="connsiteY252" fmla="*/ 1055960 h 1226416"/>
                <a:gd name="connsiteX253" fmla="*/ 800969 w 1016595"/>
                <a:gd name="connsiteY253" fmla="*/ 1060954 h 1226416"/>
                <a:gd name="connsiteX254" fmla="*/ 791459 w 1016595"/>
                <a:gd name="connsiteY254" fmla="*/ 1075436 h 1226416"/>
                <a:gd name="connsiteX255" fmla="*/ 800969 w 1016595"/>
                <a:gd name="connsiteY255" fmla="*/ 1080430 h 1226416"/>
                <a:gd name="connsiteX256" fmla="*/ 800969 w 1016595"/>
                <a:gd name="connsiteY256" fmla="*/ 1089960 h 1226416"/>
                <a:gd name="connsiteX257" fmla="*/ 806461 w 1016595"/>
                <a:gd name="connsiteY257" fmla="*/ 1094454 h 1226416"/>
                <a:gd name="connsiteX258" fmla="*/ 806461 w 1016595"/>
                <a:gd name="connsiteY258" fmla="*/ 1099948 h 1226416"/>
                <a:gd name="connsiteX259" fmla="*/ 796494 w 1016595"/>
                <a:gd name="connsiteY259" fmla="*/ 1099948 h 1226416"/>
                <a:gd name="connsiteX260" fmla="*/ 791459 w 1016595"/>
                <a:gd name="connsiteY260" fmla="*/ 1099948 h 1226416"/>
                <a:gd name="connsiteX261" fmla="*/ 791459 w 1016595"/>
                <a:gd name="connsiteY261" fmla="*/ 1104442 h 1226416"/>
                <a:gd name="connsiteX262" fmla="*/ 786984 w 1016595"/>
                <a:gd name="connsiteY262" fmla="*/ 1109436 h 1226416"/>
                <a:gd name="connsiteX263" fmla="*/ 786984 w 1016595"/>
                <a:gd name="connsiteY263" fmla="*/ 1119423 h 1226416"/>
                <a:gd name="connsiteX264" fmla="*/ 796494 w 1016595"/>
                <a:gd name="connsiteY264" fmla="*/ 1119423 h 1226416"/>
                <a:gd name="connsiteX265" fmla="*/ 815971 w 1016595"/>
                <a:gd name="connsiteY265" fmla="*/ 1119423 h 1226416"/>
                <a:gd name="connsiteX266" fmla="*/ 820497 w 1016595"/>
                <a:gd name="connsiteY266" fmla="*/ 1128953 h 1226416"/>
                <a:gd name="connsiteX267" fmla="*/ 815971 w 1016595"/>
                <a:gd name="connsiteY267" fmla="*/ 1133448 h 1226416"/>
                <a:gd name="connsiteX268" fmla="*/ 806461 w 1016595"/>
                <a:gd name="connsiteY268" fmla="*/ 1138941 h 1226416"/>
                <a:gd name="connsiteX269" fmla="*/ 800969 w 1016595"/>
                <a:gd name="connsiteY269" fmla="*/ 1158417 h 1226416"/>
                <a:gd name="connsiteX270" fmla="*/ 791459 w 1016595"/>
                <a:gd name="connsiteY270" fmla="*/ 1162911 h 1226416"/>
                <a:gd name="connsiteX271" fmla="*/ 791459 w 1016595"/>
                <a:gd name="connsiteY271" fmla="*/ 1172441 h 1226416"/>
                <a:gd name="connsiteX272" fmla="*/ 786984 w 1016595"/>
                <a:gd name="connsiteY272" fmla="*/ 1172441 h 1226416"/>
                <a:gd name="connsiteX273" fmla="*/ 786984 w 1016595"/>
                <a:gd name="connsiteY273" fmla="*/ 1182429 h 1226416"/>
                <a:gd name="connsiteX274" fmla="*/ 766947 w 1016595"/>
                <a:gd name="connsiteY274" fmla="*/ 1187422 h 1226416"/>
                <a:gd name="connsiteX275" fmla="*/ 766947 w 1016595"/>
                <a:gd name="connsiteY275" fmla="*/ 1191917 h 1226416"/>
                <a:gd name="connsiteX276" fmla="*/ 756928 w 1016595"/>
                <a:gd name="connsiteY276" fmla="*/ 1211434 h 1226416"/>
                <a:gd name="connsiteX277" fmla="*/ 752453 w 1016595"/>
                <a:gd name="connsiteY277" fmla="*/ 1211434 h 1226416"/>
                <a:gd name="connsiteX278" fmla="*/ 752453 w 1016595"/>
                <a:gd name="connsiteY278" fmla="*/ 1216428 h 1226416"/>
                <a:gd name="connsiteX279" fmla="*/ 752453 w 1016595"/>
                <a:gd name="connsiteY279" fmla="*/ 1220923 h 1226416"/>
                <a:gd name="connsiteX280" fmla="*/ 747418 w 1016595"/>
                <a:gd name="connsiteY280" fmla="*/ 1220923 h 1226416"/>
                <a:gd name="connsiteX281" fmla="*/ 742943 w 1016595"/>
                <a:gd name="connsiteY281" fmla="*/ 1226416 h 1226416"/>
                <a:gd name="connsiteX282" fmla="*/ 737451 w 1016595"/>
                <a:gd name="connsiteY282" fmla="*/ 1226416 h 1226416"/>
                <a:gd name="connsiteX283" fmla="*/ 742943 w 1016595"/>
                <a:gd name="connsiteY283" fmla="*/ 1216428 h 1226416"/>
                <a:gd name="connsiteX284" fmla="*/ 723415 w 1016595"/>
                <a:gd name="connsiteY284" fmla="*/ 1211434 h 1226416"/>
                <a:gd name="connsiteX285" fmla="*/ 723415 w 1016595"/>
                <a:gd name="connsiteY285" fmla="*/ 1206940 h 1226416"/>
                <a:gd name="connsiteX286" fmla="*/ 717922 w 1016595"/>
                <a:gd name="connsiteY286" fmla="*/ 1206940 h 1226416"/>
                <a:gd name="connsiteX287" fmla="*/ 717922 w 1016595"/>
                <a:gd name="connsiteY287" fmla="*/ 1211434 h 1226416"/>
                <a:gd name="connsiteX288" fmla="*/ 713447 w 1016595"/>
                <a:gd name="connsiteY288" fmla="*/ 1211434 h 1226416"/>
                <a:gd name="connsiteX289" fmla="*/ 708412 w 1016595"/>
                <a:gd name="connsiteY289" fmla="*/ 1182429 h 1226416"/>
                <a:gd name="connsiteX290" fmla="*/ 698394 w 1016595"/>
                <a:gd name="connsiteY290" fmla="*/ 1191917 h 1226416"/>
                <a:gd name="connsiteX291" fmla="*/ 688884 w 1016595"/>
                <a:gd name="connsiteY291" fmla="*/ 1187422 h 1226416"/>
                <a:gd name="connsiteX292" fmla="*/ 688884 w 1016595"/>
                <a:gd name="connsiteY292" fmla="*/ 1172441 h 1226416"/>
                <a:gd name="connsiteX293" fmla="*/ 673882 w 1016595"/>
                <a:gd name="connsiteY293" fmla="*/ 1172441 h 1226416"/>
                <a:gd name="connsiteX294" fmla="*/ 669407 w 1016595"/>
                <a:gd name="connsiteY294" fmla="*/ 1167947 h 1226416"/>
                <a:gd name="connsiteX295" fmla="*/ 669407 w 1016595"/>
                <a:gd name="connsiteY295" fmla="*/ 1162911 h 1226416"/>
                <a:gd name="connsiteX296" fmla="*/ 669407 w 1016595"/>
                <a:gd name="connsiteY296" fmla="*/ 1152924 h 1226416"/>
                <a:gd name="connsiteX297" fmla="*/ 659897 w 1016595"/>
                <a:gd name="connsiteY297" fmla="*/ 1152924 h 1226416"/>
                <a:gd name="connsiteX298" fmla="*/ 659897 w 1016595"/>
                <a:gd name="connsiteY298" fmla="*/ 1148429 h 1226416"/>
                <a:gd name="connsiteX299" fmla="*/ 649878 w 1016595"/>
                <a:gd name="connsiteY299" fmla="*/ 1143435 h 1226416"/>
                <a:gd name="connsiteX300" fmla="*/ 649878 w 1016595"/>
                <a:gd name="connsiteY300" fmla="*/ 1138941 h 1226416"/>
                <a:gd name="connsiteX301" fmla="*/ 634876 w 1016595"/>
                <a:gd name="connsiteY301" fmla="*/ 1128953 h 1226416"/>
                <a:gd name="connsiteX302" fmla="*/ 634876 w 1016595"/>
                <a:gd name="connsiteY302" fmla="*/ 1123959 h 1226416"/>
                <a:gd name="connsiteX303" fmla="*/ 644894 w 1016595"/>
                <a:gd name="connsiteY303" fmla="*/ 1113930 h 1226416"/>
                <a:gd name="connsiteX304" fmla="*/ 640368 w 1016595"/>
                <a:gd name="connsiteY304" fmla="*/ 1109436 h 1226416"/>
                <a:gd name="connsiteX305" fmla="*/ 634876 w 1016595"/>
                <a:gd name="connsiteY305" fmla="*/ 1099948 h 1226416"/>
                <a:gd name="connsiteX306" fmla="*/ 629892 w 1016595"/>
                <a:gd name="connsiteY306" fmla="*/ 1099948 h 1226416"/>
                <a:gd name="connsiteX307" fmla="*/ 634876 w 1016595"/>
                <a:gd name="connsiteY307" fmla="*/ 1089960 h 1226416"/>
                <a:gd name="connsiteX308" fmla="*/ 620382 w 1016595"/>
                <a:gd name="connsiteY308" fmla="*/ 1080430 h 1226416"/>
                <a:gd name="connsiteX309" fmla="*/ 615348 w 1016595"/>
                <a:gd name="connsiteY309" fmla="*/ 1084966 h 1226416"/>
                <a:gd name="connsiteX310" fmla="*/ 600854 w 1016595"/>
                <a:gd name="connsiteY310" fmla="*/ 1080430 h 1226416"/>
                <a:gd name="connsiteX311" fmla="*/ 596379 w 1016595"/>
                <a:gd name="connsiteY311" fmla="*/ 1084966 h 1226416"/>
                <a:gd name="connsiteX312" fmla="*/ 596379 w 1016595"/>
                <a:gd name="connsiteY312" fmla="*/ 1094454 h 1226416"/>
                <a:gd name="connsiteX313" fmla="*/ 590835 w 1016595"/>
                <a:gd name="connsiteY313" fmla="*/ 1094454 h 1226416"/>
                <a:gd name="connsiteX314" fmla="*/ 581325 w 1016595"/>
                <a:gd name="connsiteY314" fmla="*/ 1094454 h 1226416"/>
                <a:gd name="connsiteX315" fmla="*/ 571358 w 1016595"/>
                <a:gd name="connsiteY315" fmla="*/ 1104442 h 1226416"/>
                <a:gd name="connsiteX316" fmla="*/ 566832 w 1016595"/>
                <a:gd name="connsiteY316" fmla="*/ 1099948 h 1226416"/>
                <a:gd name="connsiteX317" fmla="*/ 566832 w 1016595"/>
                <a:gd name="connsiteY317" fmla="*/ 1094454 h 1226416"/>
                <a:gd name="connsiteX318" fmla="*/ 556305 w 1016595"/>
                <a:gd name="connsiteY318" fmla="*/ 1094454 h 1226416"/>
                <a:gd name="connsiteX319" fmla="*/ 551829 w 1016595"/>
                <a:gd name="connsiteY319" fmla="*/ 1099948 h 1226416"/>
                <a:gd name="connsiteX320" fmla="*/ 546846 w 1016595"/>
                <a:gd name="connsiteY320" fmla="*/ 1099948 h 1226416"/>
                <a:gd name="connsiteX321" fmla="*/ 542320 w 1016595"/>
                <a:gd name="connsiteY321" fmla="*/ 1094454 h 1226416"/>
                <a:gd name="connsiteX322" fmla="*/ 537336 w 1016595"/>
                <a:gd name="connsiteY322" fmla="*/ 1099948 h 1226416"/>
                <a:gd name="connsiteX323" fmla="*/ 522791 w 1016595"/>
                <a:gd name="connsiteY323" fmla="*/ 1104442 h 1226416"/>
                <a:gd name="connsiteX324" fmla="*/ 522791 w 1016595"/>
                <a:gd name="connsiteY324" fmla="*/ 1094454 h 1226416"/>
                <a:gd name="connsiteX325" fmla="*/ 517807 w 1016595"/>
                <a:gd name="connsiteY325" fmla="*/ 1099948 h 1226416"/>
                <a:gd name="connsiteX326" fmla="*/ 507789 w 1016595"/>
                <a:gd name="connsiteY326" fmla="*/ 1089960 h 1226416"/>
                <a:gd name="connsiteX327" fmla="*/ 503314 w 1016595"/>
                <a:gd name="connsiteY327" fmla="*/ 1094454 h 1226416"/>
                <a:gd name="connsiteX328" fmla="*/ 498279 w 1016595"/>
                <a:gd name="connsiteY328" fmla="*/ 1094454 h 1226416"/>
                <a:gd name="connsiteX329" fmla="*/ 493804 w 1016595"/>
                <a:gd name="connsiteY329" fmla="*/ 1099948 h 1226416"/>
                <a:gd name="connsiteX330" fmla="*/ 498279 w 1016595"/>
                <a:gd name="connsiteY330" fmla="*/ 1104442 h 1226416"/>
                <a:gd name="connsiteX331" fmla="*/ 493804 w 1016595"/>
                <a:gd name="connsiteY331" fmla="*/ 1109436 h 1226416"/>
                <a:gd name="connsiteX332" fmla="*/ 478801 w 1016595"/>
                <a:gd name="connsiteY332" fmla="*/ 1109436 h 1226416"/>
                <a:gd name="connsiteX333" fmla="*/ 478801 w 1016595"/>
                <a:gd name="connsiteY333" fmla="*/ 1099948 h 1226416"/>
                <a:gd name="connsiteX334" fmla="*/ 468783 w 1016595"/>
                <a:gd name="connsiteY334" fmla="*/ 1109436 h 1226416"/>
                <a:gd name="connsiteX335" fmla="*/ 463799 w 1016595"/>
                <a:gd name="connsiteY335" fmla="*/ 1104442 h 1226416"/>
                <a:gd name="connsiteX336" fmla="*/ 459273 w 1016595"/>
                <a:gd name="connsiteY336" fmla="*/ 1094454 h 1226416"/>
                <a:gd name="connsiteX337" fmla="*/ 444271 w 1016595"/>
                <a:gd name="connsiteY337" fmla="*/ 1084966 h 1226416"/>
                <a:gd name="connsiteX338" fmla="*/ 439745 w 1016595"/>
                <a:gd name="connsiteY338" fmla="*/ 1089960 h 1226416"/>
                <a:gd name="connsiteX339" fmla="*/ 434761 w 1016595"/>
                <a:gd name="connsiteY339" fmla="*/ 1089960 h 1226416"/>
                <a:gd name="connsiteX340" fmla="*/ 430235 w 1016595"/>
                <a:gd name="connsiteY340" fmla="*/ 1099948 h 1226416"/>
                <a:gd name="connsiteX341" fmla="*/ 424742 w 1016595"/>
                <a:gd name="connsiteY341" fmla="*/ 1099948 h 1226416"/>
                <a:gd name="connsiteX342" fmla="*/ 424742 w 1016595"/>
                <a:gd name="connsiteY342" fmla="*/ 1094454 h 1226416"/>
                <a:gd name="connsiteX343" fmla="*/ 420267 w 1016595"/>
                <a:gd name="connsiteY343" fmla="*/ 1089960 h 1226416"/>
                <a:gd name="connsiteX344" fmla="*/ 415233 w 1016595"/>
                <a:gd name="connsiteY344" fmla="*/ 1089960 h 1226416"/>
                <a:gd name="connsiteX345" fmla="*/ 415233 w 1016595"/>
                <a:gd name="connsiteY345" fmla="*/ 1075436 h 1226416"/>
                <a:gd name="connsiteX346" fmla="*/ 409740 w 1016595"/>
                <a:gd name="connsiteY346" fmla="*/ 1075436 h 1226416"/>
                <a:gd name="connsiteX347" fmla="*/ 405265 w 1016595"/>
                <a:gd name="connsiteY347" fmla="*/ 1084966 h 1226416"/>
                <a:gd name="connsiteX348" fmla="*/ 395755 w 1016595"/>
                <a:gd name="connsiteY348" fmla="*/ 1084966 h 1226416"/>
                <a:gd name="connsiteX349" fmla="*/ 395755 w 1016595"/>
                <a:gd name="connsiteY349" fmla="*/ 1075436 h 1226416"/>
                <a:gd name="connsiteX350" fmla="*/ 390720 w 1016595"/>
                <a:gd name="connsiteY350" fmla="*/ 1070443 h 1226416"/>
                <a:gd name="connsiteX351" fmla="*/ 380702 w 1016595"/>
                <a:gd name="connsiteY351" fmla="*/ 1070443 h 1226416"/>
                <a:gd name="connsiteX352" fmla="*/ 371243 w 1016595"/>
                <a:gd name="connsiteY352" fmla="*/ 1070443 h 1226416"/>
                <a:gd name="connsiteX353" fmla="*/ 371243 w 1016595"/>
                <a:gd name="connsiteY353" fmla="*/ 1065449 h 1226416"/>
                <a:gd name="connsiteX354" fmla="*/ 376227 w 1016595"/>
                <a:gd name="connsiteY354" fmla="*/ 1060954 h 1226416"/>
                <a:gd name="connsiteX355" fmla="*/ 351714 w 1016595"/>
                <a:gd name="connsiteY355" fmla="*/ 1055960 h 1226416"/>
                <a:gd name="connsiteX356" fmla="*/ 347188 w 1016595"/>
                <a:gd name="connsiteY356" fmla="*/ 1060954 h 1226416"/>
                <a:gd name="connsiteX357" fmla="*/ 332186 w 1016595"/>
                <a:gd name="connsiteY357" fmla="*/ 1041478 h 1226416"/>
                <a:gd name="connsiteX358" fmla="*/ 326694 w 1016595"/>
                <a:gd name="connsiteY358" fmla="*/ 1041478 h 1226416"/>
                <a:gd name="connsiteX359" fmla="*/ 322168 w 1016595"/>
                <a:gd name="connsiteY359" fmla="*/ 1041478 h 1226416"/>
                <a:gd name="connsiteX360" fmla="*/ 317184 w 1016595"/>
                <a:gd name="connsiteY360" fmla="*/ 1055960 h 1226416"/>
                <a:gd name="connsiteX361" fmla="*/ 312709 w 1016595"/>
                <a:gd name="connsiteY361" fmla="*/ 1055960 h 1226416"/>
                <a:gd name="connsiteX362" fmla="*/ 307674 w 1016595"/>
                <a:gd name="connsiteY362" fmla="*/ 1055960 h 1226416"/>
                <a:gd name="connsiteX363" fmla="*/ 302690 w 1016595"/>
                <a:gd name="connsiteY363" fmla="*/ 1060954 h 1226416"/>
                <a:gd name="connsiteX364" fmla="*/ 293180 w 1016595"/>
                <a:gd name="connsiteY364" fmla="*/ 1060954 h 1226416"/>
                <a:gd name="connsiteX365" fmla="*/ 293180 w 1016595"/>
                <a:gd name="connsiteY365" fmla="*/ 1055960 h 1226416"/>
                <a:gd name="connsiteX366" fmla="*/ 297655 w 1016595"/>
                <a:gd name="connsiteY366" fmla="*/ 1051466 h 1226416"/>
                <a:gd name="connsiteX367" fmla="*/ 293180 w 1016595"/>
                <a:gd name="connsiteY367" fmla="*/ 1045973 h 1226416"/>
                <a:gd name="connsiteX368" fmla="*/ 283670 w 1016595"/>
                <a:gd name="connsiteY368" fmla="*/ 1051466 h 1226416"/>
                <a:gd name="connsiteX369" fmla="*/ 283670 w 1016595"/>
                <a:gd name="connsiteY369" fmla="*/ 1045973 h 1226416"/>
                <a:gd name="connsiteX370" fmla="*/ 273652 w 1016595"/>
                <a:gd name="connsiteY370" fmla="*/ 1051466 h 1226416"/>
                <a:gd name="connsiteX371" fmla="*/ 273652 w 1016595"/>
                <a:gd name="connsiteY371" fmla="*/ 1045973 h 1226416"/>
                <a:gd name="connsiteX372" fmla="*/ 273652 w 1016595"/>
                <a:gd name="connsiteY372" fmla="*/ 1041478 h 1226416"/>
                <a:gd name="connsiteX373" fmla="*/ 263176 w 1016595"/>
                <a:gd name="connsiteY373" fmla="*/ 1045973 h 1226416"/>
                <a:gd name="connsiteX374" fmla="*/ 263176 w 1016595"/>
                <a:gd name="connsiteY374" fmla="*/ 1041478 h 1226416"/>
                <a:gd name="connsiteX375" fmla="*/ 249140 w 1016595"/>
                <a:gd name="connsiteY375" fmla="*/ 1036443 h 1226416"/>
                <a:gd name="connsiteX376" fmla="*/ 249140 w 1016595"/>
                <a:gd name="connsiteY376" fmla="*/ 1031949 h 1226416"/>
                <a:gd name="connsiteX377" fmla="*/ 244156 w 1016595"/>
                <a:gd name="connsiteY377" fmla="*/ 1031949 h 1226416"/>
                <a:gd name="connsiteX378" fmla="*/ 229611 w 1016595"/>
                <a:gd name="connsiteY378" fmla="*/ 1036443 h 1226416"/>
                <a:gd name="connsiteX379" fmla="*/ 229611 w 1016595"/>
                <a:gd name="connsiteY379" fmla="*/ 1041478 h 1226416"/>
                <a:gd name="connsiteX380" fmla="*/ 224627 w 1016595"/>
                <a:gd name="connsiteY380" fmla="*/ 1041478 h 1226416"/>
                <a:gd name="connsiteX381" fmla="*/ 214609 w 1016595"/>
                <a:gd name="connsiteY381" fmla="*/ 1045973 h 1226416"/>
                <a:gd name="connsiteX382" fmla="*/ 205099 w 1016595"/>
                <a:gd name="connsiteY382" fmla="*/ 1041478 h 1226416"/>
                <a:gd name="connsiteX383" fmla="*/ 200624 w 1016595"/>
                <a:gd name="connsiteY383" fmla="*/ 1045973 h 1226416"/>
                <a:gd name="connsiteX384" fmla="*/ 190097 w 1016595"/>
                <a:gd name="connsiteY384" fmla="*/ 1051466 h 1226416"/>
                <a:gd name="connsiteX385" fmla="*/ 175603 w 1016595"/>
                <a:gd name="connsiteY385" fmla="*/ 1055960 h 1226416"/>
                <a:gd name="connsiteX386" fmla="*/ 170619 w 1016595"/>
                <a:gd name="connsiteY386" fmla="*/ 1045973 h 1226416"/>
                <a:gd name="connsiteX387" fmla="*/ 161109 w 1016595"/>
                <a:gd name="connsiteY387" fmla="*/ 1051466 h 1226416"/>
                <a:gd name="connsiteX388" fmla="*/ 156075 w 1016595"/>
                <a:gd name="connsiteY388" fmla="*/ 1051466 h 1226416"/>
                <a:gd name="connsiteX389" fmla="*/ 156075 w 1016595"/>
                <a:gd name="connsiteY389" fmla="*/ 1045973 h 1226416"/>
                <a:gd name="connsiteX390" fmla="*/ 151091 w 1016595"/>
                <a:gd name="connsiteY390" fmla="*/ 1045973 h 1226416"/>
                <a:gd name="connsiteX391" fmla="*/ 141581 w 1016595"/>
                <a:gd name="connsiteY391" fmla="*/ 1041478 h 1226416"/>
                <a:gd name="connsiteX392" fmla="*/ 137106 w 1016595"/>
                <a:gd name="connsiteY392" fmla="*/ 1041478 h 1226416"/>
                <a:gd name="connsiteX393" fmla="*/ 131563 w 1016595"/>
                <a:gd name="connsiteY393" fmla="*/ 1041478 h 1226416"/>
                <a:gd name="connsiteX394" fmla="*/ 131563 w 1016595"/>
                <a:gd name="connsiteY394" fmla="*/ 1045973 h 1226416"/>
                <a:gd name="connsiteX395" fmla="*/ 122053 w 1016595"/>
                <a:gd name="connsiteY395" fmla="*/ 1045973 h 1226416"/>
                <a:gd name="connsiteX396" fmla="*/ 122053 w 1016595"/>
                <a:gd name="connsiteY396" fmla="*/ 1036443 h 1226416"/>
                <a:gd name="connsiteX397" fmla="*/ 116560 w 1016595"/>
                <a:gd name="connsiteY397" fmla="*/ 1036443 h 1226416"/>
                <a:gd name="connsiteX398" fmla="*/ 112085 w 1016595"/>
                <a:gd name="connsiteY398" fmla="*/ 1031949 h 1226416"/>
                <a:gd name="connsiteX399" fmla="*/ 112085 w 1016595"/>
                <a:gd name="connsiteY399" fmla="*/ 1026455 h 1226416"/>
                <a:gd name="connsiteX400" fmla="*/ 122053 w 1016595"/>
                <a:gd name="connsiteY400" fmla="*/ 1026455 h 1226416"/>
                <a:gd name="connsiteX401" fmla="*/ 122053 w 1016595"/>
                <a:gd name="connsiteY401" fmla="*/ 1021961 h 1226416"/>
                <a:gd name="connsiteX402" fmla="*/ 112085 w 1016595"/>
                <a:gd name="connsiteY402" fmla="*/ 1012473 h 1226416"/>
                <a:gd name="connsiteX403" fmla="*/ 107050 w 1016595"/>
                <a:gd name="connsiteY403" fmla="*/ 1012473 h 1226416"/>
                <a:gd name="connsiteX404" fmla="*/ 112085 w 1016595"/>
                <a:gd name="connsiteY404" fmla="*/ 1006980 h 1226416"/>
                <a:gd name="connsiteX405" fmla="*/ 112085 w 1016595"/>
                <a:gd name="connsiteY405" fmla="*/ 997450 h 1226416"/>
                <a:gd name="connsiteX406" fmla="*/ 127087 w 1016595"/>
                <a:gd name="connsiteY406" fmla="*/ 997450 h 1226416"/>
                <a:gd name="connsiteX407" fmla="*/ 131563 w 1016595"/>
                <a:gd name="connsiteY407" fmla="*/ 1002485 h 1226416"/>
                <a:gd name="connsiteX408" fmla="*/ 141581 w 1016595"/>
                <a:gd name="connsiteY408" fmla="*/ 1006980 h 1226416"/>
                <a:gd name="connsiteX409" fmla="*/ 146565 w 1016595"/>
                <a:gd name="connsiteY409" fmla="*/ 992955 h 1226416"/>
                <a:gd name="connsiteX410" fmla="*/ 141581 w 1016595"/>
                <a:gd name="connsiteY410" fmla="*/ 982968 h 1226416"/>
                <a:gd name="connsiteX411" fmla="*/ 137106 w 1016595"/>
                <a:gd name="connsiteY411" fmla="*/ 982968 h 1226416"/>
                <a:gd name="connsiteX412" fmla="*/ 137106 w 1016595"/>
                <a:gd name="connsiteY412" fmla="*/ 963991 h 1226416"/>
                <a:gd name="connsiteX413" fmla="*/ 137106 w 1016595"/>
                <a:gd name="connsiteY413" fmla="*/ 958498 h 1226416"/>
                <a:gd name="connsiteX414" fmla="*/ 131563 w 1016595"/>
                <a:gd name="connsiteY414" fmla="*/ 948968 h 1226416"/>
                <a:gd name="connsiteX415" fmla="*/ 131563 w 1016595"/>
                <a:gd name="connsiteY415" fmla="*/ 944474 h 1226416"/>
                <a:gd name="connsiteX416" fmla="*/ 131563 w 1016595"/>
                <a:gd name="connsiteY416" fmla="*/ 938981 h 1226416"/>
                <a:gd name="connsiteX417" fmla="*/ 116560 w 1016595"/>
                <a:gd name="connsiteY417" fmla="*/ 924998 h 1226416"/>
                <a:gd name="connsiteX418" fmla="*/ 122053 w 1016595"/>
                <a:gd name="connsiteY418" fmla="*/ 919505 h 1226416"/>
                <a:gd name="connsiteX419" fmla="*/ 112085 w 1016595"/>
                <a:gd name="connsiteY419" fmla="*/ 919505 h 1226416"/>
                <a:gd name="connsiteX420" fmla="*/ 122053 w 1016595"/>
                <a:gd name="connsiteY420" fmla="*/ 899987 h 1226416"/>
                <a:gd name="connsiteX421" fmla="*/ 127087 w 1016595"/>
                <a:gd name="connsiteY421" fmla="*/ 895493 h 1226416"/>
                <a:gd name="connsiteX422" fmla="*/ 127087 w 1016595"/>
                <a:gd name="connsiteY422" fmla="*/ 890499 h 1226416"/>
                <a:gd name="connsiteX423" fmla="*/ 137106 w 1016595"/>
                <a:gd name="connsiteY423" fmla="*/ 886005 h 1226416"/>
                <a:gd name="connsiteX424" fmla="*/ 137106 w 1016595"/>
                <a:gd name="connsiteY424" fmla="*/ 876017 h 1226416"/>
                <a:gd name="connsiteX425" fmla="*/ 141581 w 1016595"/>
                <a:gd name="connsiteY425" fmla="*/ 876017 h 1226416"/>
                <a:gd name="connsiteX426" fmla="*/ 141581 w 1016595"/>
                <a:gd name="connsiteY426" fmla="*/ 866487 h 1226416"/>
                <a:gd name="connsiteX427" fmla="*/ 131563 w 1016595"/>
                <a:gd name="connsiteY427" fmla="*/ 861493 h 1226416"/>
                <a:gd name="connsiteX428" fmla="*/ 127087 w 1016595"/>
                <a:gd name="connsiteY428" fmla="*/ 866487 h 1226416"/>
                <a:gd name="connsiteX429" fmla="*/ 131563 w 1016595"/>
                <a:gd name="connsiteY429" fmla="*/ 870982 h 1226416"/>
                <a:gd name="connsiteX430" fmla="*/ 127087 w 1016595"/>
                <a:gd name="connsiteY430" fmla="*/ 870982 h 1226416"/>
                <a:gd name="connsiteX431" fmla="*/ 122053 w 1016595"/>
                <a:gd name="connsiteY431" fmla="*/ 866487 h 1226416"/>
                <a:gd name="connsiteX432" fmla="*/ 116560 w 1016595"/>
                <a:gd name="connsiteY432" fmla="*/ 866487 h 1226416"/>
                <a:gd name="connsiteX433" fmla="*/ 116560 w 1016595"/>
                <a:gd name="connsiteY433" fmla="*/ 861493 h 1226416"/>
                <a:gd name="connsiteX434" fmla="*/ 122053 w 1016595"/>
                <a:gd name="connsiteY434" fmla="*/ 861493 h 1226416"/>
                <a:gd name="connsiteX435" fmla="*/ 127087 w 1016595"/>
                <a:gd name="connsiteY435" fmla="*/ 847011 h 1226416"/>
                <a:gd name="connsiteX436" fmla="*/ 116560 w 1016595"/>
                <a:gd name="connsiteY436" fmla="*/ 842017 h 1226416"/>
                <a:gd name="connsiteX437" fmla="*/ 122053 w 1016595"/>
                <a:gd name="connsiteY437" fmla="*/ 837523 h 1226416"/>
                <a:gd name="connsiteX438" fmla="*/ 116560 w 1016595"/>
                <a:gd name="connsiteY438" fmla="*/ 832030 h 1226416"/>
                <a:gd name="connsiteX439" fmla="*/ 116560 w 1016595"/>
                <a:gd name="connsiteY439" fmla="*/ 827494 h 1226416"/>
                <a:gd name="connsiteX440" fmla="*/ 107050 w 1016595"/>
                <a:gd name="connsiteY440" fmla="*/ 827494 h 1226416"/>
                <a:gd name="connsiteX441" fmla="*/ 107050 w 1016595"/>
                <a:gd name="connsiteY441" fmla="*/ 822500 h 1226416"/>
                <a:gd name="connsiteX442" fmla="*/ 116560 w 1016595"/>
                <a:gd name="connsiteY442" fmla="*/ 822500 h 1226416"/>
                <a:gd name="connsiteX443" fmla="*/ 107050 w 1016595"/>
                <a:gd name="connsiteY443" fmla="*/ 812512 h 1226416"/>
                <a:gd name="connsiteX444" fmla="*/ 116560 w 1016595"/>
                <a:gd name="connsiteY444" fmla="*/ 803024 h 1226416"/>
                <a:gd name="connsiteX445" fmla="*/ 116560 w 1016595"/>
                <a:gd name="connsiteY445" fmla="*/ 798530 h 1226416"/>
                <a:gd name="connsiteX446" fmla="*/ 112085 w 1016595"/>
                <a:gd name="connsiteY446" fmla="*/ 793037 h 1226416"/>
                <a:gd name="connsiteX447" fmla="*/ 112085 w 1016595"/>
                <a:gd name="connsiteY447" fmla="*/ 788501 h 1226416"/>
                <a:gd name="connsiteX448" fmla="*/ 116560 w 1016595"/>
                <a:gd name="connsiteY448" fmla="*/ 779012 h 1226416"/>
                <a:gd name="connsiteX449" fmla="*/ 116560 w 1016595"/>
                <a:gd name="connsiteY449" fmla="*/ 774018 h 1226416"/>
                <a:gd name="connsiteX450" fmla="*/ 127087 w 1016595"/>
                <a:gd name="connsiteY450" fmla="*/ 769524 h 1226416"/>
                <a:gd name="connsiteX451" fmla="*/ 127087 w 1016595"/>
                <a:gd name="connsiteY451" fmla="*/ 759536 h 1226416"/>
                <a:gd name="connsiteX452" fmla="*/ 112085 w 1016595"/>
                <a:gd name="connsiteY452" fmla="*/ 769524 h 1226416"/>
                <a:gd name="connsiteX453" fmla="*/ 107050 w 1016595"/>
                <a:gd name="connsiteY453" fmla="*/ 764031 h 1226416"/>
                <a:gd name="connsiteX454" fmla="*/ 116560 w 1016595"/>
                <a:gd name="connsiteY454" fmla="*/ 754543 h 1226416"/>
                <a:gd name="connsiteX455" fmla="*/ 116560 w 1016595"/>
                <a:gd name="connsiteY455" fmla="*/ 744513 h 1226416"/>
                <a:gd name="connsiteX456" fmla="*/ 127087 w 1016595"/>
                <a:gd name="connsiteY456" fmla="*/ 740019 h 1226416"/>
                <a:gd name="connsiteX457" fmla="*/ 127087 w 1016595"/>
                <a:gd name="connsiteY457" fmla="*/ 730531 h 1226416"/>
                <a:gd name="connsiteX458" fmla="*/ 131563 w 1016595"/>
                <a:gd name="connsiteY458" fmla="*/ 725038 h 1226416"/>
                <a:gd name="connsiteX459" fmla="*/ 131563 w 1016595"/>
                <a:gd name="connsiteY459" fmla="*/ 730531 h 1226416"/>
                <a:gd name="connsiteX460" fmla="*/ 141581 w 1016595"/>
                <a:gd name="connsiteY460" fmla="*/ 730531 h 1226416"/>
                <a:gd name="connsiteX461" fmla="*/ 141581 w 1016595"/>
                <a:gd name="connsiteY461" fmla="*/ 725038 h 1226416"/>
                <a:gd name="connsiteX462" fmla="*/ 131563 w 1016595"/>
                <a:gd name="connsiteY462" fmla="*/ 715549 h 1226416"/>
                <a:gd name="connsiteX463" fmla="*/ 131563 w 1016595"/>
                <a:gd name="connsiteY463" fmla="*/ 711055 h 1226416"/>
                <a:gd name="connsiteX464" fmla="*/ 127087 w 1016595"/>
                <a:gd name="connsiteY464" fmla="*/ 705520 h 1226416"/>
                <a:gd name="connsiteX465" fmla="*/ 122053 w 1016595"/>
                <a:gd name="connsiteY465" fmla="*/ 701026 h 1226416"/>
                <a:gd name="connsiteX466" fmla="*/ 122053 w 1016595"/>
                <a:gd name="connsiteY466" fmla="*/ 681550 h 1226416"/>
                <a:gd name="connsiteX467" fmla="*/ 116560 w 1016595"/>
                <a:gd name="connsiteY467" fmla="*/ 676556 h 1226416"/>
                <a:gd name="connsiteX468" fmla="*/ 116560 w 1016595"/>
                <a:gd name="connsiteY468" fmla="*/ 667068 h 1226416"/>
                <a:gd name="connsiteX469" fmla="*/ 116560 w 1016595"/>
                <a:gd name="connsiteY469" fmla="*/ 662532 h 1226416"/>
                <a:gd name="connsiteX470" fmla="*/ 116560 w 1016595"/>
                <a:gd name="connsiteY470" fmla="*/ 657039 h 1226416"/>
                <a:gd name="connsiteX471" fmla="*/ 112085 w 1016595"/>
                <a:gd name="connsiteY471" fmla="*/ 652544 h 1226416"/>
                <a:gd name="connsiteX472" fmla="*/ 112085 w 1016595"/>
                <a:gd name="connsiteY472" fmla="*/ 647550 h 1226416"/>
                <a:gd name="connsiteX473" fmla="*/ 107050 w 1016595"/>
                <a:gd name="connsiteY473" fmla="*/ 643056 h 1226416"/>
                <a:gd name="connsiteX474" fmla="*/ 102575 w 1016595"/>
                <a:gd name="connsiteY474" fmla="*/ 643056 h 1226416"/>
                <a:gd name="connsiteX475" fmla="*/ 102575 w 1016595"/>
                <a:gd name="connsiteY475" fmla="*/ 637563 h 1226416"/>
                <a:gd name="connsiteX476" fmla="*/ 92557 w 1016595"/>
                <a:gd name="connsiteY476" fmla="*/ 633068 h 1226416"/>
                <a:gd name="connsiteX477" fmla="*/ 78063 w 1016595"/>
                <a:gd name="connsiteY477" fmla="*/ 628075 h 1226416"/>
                <a:gd name="connsiteX478" fmla="*/ 68044 w 1016595"/>
                <a:gd name="connsiteY478" fmla="*/ 608557 h 1226416"/>
                <a:gd name="connsiteX479" fmla="*/ 63518 w 1016595"/>
                <a:gd name="connsiteY479" fmla="*/ 608557 h 1226416"/>
                <a:gd name="connsiteX480" fmla="*/ 54008 w 1016595"/>
                <a:gd name="connsiteY480" fmla="*/ 598569 h 1226416"/>
                <a:gd name="connsiteX481" fmla="*/ 48516 w 1016595"/>
                <a:gd name="connsiteY481" fmla="*/ 594075 h 1226416"/>
                <a:gd name="connsiteX482" fmla="*/ 48516 w 1016595"/>
                <a:gd name="connsiteY482" fmla="*/ 589081 h 1226416"/>
                <a:gd name="connsiteX483" fmla="*/ 43532 w 1016595"/>
                <a:gd name="connsiteY483" fmla="*/ 584587 h 1226416"/>
                <a:gd name="connsiteX484" fmla="*/ 39006 w 1016595"/>
                <a:gd name="connsiteY484" fmla="*/ 584587 h 1226416"/>
                <a:gd name="connsiteX485" fmla="*/ 33513 w 1016595"/>
                <a:gd name="connsiteY485" fmla="*/ 574558 h 1226416"/>
                <a:gd name="connsiteX486" fmla="*/ 29038 w 1016595"/>
                <a:gd name="connsiteY486" fmla="*/ 574558 h 1226416"/>
                <a:gd name="connsiteX487" fmla="*/ 29038 w 1016595"/>
                <a:gd name="connsiteY487" fmla="*/ 560076 h 1226416"/>
                <a:gd name="connsiteX488" fmla="*/ 24003 w 1016595"/>
                <a:gd name="connsiteY488" fmla="*/ 560076 h 1226416"/>
                <a:gd name="connsiteX489" fmla="*/ 24003 w 1016595"/>
                <a:gd name="connsiteY489" fmla="*/ 555581 h 1226416"/>
                <a:gd name="connsiteX490" fmla="*/ 14493 w 1016595"/>
                <a:gd name="connsiteY490" fmla="*/ 560076 h 1226416"/>
                <a:gd name="connsiteX491" fmla="*/ 9510 w 1016595"/>
                <a:gd name="connsiteY491" fmla="*/ 565069 h 1226416"/>
                <a:gd name="connsiteX492" fmla="*/ 0 w 1016595"/>
                <a:gd name="connsiteY492" fmla="*/ 560076 h 1226416"/>
                <a:gd name="connsiteX493" fmla="*/ 0 w 1016595"/>
                <a:gd name="connsiteY493" fmla="*/ 555581 h 1226416"/>
                <a:gd name="connsiteX494" fmla="*/ 14493 w 1016595"/>
                <a:gd name="connsiteY494" fmla="*/ 550088 h 1226416"/>
                <a:gd name="connsiteX495" fmla="*/ 14493 w 1016595"/>
                <a:gd name="connsiteY495" fmla="*/ 545593 h 1226416"/>
                <a:gd name="connsiteX496" fmla="*/ 19528 w 1016595"/>
                <a:gd name="connsiteY496" fmla="*/ 540600 h 1226416"/>
                <a:gd name="connsiteX497" fmla="*/ 24003 w 1016595"/>
                <a:gd name="connsiteY497" fmla="*/ 536064 h 1226416"/>
                <a:gd name="connsiteX498" fmla="*/ 29038 w 1016595"/>
                <a:gd name="connsiteY498" fmla="*/ 521082 h 1226416"/>
                <a:gd name="connsiteX499" fmla="*/ 39006 w 1016595"/>
                <a:gd name="connsiteY499" fmla="*/ 497070 h 1226416"/>
                <a:gd name="connsiteX500" fmla="*/ 54008 w 1016595"/>
                <a:gd name="connsiteY500" fmla="*/ 482089 h 1226416"/>
                <a:gd name="connsiteX501" fmla="*/ 63518 w 1016595"/>
                <a:gd name="connsiteY501" fmla="*/ 477594 h 1226416"/>
                <a:gd name="connsiteX502" fmla="*/ 63518 w 1016595"/>
                <a:gd name="connsiteY502" fmla="*/ 482089 h 1226416"/>
                <a:gd name="connsiteX503" fmla="*/ 68044 w 1016595"/>
                <a:gd name="connsiteY503" fmla="*/ 487083 h 1226416"/>
                <a:gd name="connsiteX504" fmla="*/ 78063 w 1016595"/>
                <a:gd name="connsiteY504" fmla="*/ 492077 h 1226416"/>
                <a:gd name="connsiteX505" fmla="*/ 83047 w 1016595"/>
                <a:gd name="connsiteY505" fmla="*/ 492077 h 1226416"/>
                <a:gd name="connsiteX506" fmla="*/ 92557 w 1016595"/>
                <a:gd name="connsiteY506" fmla="*/ 497070 h 1226416"/>
                <a:gd name="connsiteX507" fmla="*/ 102575 w 1016595"/>
                <a:gd name="connsiteY507" fmla="*/ 501606 h 1226416"/>
                <a:gd name="connsiteX508" fmla="*/ 107050 w 1016595"/>
                <a:gd name="connsiteY508" fmla="*/ 497070 h 1226416"/>
                <a:gd name="connsiteX509" fmla="*/ 107050 w 1016595"/>
                <a:gd name="connsiteY509" fmla="*/ 487083 h 1226416"/>
                <a:gd name="connsiteX510" fmla="*/ 102575 w 1016595"/>
                <a:gd name="connsiteY510" fmla="*/ 482089 h 1226416"/>
                <a:gd name="connsiteX511" fmla="*/ 92557 w 1016595"/>
                <a:gd name="connsiteY511" fmla="*/ 477594 h 1226416"/>
                <a:gd name="connsiteX512" fmla="*/ 87573 w 1016595"/>
                <a:gd name="connsiteY512" fmla="*/ 477594 h 1226416"/>
                <a:gd name="connsiteX513" fmla="*/ 73537 w 1016595"/>
                <a:gd name="connsiteY513" fmla="*/ 458119 h 1226416"/>
                <a:gd name="connsiteX514" fmla="*/ 58534 w 1016595"/>
                <a:gd name="connsiteY514" fmla="*/ 453083 h 1226416"/>
                <a:gd name="connsiteX515" fmla="*/ 58534 w 1016595"/>
                <a:gd name="connsiteY515" fmla="*/ 443096 h 1226416"/>
                <a:gd name="connsiteX516" fmla="*/ 58534 w 1016595"/>
                <a:gd name="connsiteY516" fmla="*/ 429113 h 1226416"/>
                <a:gd name="connsiteX517" fmla="*/ 58534 w 1016595"/>
                <a:gd name="connsiteY517" fmla="*/ 419125 h 1226416"/>
                <a:gd name="connsiteX518" fmla="*/ 63518 w 1016595"/>
                <a:gd name="connsiteY518" fmla="*/ 399608 h 1226416"/>
                <a:gd name="connsiteX519" fmla="*/ 78063 w 1016595"/>
                <a:gd name="connsiteY519" fmla="*/ 394614 h 1226416"/>
                <a:gd name="connsiteX520" fmla="*/ 82573 w 1016595"/>
                <a:gd name="connsiteY520" fmla="*/ 394614 h 1226416"/>
                <a:gd name="connsiteX521" fmla="*/ 82573 w 1016595"/>
                <a:gd name="connsiteY521" fmla="*/ 392983 h 1226416"/>
                <a:gd name="connsiteX522" fmla="*/ 77031 w 1016595"/>
                <a:gd name="connsiteY522" fmla="*/ 392983 h 1226416"/>
                <a:gd name="connsiteX523" fmla="*/ 77031 w 1016595"/>
                <a:gd name="connsiteY523" fmla="*/ 388490 h 1226416"/>
                <a:gd name="connsiteX524" fmla="*/ 72023 w 1016595"/>
                <a:gd name="connsiteY524" fmla="*/ 388490 h 1226416"/>
                <a:gd name="connsiteX525" fmla="*/ 67015 w 1016595"/>
                <a:gd name="connsiteY525" fmla="*/ 382995 h 1226416"/>
                <a:gd name="connsiteX526" fmla="*/ 62527 w 1016595"/>
                <a:gd name="connsiteY526" fmla="*/ 378501 h 1226416"/>
                <a:gd name="connsiteX527" fmla="*/ 62527 w 1016595"/>
                <a:gd name="connsiteY527" fmla="*/ 373522 h 1226416"/>
                <a:gd name="connsiteX528" fmla="*/ 67015 w 1016595"/>
                <a:gd name="connsiteY528" fmla="*/ 354031 h 1226416"/>
                <a:gd name="connsiteX529" fmla="*/ 67015 w 1016595"/>
                <a:gd name="connsiteY529" fmla="*/ 340065 h 1226416"/>
                <a:gd name="connsiteX530" fmla="*/ 72023 w 1016595"/>
                <a:gd name="connsiteY530" fmla="*/ 330077 h 1226416"/>
                <a:gd name="connsiteX531" fmla="*/ 72023 w 1016595"/>
                <a:gd name="connsiteY531" fmla="*/ 301113 h 1226416"/>
                <a:gd name="connsiteX532" fmla="*/ 82038 w 1016595"/>
                <a:gd name="connsiteY532" fmla="*/ 301113 h 1226416"/>
                <a:gd name="connsiteX533" fmla="*/ 72023 w 1016595"/>
                <a:gd name="connsiteY533" fmla="*/ 286115 h 1226416"/>
                <a:gd name="connsiteX534" fmla="*/ 72023 w 1016595"/>
                <a:gd name="connsiteY534" fmla="*/ 276643 h 1226416"/>
                <a:gd name="connsiteX535" fmla="*/ 72023 w 1016595"/>
                <a:gd name="connsiteY535" fmla="*/ 266654 h 1226416"/>
                <a:gd name="connsiteX536" fmla="*/ 72023 w 1016595"/>
                <a:gd name="connsiteY536" fmla="*/ 247163 h 1226416"/>
                <a:gd name="connsiteX537" fmla="*/ 67015 w 1016595"/>
                <a:gd name="connsiteY537" fmla="*/ 233197 h 1226416"/>
                <a:gd name="connsiteX538" fmla="*/ 67015 w 1016595"/>
                <a:gd name="connsiteY538" fmla="*/ 218230 h 1226416"/>
                <a:gd name="connsiteX539" fmla="*/ 67015 w 1016595"/>
                <a:gd name="connsiteY539" fmla="*/ 213706 h 1226416"/>
                <a:gd name="connsiteX540" fmla="*/ 72023 w 1016595"/>
                <a:gd name="connsiteY540" fmla="*/ 198738 h 1226416"/>
                <a:gd name="connsiteX541" fmla="*/ 77031 w 1016595"/>
                <a:gd name="connsiteY541" fmla="*/ 198738 h 1226416"/>
                <a:gd name="connsiteX542" fmla="*/ 77031 w 1016595"/>
                <a:gd name="connsiteY542" fmla="*/ 189266 h 1226416"/>
                <a:gd name="connsiteX543" fmla="*/ 82038 w 1016595"/>
                <a:gd name="connsiteY543" fmla="*/ 155293 h 1226416"/>
                <a:gd name="connsiteX544" fmla="*/ 77031 w 1016595"/>
                <a:gd name="connsiteY544" fmla="*/ 145820 h 1226416"/>
                <a:gd name="connsiteX545" fmla="*/ 77031 w 1016595"/>
                <a:gd name="connsiteY545" fmla="*/ 140325 h 1226416"/>
                <a:gd name="connsiteX546" fmla="*/ 72023 w 1016595"/>
                <a:gd name="connsiteY546" fmla="*/ 120834 h 1226416"/>
                <a:gd name="connsiteX547" fmla="*/ 86574 w 1016595"/>
                <a:gd name="connsiteY547" fmla="*/ 120834 h 1226416"/>
                <a:gd name="connsiteX548" fmla="*/ 91581 w 1016595"/>
                <a:gd name="connsiteY548" fmla="*/ 116341 h 1226416"/>
                <a:gd name="connsiteX549" fmla="*/ 96069 w 1016595"/>
                <a:gd name="connsiteY549" fmla="*/ 111361 h 1226416"/>
                <a:gd name="connsiteX550" fmla="*/ 111093 w 1016595"/>
                <a:gd name="connsiteY550" fmla="*/ 96880 h 1226416"/>
                <a:gd name="connsiteX551" fmla="*/ 121108 w 1016595"/>
                <a:gd name="connsiteY551" fmla="*/ 91870 h 1226416"/>
                <a:gd name="connsiteX552" fmla="*/ 121108 w 1016595"/>
                <a:gd name="connsiteY552" fmla="*/ 87377 h 1226416"/>
                <a:gd name="connsiteX553" fmla="*/ 136131 w 1016595"/>
                <a:gd name="connsiteY553" fmla="*/ 77904 h 1226416"/>
                <a:gd name="connsiteX554" fmla="*/ 160177 w 1016595"/>
                <a:gd name="connsiteY554" fmla="*/ 72409 h 1226416"/>
                <a:gd name="connsiteX555" fmla="*/ 189232 w 1016595"/>
                <a:gd name="connsiteY555" fmla="*/ 58413 h 1226416"/>
                <a:gd name="connsiteX556" fmla="*/ 199719 w 1016595"/>
                <a:gd name="connsiteY556" fmla="*/ 52918 h 1226416"/>
                <a:gd name="connsiteX557" fmla="*/ 209215 w 1016595"/>
                <a:gd name="connsiteY557" fmla="*/ 52918 h 1226416"/>
                <a:gd name="connsiteX558" fmla="*/ 252820 w 1016595"/>
                <a:gd name="connsiteY558" fmla="*/ 48425 h 1226416"/>
                <a:gd name="connsiteX559" fmla="*/ 257828 w 1016595"/>
                <a:gd name="connsiteY559" fmla="*/ 43446 h 1226416"/>
                <a:gd name="connsiteX560" fmla="*/ 277339 w 1016595"/>
                <a:gd name="connsiteY560" fmla="*/ 38952 h 1226416"/>
                <a:gd name="connsiteX561" fmla="*/ 302377 w 1016595"/>
                <a:gd name="connsiteY561" fmla="*/ 28964 h 1226416"/>
                <a:gd name="connsiteX562" fmla="*/ 311873 w 1016595"/>
                <a:gd name="connsiteY562" fmla="*/ 28964 h 1226416"/>
                <a:gd name="connsiteX563" fmla="*/ 326424 w 1016595"/>
                <a:gd name="connsiteY563" fmla="*/ 23954 h 1226416"/>
                <a:gd name="connsiteX564" fmla="*/ 335920 w 1016595"/>
                <a:gd name="connsiteY564" fmla="*/ 19461 h 1226416"/>
                <a:gd name="connsiteX565" fmla="*/ 355950 w 1016595"/>
                <a:gd name="connsiteY565" fmla="*/ 23954 h 1226416"/>
                <a:gd name="connsiteX566" fmla="*/ 370454 w 1016595"/>
                <a:gd name="connsiteY566" fmla="*/ 19461 h 1226416"/>
                <a:gd name="connsiteX567" fmla="*/ 379997 w 1016595"/>
                <a:gd name="connsiteY567" fmla="*/ 14482 h 1226416"/>
                <a:gd name="connsiteX568" fmla="*/ 385477 w 1016595"/>
                <a:gd name="connsiteY568" fmla="*/ 14482 h 1226416"/>
                <a:gd name="connsiteX569" fmla="*/ 390012 w 1016595"/>
                <a:gd name="connsiteY569" fmla="*/ 9503 h 122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Lst>
              <a:rect l="l" t="t" r="r" b="b"/>
              <a:pathLst>
                <a:path w="1016595" h="1226416">
                  <a:moveTo>
                    <a:pt x="409523" y="0"/>
                  </a:moveTo>
                  <a:lnTo>
                    <a:pt x="409523" y="4493"/>
                  </a:lnTo>
                  <a:lnTo>
                    <a:pt x="414531" y="14482"/>
                  </a:lnTo>
                  <a:lnTo>
                    <a:pt x="414531" y="23954"/>
                  </a:lnTo>
                  <a:lnTo>
                    <a:pt x="419539" y="48425"/>
                  </a:lnTo>
                  <a:lnTo>
                    <a:pt x="429554" y="58413"/>
                  </a:lnTo>
                  <a:lnTo>
                    <a:pt x="439050" y="77904"/>
                  </a:lnTo>
                  <a:lnTo>
                    <a:pt x="429554" y="91870"/>
                  </a:lnTo>
                  <a:lnTo>
                    <a:pt x="429554" y="96880"/>
                  </a:lnTo>
                  <a:lnTo>
                    <a:pt x="429554" y="101859"/>
                  </a:lnTo>
                  <a:lnTo>
                    <a:pt x="429554" y="120834"/>
                  </a:lnTo>
                  <a:lnTo>
                    <a:pt x="434042" y="126329"/>
                  </a:lnTo>
                  <a:lnTo>
                    <a:pt x="429554" y="130822"/>
                  </a:lnTo>
                  <a:lnTo>
                    <a:pt x="439050" y="150314"/>
                  </a:lnTo>
                  <a:lnTo>
                    <a:pt x="449065" y="150314"/>
                  </a:lnTo>
                  <a:lnTo>
                    <a:pt x="458608" y="150314"/>
                  </a:lnTo>
                  <a:lnTo>
                    <a:pt x="473112" y="155293"/>
                  </a:lnTo>
                  <a:lnTo>
                    <a:pt x="473112" y="159786"/>
                  </a:lnTo>
                  <a:lnTo>
                    <a:pt x="478120" y="169775"/>
                  </a:lnTo>
                  <a:lnTo>
                    <a:pt x="482608" y="174784"/>
                  </a:lnTo>
                  <a:lnTo>
                    <a:pt x="487615" y="174784"/>
                  </a:lnTo>
                  <a:lnTo>
                    <a:pt x="502638" y="203748"/>
                  </a:lnTo>
                  <a:lnTo>
                    <a:pt x="517189" y="198738"/>
                  </a:lnTo>
                  <a:lnTo>
                    <a:pt x="522197" y="208241"/>
                  </a:lnTo>
                  <a:lnTo>
                    <a:pt x="532212" y="208241"/>
                  </a:lnTo>
                  <a:lnTo>
                    <a:pt x="532212" y="213706"/>
                  </a:lnTo>
                  <a:lnTo>
                    <a:pt x="536700" y="213706"/>
                  </a:lnTo>
                  <a:lnTo>
                    <a:pt x="541708" y="208241"/>
                  </a:lnTo>
                  <a:lnTo>
                    <a:pt x="546196" y="194245"/>
                  </a:lnTo>
                  <a:lnTo>
                    <a:pt x="546196" y="189266"/>
                  </a:lnTo>
                  <a:lnTo>
                    <a:pt x="551723" y="184256"/>
                  </a:lnTo>
                  <a:lnTo>
                    <a:pt x="561219" y="184256"/>
                  </a:lnTo>
                  <a:lnTo>
                    <a:pt x="570762" y="174784"/>
                  </a:lnTo>
                  <a:lnTo>
                    <a:pt x="580777" y="174784"/>
                  </a:lnTo>
                  <a:lnTo>
                    <a:pt x="590273" y="169775"/>
                  </a:lnTo>
                  <a:lnTo>
                    <a:pt x="600289" y="169775"/>
                  </a:lnTo>
                  <a:lnTo>
                    <a:pt x="605296" y="169775"/>
                  </a:lnTo>
                  <a:lnTo>
                    <a:pt x="605296" y="165281"/>
                  </a:lnTo>
                  <a:lnTo>
                    <a:pt x="609832" y="159786"/>
                  </a:lnTo>
                  <a:lnTo>
                    <a:pt x="609832" y="165281"/>
                  </a:lnTo>
                  <a:lnTo>
                    <a:pt x="615312" y="165281"/>
                  </a:lnTo>
                  <a:lnTo>
                    <a:pt x="619847" y="165281"/>
                  </a:lnTo>
                  <a:lnTo>
                    <a:pt x="624807" y="174784"/>
                  </a:lnTo>
                  <a:lnTo>
                    <a:pt x="629343" y="179277"/>
                  </a:lnTo>
                  <a:lnTo>
                    <a:pt x="629343" y="184256"/>
                  </a:lnTo>
                  <a:lnTo>
                    <a:pt x="634823" y="189266"/>
                  </a:lnTo>
                  <a:lnTo>
                    <a:pt x="639831" y="194245"/>
                  </a:lnTo>
                  <a:lnTo>
                    <a:pt x="634823" y="198738"/>
                  </a:lnTo>
                  <a:lnTo>
                    <a:pt x="644366" y="208241"/>
                  </a:lnTo>
                  <a:lnTo>
                    <a:pt x="653862" y="208241"/>
                  </a:lnTo>
                  <a:lnTo>
                    <a:pt x="659389" y="213706"/>
                  </a:lnTo>
                  <a:lnTo>
                    <a:pt x="653862" y="218230"/>
                  </a:lnTo>
                  <a:lnTo>
                    <a:pt x="659389" y="223209"/>
                  </a:lnTo>
                  <a:lnTo>
                    <a:pt x="653862" y="227702"/>
                  </a:lnTo>
                  <a:lnTo>
                    <a:pt x="653862" y="237690"/>
                  </a:lnTo>
                  <a:lnTo>
                    <a:pt x="653862" y="247163"/>
                  </a:lnTo>
                  <a:lnTo>
                    <a:pt x="659389" y="252658"/>
                  </a:lnTo>
                  <a:lnTo>
                    <a:pt x="663877" y="262161"/>
                  </a:lnTo>
                  <a:lnTo>
                    <a:pt x="663877" y="266654"/>
                  </a:lnTo>
                  <a:lnTo>
                    <a:pt x="663877" y="276643"/>
                  </a:lnTo>
                  <a:lnTo>
                    <a:pt x="668885" y="291125"/>
                  </a:lnTo>
                  <a:lnTo>
                    <a:pt x="668885" y="305606"/>
                  </a:lnTo>
                  <a:lnTo>
                    <a:pt x="683435" y="310585"/>
                  </a:lnTo>
                  <a:lnTo>
                    <a:pt x="683435" y="315079"/>
                  </a:lnTo>
                  <a:lnTo>
                    <a:pt x="698459" y="320574"/>
                  </a:lnTo>
                  <a:lnTo>
                    <a:pt x="702947" y="325067"/>
                  </a:lnTo>
                  <a:lnTo>
                    <a:pt x="713434" y="320574"/>
                  </a:lnTo>
                  <a:lnTo>
                    <a:pt x="722977" y="315079"/>
                  </a:lnTo>
                  <a:lnTo>
                    <a:pt x="727465" y="315079"/>
                  </a:lnTo>
                  <a:lnTo>
                    <a:pt x="732473" y="305606"/>
                  </a:lnTo>
                  <a:lnTo>
                    <a:pt x="752032" y="305606"/>
                  </a:lnTo>
                  <a:lnTo>
                    <a:pt x="752032" y="315079"/>
                  </a:lnTo>
                  <a:lnTo>
                    <a:pt x="747024" y="320574"/>
                  </a:lnTo>
                  <a:lnTo>
                    <a:pt x="747024" y="325067"/>
                  </a:lnTo>
                  <a:lnTo>
                    <a:pt x="766535" y="320574"/>
                  </a:lnTo>
                  <a:lnTo>
                    <a:pt x="771543" y="320574"/>
                  </a:lnTo>
                  <a:lnTo>
                    <a:pt x="771543" y="325067"/>
                  </a:lnTo>
                  <a:lnTo>
                    <a:pt x="781558" y="320574"/>
                  </a:lnTo>
                  <a:lnTo>
                    <a:pt x="786566" y="325067"/>
                  </a:lnTo>
                  <a:lnTo>
                    <a:pt x="796581" y="340065"/>
                  </a:lnTo>
                  <a:lnTo>
                    <a:pt x="801069" y="340065"/>
                  </a:lnTo>
                  <a:lnTo>
                    <a:pt x="806077" y="354031"/>
                  </a:lnTo>
                  <a:lnTo>
                    <a:pt x="806077" y="369029"/>
                  </a:lnTo>
                  <a:lnTo>
                    <a:pt x="806077" y="382995"/>
                  </a:lnTo>
                  <a:lnTo>
                    <a:pt x="801069" y="388490"/>
                  </a:lnTo>
                  <a:lnTo>
                    <a:pt x="801069" y="392983"/>
                  </a:lnTo>
                  <a:lnTo>
                    <a:pt x="806077" y="407981"/>
                  </a:lnTo>
                  <a:lnTo>
                    <a:pt x="810612" y="412474"/>
                  </a:lnTo>
                  <a:lnTo>
                    <a:pt x="810612" y="417454"/>
                  </a:lnTo>
                  <a:lnTo>
                    <a:pt x="815620" y="421947"/>
                  </a:lnTo>
                  <a:lnTo>
                    <a:pt x="820108" y="427442"/>
                  </a:lnTo>
                  <a:lnTo>
                    <a:pt x="820108" y="421947"/>
                  </a:lnTo>
                  <a:lnTo>
                    <a:pt x="820108" y="417454"/>
                  </a:lnTo>
                  <a:lnTo>
                    <a:pt x="825635" y="421947"/>
                  </a:lnTo>
                  <a:lnTo>
                    <a:pt x="830123" y="407981"/>
                  </a:lnTo>
                  <a:lnTo>
                    <a:pt x="830123" y="402486"/>
                  </a:lnTo>
                  <a:lnTo>
                    <a:pt x="839619" y="402486"/>
                  </a:lnTo>
                  <a:lnTo>
                    <a:pt x="854642" y="397993"/>
                  </a:lnTo>
                  <a:lnTo>
                    <a:pt x="854642" y="402486"/>
                  </a:lnTo>
                  <a:lnTo>
                    <a:pt x="860170" y="402486"/>
                  </a:lnTo>
                  <a:lnTo>
                    <a:pt x="860170" y="397993"/>
                  </a:lnTo>
                  <a:lnTo>
                    <a:pt x="869665" y="397993"/>
                  </a:lnTo>
                  <a:lnTo>
                    <a:pt x="869665" y="402486"/>
                  </a:lnTo>
                  <a:lnTo>
                    <a:pt x="879681" y="407981"/>
                  </a:lnTo>
                  <a:lnTo>
                    <a:pt x="879681" y="412474"/>
                  </a:lnTo>
                  <a:lnTo>
                    <a:pt x="893712" y="407981"/>
                  </a:lnTo>
                  <a:lnTo>
                    <a:pt x="908735" y="402486"/>
                  </a:lnTo>
                  <a:lnTo>
                    <a:pt x="918231" y="402486"/>
                  </a:lnTo>
                  <a:lnTo>
                    <a:pt x="933254" y="392983"/>
                  </a:lnTo>
                  <a:lnTo>
                    <a:pt x="933254" y="402486"/>
                  </a:lnTo>
                  <a:lnTo>
                    <a:pt x="943269" y="402486"/>
                  </a:lnTo>
                  <a:lnTo>
                    <a:pt x="947804" y="421947"/>
                  </a:lnTo>
                  <a:lnTo>
                    <a:pt x="952812" y="421947"/>
                  </a:lnTo>
                  <a:lnTo>
                    <a:pt x="957300" y="417454"/>
                  </a:lnTo>
                  <a:lnTo>
                    <a:pt x="962828" y="421947"/>
                  </a:lnTo>
                  <a:lnTo>
                    <a:pt x="967316" y="436914"/>
                  </a:lnTo>
                  <a:lnTo>
                    <a:pt x="972323" y="441408"/>
                  </a:lnTo>
                  <a:lnTo>
                    <a:pt x="972323" y="446417"/>
                  </a:lnTo>
                  <a:lnTo>
                    <a:pt x="981819" y="446417"/>
                  </a:lnTo>
                  <a:lnTo>
                    <a:pt x="981819" y="441408"/>
                  </a:lnTo>
                  <a:lnTo>
                    <a:pt x="976811" y="436914"/>
                  </a:lnTo>
                  <a:lnTo>
                    <a:pt x="981819" y="431935"/>
                  </a:lnTo>
                  <a:lnTo>
                    <a:pt x="986354" y="436914"/>
                  </a:lnTo>
                  <a:lnTo>
                    <a:pt x="996370" y="441408"/>
                  </a:lnTo>
                  <a:lnTo>
                    <a:pt x="1001377" y="451396"/>
                  </a:lnTo>
                  <a:lnTo>
                    <a:pt x="991834" y="456406"/>
                  </a:lnTo>
                  <a:lnTo>
                    <a:pt x="976811" y="470371"/>
                  </a:lnTo>
                  <a:lnTo>
                    <a:pt x="976811" y="485369"/>
                  </a:lnTo>
                  <a:lnTo>
                    <a:pt x="976811" y="499851"/>
                  </a:lnTo>
                  <a:lnTo>
                    <a:pt x="972323" y="514819"/>
                  </a:lnTo>
                  <a:lnTo>
                    <a:pt x="981819" y="519312"/>
                  </a:lnTo>
                  <a:lnTo>
                    <a:pt x="981819" y="514819"/>
                  </a:lnTo>
                  <a:lnTo>
                    <a:pt x="991834" y="514819"/>
                  </a:lnTo>
                  <a:lnTo>
                    <a:pt x="996370" y="528815"/>
                  </a:lnTo>
                  <a:lnTo>
                    <a:pt x="1006858" y="543783"/>
                  </a:lnTo>
                  <a:lnTo>
                    <a:pt x="1006858" y="548276"/>
                  </a:lnTo>
                  <a:lnTo>
                    <a:pt x="1006858" y="553285"/>
                  </a:lnTo>
                  <a:lnTo>
                    <a:pt x="986354" y="563274"/>
                  </a:lnTo>
                  <a:lnTo>
                    <a:pt x="981819" y="563274"/>
                  </a:lnTo>
                  <a:lnTo>
                    <a:pt x="972323" y="577240"/>
                  </a:lnTo>
                  <a:lnTo>
                    <a:pt x="981819" y="592237"/>
                  </a:lnTo>
                  <a:lnTo>
                    <a:pt x="976811" y="602226"/>
                  </a:lnTo>
                  <a:lnTo>
                    <a:pt x="962828" y="606719"/>
                  </a:lnTo>
                  <a:lnTo>
                    <a:pt x="957300" y="602226"/>
                  </a:lnTo>
                  <a:lnTo>
                    <a:pt x="955851" y="602226"/>
                  </a:lnTo>
                  <a:lnTo>
                    <a:pt x="955851" y="604063"/>
                  </a:lnTo>
                  <a:lnTo>
                    <a:pt x="957552" y="604063"/>
                  </a:lnTo>
                  <a:lnTo>
                    <a:pt x="962586" y="608557"/>
                  </a:lnTo>
                  <a:lnTo>
                    <a:pt x="977080" y="604063"/>
                  </a:lnTo>
                  <a:lnTo>
                    <a:pt x="986590" y="604063"/>
                  </a:lnTo>
                  <a:lnTo>
                    <a:pt x="996609" y="608557"/>
                  </a:lnTo>
                  <a:lnTo>
                    <a:pt x="996609" y="613551"/>
                  </a:lnTo>
                  <a:lnTo>
                    <a:pt x="1006576" y="613551"/>
                  </a:lnTo>
                  <a:lnTo>
                    <a:pt x="1011102" y="613551"/>
                  </a:lnTo>
                  <a:lnTo>
                    <a:pt x="1006576" y="637563"/>
                  </a:lnTo>
                  <a:lnTo>
                    <a:pt x="1011102" y="637563"/>
                  </a:lnTo>
                  <a:lnTo>
                    <a:pt x="1011102" y="643056"/>
                  </a:lnTo>
                  <a:lnTo>
                    <a:pt x="1016595" y="643056"/>
                  </a:lnTo>
                  <a:lnTo>
                    <a:pt x="1016595" y="662532"/>
                  </a:lnTo>
                  <a:lnTo>
                    <a:pt x="1016595" y="672062"/>
                  </a:lnTo>
                  <a:lnTo>
                    <a:pt x="1011102" y="672062"/>
                  </a:lnTo>
                  <a:lnTo>
                    <a:pt x="1011102" y="681550"/>
                  </a:lnTo>
                  <a:lnTo>
                    <a:pt x="1006576" y="696032"/>
                  </a:lnTo>
                  <a:lnTo>
                    <a:pt x="1011102" y="701026"/>
                  </a:lnTo>
                  <a:lnTo>
                    <a:pt x="1001592" y="711055"/>
                  </a:lnTo>
                  <a:lnTo>
                    <a:pt x="1001592" y="715549"/>
                  </a:lnTo>
                  <a:lnTo>
                    <a:pt x="1011102" y="715549"/>
                  </a:lnTo>
                  <a:lnTo>
                    <a:pt x="1016595" y="720543"/>
                  </a:lnTo>
                  <a:lnTo>
                    <a:pt x="1011102" y="725038"/>
                  </a:lnTo>
                  <a:lnTo>
                    <a:pt x="1011102" y="735025"/>
                  </a:lnTo>
                  <a:lnTo>
                    <a:pt x="1011102" y="740019"/>
                  </a:lnTo>
                  <a:lnTo>
                    <a:pt x="1001592" y="744513"/>
                  </a:lnTo>
                  <a:lnTo>
                    <a:pt x="996609" y="744513"/>
                  </a:lnTo>
                  <a:lnTo>
                    <a:pt x="996609" y="754543"/>
                  </a:lnTo>
                  <a:lnTo>
                    <a:pt x="991574" y="754543"/>
                  </a:lnTo>
                  <a:lnTo>
                    <a:pt x="986590" y="759536"/>
                  </a:lnTo>
                  <a:lnTo>
                    <a:pt x="982064" y="759536"/>
                  </a:lnTo>
                  <a:lnTo>
                    <a:pt x="982064" y="769524"/>
                  </a:lnTo>
                  <a:lnTo>
                    <a:pt x="977080" y="769524"/>
                  </a:lnTo>
                  <a:lnTo>
                    <a:pt x="972554" y="783507"/>
                  </a:lnTo>
                  <a:lnTo>
                    <a:pt x="972554" y="788501"/>
                  </a:lnTo>
                  <a:lnTo>
                    <a:pt x="972554" y="793037"/>
                  </a:lnTo>
                  <a:lnTo>
                    <a:pt x="962586" y="793037"/>
                  </a:lnTo>
                  <a:lnTo>
                    <a:pt x="957552" y="793037"/>
                  </a:lnTo>
                  <a:lnTo>
                    <a:pt x="947584" y="788501"/>
                  </a:lnTo>
                  <a:lnTo>
                    <a:pt x="938074" y="798530"/>
                  </a:lnTo>
                  <a:lnTo>
                    <a:pt x="943058" y="803024"/>
                  </a:lnTo>
                  <a:lnTo>
                    <a:pt x="953077" y="812512"/>
                  </a:lnTo>
                  <a:lnTo>
                    <a:pt x="953077" y="822500"/>
                  </a:lnTo>
                  <a:lnTo>
                    <a:pt x="957552" y="827494"/>
                  </a:lnTo>
                  <a:lnTo>
                    <a:pt x="947584" y="837523"/>
                  </a:lnTo>
                  <a:lnTo>
                    <a:pt x="953077" y="842017"/>
                  </a:lnTo>
                  <a:lnTo>
                    <a:pt x="957552" y="842017"/>
                  </a:lnTo>
                  <a:lnTo>
                    <a:pt x="957552" y="851506"/>
                  </a:lnTo>
                  <a:lnTo>
                    <a:pt x="953077" y="851506"/>
                  </a:lnTo>
                  <a:lnTo>
                    <a:pt x="953077" y="856999"/>
                  </a:lnTo>
                  <a:lnTo>
                    <a:pt x="947584" y="861493"/>
                  </a:lnTo>
                  <a:lnTo>
                    <a:pt x="947584" y="866487"/>
                  </a:lnTo>
                  <a:lnTo>
                    <a:pt x="947584" y="870982"/>
                  </a:lnTo>
                  <a:lnTo>
                    <a:pt x="947584" y="881011"/>
                  </a:lnTo>
                  <a:lnTo>
                    <a:pt x="953077" y="886005"/>
                  </a:lnTo>
                  <a:lnTo>
                    <a:pt x="953077" y="895493"/>
                  </a:lnTo>
                  <a:lnTo>
                    <a:pt x="947584" y="899987"/>
                  </a:lnTo>
                  <a:lnTo>
                    <a:pt x="947584" y="905480"/>
                  </a:lnTo>
                  <a:lnTo>
                    <a:pt x="947584" y="909975"/>
                  </a:lnTo>
                  <a:lnTo>
                    <a:pt x="953077" y="915010"/>
                  </a:lnTo>
                  <a:lnTo>
                    <a:pt x="947584" y="924998"/>
                  </a:lnTo>
                  <a:lnTo>
                    <a:pt x="947584" y="938981"/>
                  </a:lnTo>
                  <a:lnTo>
                    <a:pt x="938074" y="938981"/>
                  </a:lnTo>
                  <a:lnTo>
                    <a:pt x="928056" y="929492"/>
                  </a:lnTo>
                  <a:lnTo>
                    <a:pt x="918546" y="929492"/>
                  </a:lnTo>
                  <a:lnTo>
                    <a:pt x="908527" y="919505"/>
                  </a:lnTo>
                  <a:lnTo>
                    <a:pt x="903544" y="915010"/>
                  </a:lnTo>
                  <a:lnTo>
                    <a:pt x="899018" y="919505"/>
                  </a:lnTo>
                  <a:lnTo>
                    <a:pt x="894034" y="924998"/>
                  </a:lnTo>
                  <a:lnTo>
                    <a:pt x="884015" y="929492"/>
                  </a:lnTo>
                  <a:lnTo>
                    <a:pt x="884015" y="938981"/>
                  </a:lnTo>
                  <a:lnTo>
                    <a:pt x="879540" y="938981"/>
                  </a:lnTo>
                  <a:lnTo>
                    <a:pt x="879540" y="944474"/>
                  </a:lnTo>
                  <a:lnTo>
                    <a:pt x="879540" y="948968"/>
                  </a:lnTo>
                  <a:lnTo>
                    <a:pt x="874505" y="948968"/>
                  </a:lnTo>
                  <a:lnTo>
                    <a:pt x="870030" y="944474"/>
                  </a:lnTo>
                  <a:lnTo>
                    <a:pt x="860012" y="944474"/>
                  </a:lnTo>
                  <a:lnTo>
                    <a:pt x="849485" y="944474"/>
                  </a:lnTo>
                  <a:lnTo>
                    <a:pt x="845009" y="948968"/>
                  </a:lnTo>
                  <a:lnTo>
                    <a:pt x="839975" y="948968"/>
                  </a:lnTo>
                  <a:lnTo>
                    <a:pt x="839975" y="958498"/>
                  </a:lnTo>
                  <a:lnTo>
                    <a:pt x="830516" y="953962"/>
                  </a:lnTo>
                  <a:lnTo>
                    <a:pt x="825990" y="958498"/>
                  </a:lnTo>
                  <a:lnTo>
                    <a:pt x="820497" y="958498"/>
                  </a:lnTo>
                  <a:lnTo>
                    <a:pt x="815971" y="963991"/>
                  </a:lnTo>
                  <a:lnTo>
                    <a:pt x="806461" y="968486"/>
                  </a:lnTo>
                  <a:lnTo>
                    <a:pt x="806461" y="973479"/>
                  </a:lnTo>
                  <a:lnTo>
                    <a:pt x="810987" y="982968"/>
                  </a:lnTo>
                  <a:lnTo>
                    <a:pt x="810987" y="987961"/>
                  </a:lnTo>
                  <a:lnTo>
                    <a:pt x="810987" y="992955"/>
                  </a:lnTo>
                  <a:lnTo>
                    <a:pt x="810987" y="997450"/>
                  </a:lnTo>
                  <a:lnTo>
                    <a:pt x="815971" y="1006980"/>
                  </a:lnTo>
                  <a:lnTo>
                    <a:pt x="810987" y="1021961"/>
                  </a:lnTo>
                  <a:lnTo>
                    <a:pt x="815971" y="1026455"/>
                  </a:lnTo>
                  <a:lnTo>
                    <a:pt x="820497" y="1031949"/>
                  </a:lnTo>
                  <a:lnTo>
                    <a:pt x="825990" y="1026455"/>
                  </a:lnTo>
                  <a:lnTo>
                    <a:pt x="830516" y="1031949"/>
                  </a:lnTo>
                  <a:lnTo>
                    <a:pt x="825990" y="1036443"/>
                  </a:lnTo>
                  <a:lnTo>
                    <a:pt x="830516" y="1041478"/>
                  </a:lnTo>
                  <a:lnTo>
                    <a:pt x="839975" y="1041478"/>
                  </a:lnTo>
                  <a:lnTo>
                    <a:pt x="845009" y="1041478"/>
                  </a:lnTo>
                  <a:lnTo>
                    <a:pt x="845009" y="1051466"/>
                  </a:lnTo>
                  <a:lnTo>
                    <a:pt x="839975" y="1055960"/>
                  </a:lnTo>
                  <a:lnTo>
                    <a:pt x="830516" y="1060954"/>
                  </a:lnTo>
                  <a:lnTo>
                    <a:pt x="825990" y="1060954"/>
                  </a:lnTo>
                  <a:lnTo>
                    <a:pt x="820497" y="1055960"/>
                  </a:lnTo>
                  <a:lnTo>
                    <a:pt x="800969" y="1055960"/>
                  </a:lnTo>
                  <a:lnTo>
                    <a:pt x="800969" y="1060954"/>
                  </a:lnTo>
                  <a:lnTo>
                    <a:pt x="791459" y="1075436"/>
                  </a:lnTo>
                  <a:lnTo>
                    <a:pt x="800969" y="1080430"/>
                  </a:lnTo>
                  <a:lnTo>
                    <a:pt x="800969" y="1089960"/>
                  </a:lnTo>
                  <a:lnTo>
                    <a:pt x="806461" y="1094454"/>
                  </a:lnTo>
                  <a:lnTo>
                    <a:pt x="806461" y="1099948"/>
                  </a:lnTo>
                  <a:lnTo>
                    <a:pt x="796494" y="1099948"/>
                  </a:lnTo>
                  <a:lnTo>
                    <a:pt x="791459" y="1099948"/>
                  </a:lnTo>
                  <a:lnTo>
                    <a:pt x="791459" y="1104442"/>
                  </a:lnTo>
                  <a:lnTo>
                    <a:pt x="786984" y="1109436"/>
                  </a:lnTo>
                  <a:lnTo>
                    <a:pt x="786984" y="1119423"/>
                  </a:lnTo>
                  <a:lnTo>
                    <a:pt x="796494" y="1119423"/>
                  </a:lnTo>
                  <a:lnTo>
                    <a:pt x="815971" y="1119423"/>
                  </a:lnTo>
                  <a:lnTo>
                    <a:pt x="820497" y="1128953"/>
                  </a:lnTo>
                  <a:lnTo>
                    <a:pt x="815971" y="1133448"/>
                  </a:lnTo>
                  <a:lnTo>
                    <a:pt x="806461" y="1138941"/>
                  </a:lnTo>
                  <a:lnTo>
                    <a:pt x="800969" y="1158417"/>
                  </a:lnTo>
                  <a:lnTo>
                    <a:pt x="791459" y="1162911"/>
                  </a:lnTo>
                  <a:lnTo>
                    <a:pt x="791459" y="1172441"/>
                  </a:lnTo>
                  <a:lnTo>
                    <a:pt x="786984" y="1172441"/>
                  </a:lnTo>
                  <a:lnTo>
                    <a:pt x="786984" y="1182429"/>
                  </a:lnTo>
                  <a:lnTo>
                    <a:pt x="766947" y="1187422"/>
                  </a:lnTo>
                  <a:lnTo>
                    <a:pt x="766947" y="1191917"/>
                  </a:lnTo>
                  <a:lnTo>
                    <a:pt x="756928" y="1211434"/>
                  </a:lnTo>
                  <a:lnTo>
                    <a:pt x="752453" y="1211434"/>
                  </a:lnTo>
                  <a:lnTo>
                    <a:pt x="752453" y="1216428"/>
                  </a:lnTo>
                  <a:lnTo>
                    <a:pt x="752453" y="1220923"/>
                  </a:lnTo>
                  <a:lnTo>
                    <a:pt x="747418" y="1220923"/>
                  </a:lnTo>
                  <a:lnTo>
                    <a:pt x="742943" y="1226416"/>
                  </a:lnTo>
                  <a:lnTo>
                    <a:pt x="737451" y="1226416"/>
                  </a:lnTo>
                  <a:lnTo>
                    <a:pt x="742943" y="1216428"/>
                  </a:lnTo>
                  <a:lnTo>
                    <a:pt x="723415" y="1211434"/>
                  </a:lnTo>
                  <a:lnTo>
                    <a:pt x="723415" y="1206940"/>
                  </a:lnTo>
                  <a:lnTo>
                    <a:pt x="717922" y="1206940"/>
                  </a:lnTo>
                  <a:lnTo>
                    <a:pt x="717922" y="1211434"/>
                  </a:lnTo>
                  <a:lnTo>
                    <a:pt x="713447" y="1211434"/>
                  </a:lnTo>
                  <a:lnTo>
                    <a:pt x="708412" y="1182429"/>
                  </a:lnTo>
                  <a:lnTo>
                    <a:pt x="698394" y="1191917"/>
                  </a:lnTo>
                  <a:lnTo>
                    <a:pt x="688884" y="1187422"/>
                  </a:lnTo>
                  <a:lnTo>
                    <a:pt x="688884" y="1172441"/>
                  </a:lnTo>
                  <a:lnTo>
                    <a:pt x="673882" y="1172441"/>
                  </a:lnTo>
                  <a:lnTo>
                    <a:pt x="669407" y="1167947"/>
                  </a:lnTo>
                  <a:lnTo>
                    <a:pt x="669407" y="1162911"/>
                  </a:lnTo>
                  <a:lnTo>
                    <a:pt x="669407" y="1152924"/>
                  </a:lnTo>
                  <a:lnTo>
                    <a:pt x="659897" y="1152924"/>
                  </a:lnTo>
                  <a:lnTo>
                    <a:pt x="659897" y="1148429"/>
                  </a:lnTo>
                  <a:lnTo>
                    <a:pt x="649878" y="1143435"/>
                  </a:lnTo>
                  <a:lnTo>
                    <a:pt x="649878" y="1138941"/>
                  </a:lnTo>
                  <a:lnTo>
                    <a:pt x="634876" y="1128953"/>
                  </a:lnTo>
                  <a:lnTo>
                    <a:pt x="634876" y="1123959"/>
                  </a:lnTo>
                  <a:lnTo>
                    <a:pt x="644894" y="1113930"/>
                  </a:lnTo>
                  <a:lnTo>
                    <a:pt x="640368" y="1109436"/>
                  </a:lnTo>
                  <a:lnTo>
                    <a:pt x="634876" y="1099948"/>
                  </a:lnTo>
                  <a:lnTo>
                    <a:pt x="629892" y="1099948"/>
                  </a:lnTo>
                  <a:lnTo>
                    <a:pt x="634876" y="1089960"/>
                  </a:lnTo>
                  <a:lnTo>
                    <a:pt x="620382" y="1080430"/>
                  </a:lnTo>
                  <a:lnTo>
                    <a:pt x="615348" y="1084966"/>
                  </a:lnTo>
                  <a:lnTo>
                    <a:pt x="600854" y="1080430"/>
                  </a:lnTo>
                  <a:lnTo>
                    <a:pt x="596379" y="1084966"/>
                  </a:lnTo>
                  <a:lnTo>
                    <a:pt x="596379" y="1094454"/>
                  </a:lnTo>
                  <a:lnTo>
                    <a:pt x="590835" y="1094454"/>
                  </a:lnTo>
                  <a:lnTo>
                    <a:pt x="581325" y="1094454"/>
                  </a:lnTo>
                  <a:lnTo>
                    <a:pt x="571358" y="1104442"/>
                  </a:lnTo>
                  <a:lnTo>
                    <a:pt x="566832" y="1099948"/>
                  </a:lnTo>
                  <a:lnTo>
                    <a:pt x="566832" y="1094454"/>
                  </a:lnTo>
                  <a:lnTo>
                    <a:pt x="556305" y="1094454"/>
                  </a:lnTo>
                  <a:lnTo>
                    <a:pt x="551829" y="1099948"/>
                  </a:lnTo>
                  <a:lnTo>
                    <a:pt x="546846" y="1099948"/>
                  </a:lnTo>
                  <a:lnTo>
                    <a:pt x="542320" y="1094454"/>
                  </a:lnTo>
                  <a:lnTo>
                    <a:pt x="537336" y="1099948"/>
                  </a:lnTo>
                  <a:lnTo>
                    <a:pt x="522791" y="1104442"/>
                  </a:lnTo>
                  <a:lnTo>
                    <a:pt x="522791" y="1094454"/>
                  </a:lnTo>
                  <a:lnTo>
                    <a:pt x="517807" y="1099948"/>
                  </a:lnTo>
                  <a:lnTo>
                    <a:pt x="507789" y="1089960"/>
                  </a:lnTo>
                  <a:lnTo>
                    <a:pt x="503314" y="1094454"/>
                  </a:lnTo>
                  <a:lnTo>
                    <a:pt x="498279" y="1094454"/>
                  </a:lnTo>
                  <a:lnTo>
                    <a:pt x="493804" y="1099948"/>
                  </a:lnTo>
                  <a:lnTo>
                    <a:pt x="498279" y="1104442"/>
                  </a:lnTo>
                  <a:lnTo>
                    <a:pt x="493804" y="1109436"/>
                  </a:lnTo>
                  <a:lnTo>
                    <a:pt x="478801" y="1109436"/>
                  </a:lnTo>
                  <a:lnTo>
                    <a:pt x="478801" y="1099948"/>
                  </a:lnTo>
                  <a:lnTo>
                    <a:pt x="468783" y="1109436"/>
                  </a:lnTo>
                  <a:lnTo>
                    <a:pt x="463799" y="1104442"/>
                  </a:lnTo>
                  <a:lnTo>
                    <a:pt x="459273" y="1094454"/>
                  </a:lnTo>
                  <a:lnTo>
                    <a:pt x="444271" y="1084966"/>
                  </a:lnTo>
                  <a:lnTo>
                    <a:pt x="439745" y="1089960"/>
                  </a:lnTo>
                  <a:lnTo>
                    <a:pt x="434761" y="1089960"/>
                  </a:lnTo>
                  <a:lnTo>
                    <a:pt x="430235" y="1099948"/>
                  </a:lnTo>
                  <a:lnTo>
                    <a:pt x="424742" y="1099948"/>
                  </a:lnTo>
                  <a:lnTo>
                    <a:pt x="424742" y="1094454"/>
                  </a:lnTo>
                  <a:lnTo>
                    <a:pt x="420267" y="1089960"/>
                  </a:lnTo>
                  <a:lnTo>
                    <a:pt x="415233" y="1089960"/>
                  </a:lnTo>
                  <a:lnTo>
                    <a:pt x="415233" y="1075436"/>
                  </a:lnTo>
                  <a:lnTo>
                    <a:pt x="409740" y="1075436"/>
                  </a:lnTo>
                  <a:lnTo>
                    <a:pt x="405265" y="1084966"/>
                  </a:lnTo>
                  <a:lnTo>
                    <a:pt x="395755" y="1084966"/>
                  </a:lnTo>
                  <a:lnTo>
                    <a:pt x="395755" y="1075436"/>
                  </a:lnTo>
                  <a:lnTo>
                    <a:pt x="390720" y="1070443"/>
                  </a:lnTo>
                  <a:lnTo>
                    <a:pt x="380702" y="1070443"/>
                  </a:lnTo>
                  <a:lnTo>
                    <a:pt x="371243" y="1070443"/>
                  </a:lnTo>
                  <a:lnTo>
                    <a:pt x="371243" y="1065449"/>
                  </a:lnTo>
                  <a:lnTo>
                    <a:pt x="376227" y="1060954"/>
                  </a:lnTo>
                  <a:lnTo>
                    <a:pt x="351714" y="1055960"/>
                  </a:lnTo>
                  <a:lnTo>
                    <a:pt x="347188" y="1060954"/>
                  </a:lnTo>
                  <a:lnTo>
                    <a:pt x="332186" y="1041478"/>
                  </a:lnTo>
                  <a:lnTo>
                    <a:pt x="326694" y="1041478"/>
                  </a:lnTo>
                  <a:lnTo>
                    <a:pt x="322168" y="1041478"/>
                  </a:lnTo>
                  <a:lnTo>
                    <a:pt x="317184" y="1055960"/>
                  </a:lnTo>
                  <a:lnTo>
                    <a:pt x="312709" y="1055960"/>
                  </a:lnTo>
                  <a:lnTo>
                    <a:pt x="307674" y="1055960"/>
                  </a:lnTo>
                  <a:lnTo>
                    <a:pt x="302690" y="1060954"/>
                  </a:lnTo>
                  <a:lnTo>
                    <a:pt x="293180" y="1060954"/>
                  </a:lnTo>
                  <a:lnTo>
                    <a:pt x="293180" y="1055960"/>
                  </a:lnTo>
                  <a:lnTo>
                    <a:pt x="297655" y="1051466"/>
                  </a:lnTo>
                  <a:lnTo>
                    <a:pt x="293180" y="1045973"/>
                  </a:lnTo>
                  <a:lnTo>
                    <a:pt x="283670" y="1051466"/>
                  </a:lnTo>
                  <a:lnTo>
                    <a:pt x="283670" y="1045973"/>
                  </a:lnTo>
                  <a:lnTo>
                    <a:pt x="273652" y="1051466"/>
                  </a:lnTo>
                  <a:lnTo>
                    <a:pt x="273652" y="1045973"/>
                  </a:lnTo>
                  <a:lnTo>
                    <a:pt x="273652" y="1041478"/>
                  </a:lnTo>
                  <a:lnTo>
                    <a:pt x="263176" y="1045973"/>
                  </a:lnTo>
                  <a:lnTo>
                    <a:pt x="263176" y="1041478"/>
                  </a:lnTo>
                  <a:lnTo>
                    <a:pt x="249140" y="1036443"/>
                  </a:lnTo>
                  <a:lnTo>
                    <a:pt x="249140" y="1031949"/>
                  </a:lnTo>
                  <a:lnTo>
                    <a:pt x="244156" y="1031949"/>
                  </a:lnTo>
                  <a:lnTo>
                    <a:pt x="229611" y="1036443"/>
                  </a:lnTo>
                  <a:lnTo>
                    <a:pt x="229611" y="1041478"/>
                  </a:lnTo>
                  <a:lnTo>
                    <a:pt x="224627" y="1041478"/>
                  </a:lnTo>
                  <a:lnTo>
                    <a:pt x="214609" y="1045973"/>
                  </a:lnTo>
                  <a:lnTo>
                    <a:pt x="205099" y="1041478"/>
                  </a:lnTo>
                  <a:lnTo>
                    <a:pt x="200624" y="1045973"/>
                  </a:lnTo>
                  <a:lnTo>
                    <a:pt x="190097" y="1051466"/>
                  </a:lnTo>
                  <a:lnTo>
                    <a:pt x="175603" y="1055960"/>
                  </a:lnTo>
                  <a:lnTo>
                    <a:pt x="170619" y="1045973"/>
                  </a:lnTo>
                  <a:lnTo>
                    <a:pt x="161109" y="1051466"/>
                  </a:lnTo>
                  <a:lnTo>
                    <a:pt x="156075" y="1051466"/>
                  </a:lnTo>
                  <a:lnTo>
                    <a:pt x="156075" y="1045973"/>
                  </a:lnTo>
                  <a:lnTo>
                    <a:pt x="151091" y="1045973"/>
                  </a:lnTo>
                  <a:lnTo>
                    <a:pt x="141581" y="1041478"/>
                  </a:lnTo>
                  <a:lnTo>
                    <a:pt x="137106" y="1041478"/>
                  </a:lnTo>
                  <a:lnTo>
                    <a:pt x="131563" y="1041478"/>
                  </a:lnTo>
                  <a:lnTo>
                    <a:pt x="131563" y="1045973"/>
                  </a:lnTo>
                  <a:lnTo>
                    <a:pt x="122053" y="1045973"/>
                  </a:lnTo>
                  <a:lnTo>
                    <a:pt x="122053" y="1036443"/>
                  </a:lnTo>
                  <a:lnTo>
                    <a:pt x="116560" y="1036443"/>
                  </a:lnTo>
                  <a:lnTo>
                    <a:pt x="112085" y="1031949"/>
                  </a:lnTo>
                  <a:lnTo>
                    <a:pt x="112085" y="1026455"/>
                  </a:lnTo>
                  <a:lnTo>
                    <a:pt x="122053" y="1026455"/>
                  </a:lnTo>
                  <a:lnTo>
                    <a:pt x="122053" y="1021961"/>
                  </a:lnTo>
                  <a:lnTo>
                    <a:pt x="112085" y="1012473"/>
                  </a:lnTo>
                  <a:lnTo>
                    <a:pt x="107050" y="1012473"/>
                  </a:lnTo>
                  <a:lnTo>
                    <a:pt x="112085" y="1006980"/>
                  </a:lnTo>
                  <a:lnTo>
                    <a:pt x="112085" y="997450"/>
                  </a:lnTo>
                  <a:lnTo>
                    <a:pt x="127087" y="997450"/>
                  </a:lnTo>
                  <a:lnTo>
                    <a:pt x="131563" y="1002485"/>
                  </a:lnTo>
                  <a:lnTo>
                    <a:pt x="141581" y="1006980"/>
                  </a:lnTo>
                  <a:lnTo>
                    <a:pt x="146565" y="992955"/>
                  </a:lnTo>
                  <a:lnTo>
                    <a:pt x="141581" y="982968"/>
                  </a:lnTo>
                  <a:lnTo>
                    <a:pt x="137106" y="982968"/>
                  </a:lnTo>
                  <a:lnTo>
                    <a:pt x="137106" y="963991"/>
                  </a:lnTo>
                  <a:lnTo>
                    <a:pt x="137106" y="958498"/>
                  </a:lnTo>
                  <a:lnTo>
                    <a:pt x="131563" y="948968"/>
                  </a:lnTo>
                  <a:lnTo>
                    <a:pt x="131563" y="944474"/>
                  </a:lnTo>
                  <a:lnTo>
                    <a:pt x="131563" y="938981"/>
                  </a:lnTo>
                  <a:lnTo>
                    <a:pt x="116560" y="924998"/>
                  </a:lnTo>
                  <a:lnTo>
                    <a:pt x="122053" y="919505"/>
                  </a:lnTo>
                  <a:lnTo>
                    <a:pt x="112085" y="919505"/>
                  </a:lnTo>
                  <a:lnTo>
                    <a:pt x="122053" y="899987"/>
                  </a:lnTo>
                  <a:lnTo>
                    <a:pt x="127087" y="895493"/>
                  </a:lnTo>
                  <a:lnTo>
                    <a:pt x="127087" y="890499"/>
                  </a:lnTo>
                  <a:lnTo>
                    <a:pt x="137106" y="886005"/>
                  </a:lnTo>
                  <a:lnTo>
                    <a:pt x="137106" y="876017"/>
                  </a:lnTo>
                  <a:lnTo>
                    <a:pt x="141581" y="876017"/>
                  </a:lnTo>
                  <a:lnTo>
                    <a:pt x="141581" y="866487"/>
                  </a:lnTo>
                  <a:lnTo>
                    <a:pt x="131563" y="861493"/>
                  </a:lnTo>
                  <a:lnTo>
                    <a:pt x="127087" y="866487"/>
                  </a:lnTo>
                  <a:lnTo>
                    <a:pt x="131563" y="870982"/>
                  </a:lnTo>
                  <a:lnTo>
                    <a:pt x="127087" y="870982"/>
                  </a:lnTo>
                  <a:lnTo>
                    <a:pt x="122053" y="866487"/>
                  </a:lnTo>
                  <a:lnTo>
                    <a:pt x="116560" y="866487"/>
                  </a:lnTo>
                  <a:lnTo>
                    <a:pt x="116560" y="861493"/>
                  </a:lnTo>
                  <a:lnTo>
                    <a:pt x="122053" y="861493"/>
                  </a:lnTo>
                  <a:lnTo>
                    <a:pt x="127087" y="847011"/>
                  </a:lnTo>
                  <a:lnTo>
                    <a:pt x="116560" y="842017"/>
                  </a:lnTo>
                  <a:lnTo>
                    <a:pt x="122053" y="837523"/>
                  </a:lnTo>
                  <a:lnTo>
                    <a:pt x="116560" y="832030"/>
                  </a:lnTo>
                  <a:lnTo>
                    <a:pt x="116560" y="827494"/>
                  </a:lnTo>
                  <a:lnTo>
                    <a:pt x="107050" y="827494"/>
                  </a:lnTo>
                  <a:lnTo>
                    <a:pt x="107050" y="822500"/>
                  </a:lnTo>
                  <a:lnTo>
                    <a:pt x="116560" y="822500"/>
                  </a:lnTo>
                  <a:lnTo>
                    <a:pt x="107050" y="812512"/>
                  </a:lnTo>
                  <a:lnTo>
                    <a:pt x="116560" y="803024"/>
                  </a:lnTo>
                  <a:lnTo>
                    <a:pt x="116560" y="798530"/>
                  </a:lnTo>
                  <a:lnTo>
                    <a:pt x="112085" y="793037"/>
                  </a:lnTo>
                  <a:lnTo>
                    <a:pt x="112085" y="788501"/>
                  </a:lnTo>
                  <a:lnTo>
                    <a:pt x="116560" y="779012"/>
                  </a:lnTo>
                  <a:lnTo>
                    <a:pt x="116560" y="774018"/>
                  </a:lnTo>
                  <a:lnTo>
                    <a:pt x="127087" y="769524"/>
                  </a:lnTo>
                  <a:lnTo>
                    <a:pt x="127087" y="759536"/>
                  </a:lnTo>
                  <a:lnTo>
                    <a:pt x="112085" y="769524"/>
                  </a:lnTo>
                  <a:lnTo>
                    <a:pt x="107050" y="764031"/>
                  </a:lnTo>
                  <a:lnTo>
                    <a:pt x="116560" y="754543"/>
                  </a:lnTo>
                  <a:lnTo>
                    <a:pt x="116560" y="744513"/>
                  </a:lnTo>
                  <a:lnTo>
                    <a:pt x="127087" y="740019"/>
                  </a:lnTo>
                  <a:lnTo>
                    <a:pt x="127087" y="730531"/>
                  </a:lnTo>
                  <a:lnTo>
                    <a:pt x="131563" y="725038"/>
                  </a:lnTo>
                  <a:lnTo>
                    <a:pt x="131563" y="730531"/>
                  </a:lnTo>
                  <a:lnTo>
                    <a:pt x="141581" y="730531"/>
                  </a:lnTo>
                  <a:lnTo>
                    <a:pt x="141581" y="725038"/>
                  </a:lnTo>
                  <a:lnTo>
                    <a:pt x="131563" y="715549"/>
                  </a:lnTo>
                  <a:lnTo>
                    <a:pt x="131563" y="711055"/>
                  </a:lnTo>
                  <a:lnTo>
                    <a:pt x="127087" y="705520"/>
                  </a:lnTo>
                  <a:lnTo>
                    <a:pt x="122053" y="701026"/>
                  </a:lnTo>
                  <a:lnTo>
                    <a:pt x="122053" y="681550"/>
                  </a:lnTo>
                  <a:lnTo>
                    <a:pt x="116560" y="676556"/>
                  </a:lnTo>
                  <a:lnTo>
                    <a:pt x="116560" y="667068"/>
                  </a:lnTo>
                  <a:lnTo>
                    <a:pt x="116560" y="662532"/>
                  </a:lnTo>
                  <a:lnTo>
                    <a:pt x="116560" y="657039"/>
                  </a:lnTo>
                  <a:lnTo>
                    <a:pt x="112085" y="652544"/>
                  </a:lnTo>
                  <a:lnTo>
                    <a:pt x="112085" y="647550"/>
                  </a:lnTo>
                  <a:lnTo>
                    <a:pt x="107050" y="643056"/>
                  </a:lnTo>
                  <a:lnTo>
                    <a:pt x="102575" y="643056"/>
                  </a:lnTo>
                  <a:lnTo>
                    <a:pt x="102575" y="637563"/>
                  </a:lnTo>
                  <a:lnTo>
                    <a:pt x="92557" y="633068"/>
                  </a:lnTo>
                  <a:lnTo>
                    <a:pt x="78063" y="628075"/>
                  </a:lnTo>
                  <a:lnTo>
                    <a:pt x="68044" y="608557"/>
                  </a:lnTo>
                  <a:lnTo>
                    <a:pt x="63518" y="608557"/>
                  </a:lnTo>
                  <a:lnTo>
                    <a:pt x="54008" y="598569"/>
                  </a:lnTo>
                  <a:lnTo>
                    <a:pt x="48516" y="594075"/>
                  </a:lnTo>
                  <a:lnTo>
                    <a:pt x="48516" y="589081"/>
                  </a:lnTo>
                  <a:lnTo>
                    <a:pt x="43532" y="584587"/>
                  </a:lnTo>
                  <a:lnTo>
                    <a:pt x="39006" y="584587"/>
                  </a:lnTo>
                  <a:lnTo>
                    <a:pt x="33513" y="574558"/>
                  </a:lnTo>
                  <a:lnTo>
                    <a:pt x="29038" y="574558"/>
                  </a:lnTo>
                  <a:lnTo>
                    <a:pt x="29038" y="560076"/>
                  </a:lnTo>
                  <a:lnTo>
                    <a:pt x="24003" y="560076"/>
                  </a:lnTo>
                  <a:lnTo>
                    <a:pt x="24003" y="555581"/>
                  </a:lnTo>
                  <a:lnTo>
                    <a:pt x="14493" y="560076"/>
                  </a:lnTo>
                  <a:lnTo>
                    <a:pt x="9510" y="565069"/>
                  </a:lnTo>
                  <a:lnTo>
                    <a:pt x="0" y="560076"/>
                  </a:lnTo>
                  <a:lnTo>
                    <a:pt x="0" y="555581"/>
                  </a:lnTo>
                  <a:lnTo>
                    <a:pt x="14493" y="550088"/>
                  </a:lnTo>
                  <a:lnTo>
                    <a:pt x="14493" y="545593"/>
                  </a:lnTo>
                  <a:lnTo>
                    <a:pt x="19528" y="540600"/>
                  </a:lnTo>
                  <a:lnTo>
                    <a:pt x="24003" y="536064"/>
                  </a:lnTo>
                  <a:lnTo>
                    <a:pt x="29038" y="521082"/>
                  </a:lnTo>
                  <a:lnTo>
                    <a:pt x="39006" y="497070"/>
                  </a:lnTo>
                  <a:lnTo>
                    <a:pt x="54008" y="482089"/>
                  </a:lnTo>
                  <a:lnTo>
                    <a:pt x="63518" y="477594"/>
                  </a:lnTo>
                  <a:lnTo>
                    <a:pt x="63518" y="482089"/>
                  </a:lnTo>
                  <a:lnTo>
                    <a:pt x="68044" y="487083"/>
                  </a:lnTo>
                  <a:lnTo>
                    <a:pt x="78063" y="492077"/>
                  </a:lnTo>
                  <a:lnTo>
                    <a:pt x="83047" y="492077"/>
                  </a:lnTo>
                  <a:lnTo>
                    <a:pt x="92557" y="497070"/>
                  </a:lnTo>
                  <a:lnTo>
                    <a:pt x="102575" y="501606"/>
                  </a:lnTo>
                  <a:lnTo>
                    <a:pt x="107050" y="497070"/>
                  </a:lnTo>
                  <a:lnTo>
                    <a:pt x="107050" y="487083"/>
                  </a:lnTo>
                  <a:lnTo>
                    <a:pt x="102575" y="482089"/>
                  </a:lnTo>
                  <a:lnTo>
                    <a:pt x="92557" y="477594"/>
                  </a:lnTo>
                  <a:lnTo>
                    <a:pt x="87573" y="477594"/>
                  </a:lnTo>
                  <a:lnTo>
                    <a:pt x="73537" y="458119"/>
                  </a:lnTo>
                  <a:lnTo>
                    <a:pt x="58534" y="453083"/>
                  </a:lnTo>
                  <a:lnTo>
                    <a:pt x="58534" y="443096"/>
                  </a:lnTo>
                  <a:lnTo>
                    <a:pt x="58534" y="429113"/>
                  </a:lnTo>
                  <a:lnTo>
                    <a:pt x="58534" y="419125"/>
                  </a:lnTo>
                  <a:lnTo>
                    <a:pt x="63518" y="399608"/>
                  </a:lnTo>
                  <a:lnTo>
                    <a:pt x="78063" y="394614"/>
                  </a:lnTo>
                  <a:lnTo>
                    <a:pt x="82573" y="394614"/>
                  </a:lnTo>
                  <a:lnTo>
                    <a:pt x="82573" y="392983"/>
                  </a:lnTo>
                  <a:lnTo>
                    <a:pt x="77031" y="392983"/>
                  </a:lnTo>
                  <a:lnTo>
                    <a:pt x="77031" y="388490"/>
                  </a:lnTo>
                  <a:lnTo>
                    <a:pt x="72023" y="388490"/>
                  </a:lnTo>
                  <a:lnTo>
                    <a:pt x="67015" y="382995"/>
                  </a:lnTo>
                  <a:lnTo>
                    <a:pt x="62527" y="378501"/>
                  </a:lnTo>
                  <a:lnTo>
                    <a:pt x="62527" y="373522"/>
                  </a:lnTo>
                  <a:lnTo>
                    <a:pt x="67015" y="354031"/>
                  </a:lnTo>
                  <a:lnTo>
                    <a:pt x="67015" y="340065"/>
                  </a:lnTo>
                  <a:lnTo>
                    <a:pt x="72023" y="330077"/>
                  </a:lnTo>
                  <a:lnTo>
                    <a:pt x="72023" y="301113"/>
                  </a:lnTo>
                  <a:lnTo>
                    <a:pt x="82038" y="301113"/>
                  </a:lnTo>
                  <a:lnTo>
                    <a:pt x="72023" y="286115"/>
                  </a:lnTo>
                  <a:lnTo>
                    <a:pt x="72023" y="276643"/>
                  </a:lnTo>
                  <a:lnTo>
                    <a:pt x="72023" y="266654"/>
                  </a:lnTo>
                  <a:lnTo>
                    <a:pt x="72023" y="247163"/>
                  </a:lnTo>
                  <a:lnTo>
                    <a:pt x="67015" y="233197"/>
                  </a:lnTo>
                  <a:lnTo>
                    <a:pt x="67015" y="218230"/>
                  </a:lnTo>
                  <a:lnTo>
                    <a:pt x="67015" y="213706"/>
                  </a:lnTo>
                  <a:lnTo>
                    <a:pt x="72023" y="198738"/>
                  </a:lnTo>
                  <a:lnTo>
                    <a:pt x="77031" y="198738"/>
                  </a:lnTo>
                  <a:lnTo>
                    <a:pt x="77031" y="189266"/>
                  </a:lnTo>
                  <a:lnTo>
                    <a:pt x="82038" y="155293"/>
                  </a:lnTo>
                  <a:lnTo>
                    <a:pt x="77031" y="145820"/>
                  </a:lnTo>
                  <a:lnTo>
                    <a:pt x="77031" y="140325"/>
                  </a:lnTo>
                  <a:lnTo>
                    <a:pt x="72023" y="120834"/>
                  </a:lnTo>
                  <a:lnTo>
                    <a:pt x="86574" y="120834"/>
                  </a:lnTo>
                  <a:lnTo>
                    <a:pt x="91581" y="116341"/>
                  </a:lnTo>
                  <a:lnTo>
                    <a:pt x="96069" y="111361"/>
                  </a:lnTo>
                  <a:lnTo>
                    <a:pt x="111093" y="96880"/>
                  </a:lnTo>
                  <a:lnTo>
                    <a:pt x="121108" y="91870"/>
                  </a:lnTo>
                  <a:lnTo>
                    <a:pt x="121108" y="87377"/>
                  </a:lnTo>
                  <a:lnTo>
                    <a:pt x="136131" y="77904"/>
                  </a:lnTo>
                  <a:lnTo>
                    <a:pt x="160177" y="72409"/>
                  </a:lnTo>
                  <a:lnTo>
                    <a:pt x="189232" y="58413"/>
                  </a:lnTo>
                  <a:lnTo>
                    <a:pt x="199719" y="52918"/>
                  </a:lnTo>
                  <a:lnTo>
                    <a:pt x="209215" y="52918"/>
                  </a:lnTo>
                  <a:lnTo>
                    <a:pt x="252820" y="48425"/>
                  </a:lnTo>
                  <a:lnTo>
                    <a:pt x="257828" y="43446"/>
                  </a:lnTo>
                  <a:lnTo>
                    <a:pt x="277339" y="38952"/>
                  </a:lnTo>
                  <a:lnTo>
                    <a:pt x="302377" y="28964"/>
                  </a:lnTo>
                  <a:lnTo>
                    <a:pt x="311873" y="28964"/>
                  </a:lnTo>
                  <a:lnTo>
                    <a:pt x="326424" y="23954"/>
                  </a:lnTo>
                  <a:lnTo>
                    <a:pt x="335920" y="19461"/>
                  </a:lnTo>
                  <a:lnTo>
                    <a:pt x="355950" y="23954"/>
                  </a:lnTo>
                  <a:lnTo>
                    <a:pt x="370454" y="19461"/>
                  </a:lnTo>
                  <a:lnTo>
                    <a:pt x="379997" y="14482"/>
                  </a:lnTo>
                  <a:lnTo>
                    <a:pt x="385477" y="14482"/>
                  </a:lnTo>
                  <a:lnTo>
                    <a:pt x="390012" y="9503"/>
                  </a:lnTo>
                  <a:close/>
                </a:path>
              </a:pathLst>
            </a:custGeom>
            <a:solidFill>
              <a:srgbClr val="E11A81">
                <a:lumMod val="20000"/>
                <a:lumOff val="80000"/>
              </a:srgbClr>
            </a:solidFill>
            <a:ln w="6350" cap="flat" cmpd="sng" algn="ctr">
              <a:solidFill>
                <a:sysClr val="window" lastClr="FFFFFF"/>
              </a:solidFill>
              <a:prstDash val="solid"/>
              <a:miter lim="800000"/>
            </a:ln>
            <a:effectLst/>
          </p:spPr>
          <p:txBody>
            <a:bodyPr rot="0" spcFirstLastPara="0" vert="horz" wrap="square" lIns="58652" tIns="29326" rIns="58652" bIns="2932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586496">
                <a:defRPr/>
              </a:pPr>
              <a:endParaRPr lang="fr-FR" sz="1400">
                <a:solidFill>
                  <a:srgbClr val="FFFFFF"/>
                </a:solidFill>
                <a:latin typeface="Helvetica Neue"/>
              </a:endParaRPr>
            </a:p>
          </p:txBody>
        </p:sp>
        <p:sp>
          <p:nvSpPr>
            <p:cNvPr id="51" name="Forme libre 11">
              <a:extLst>
                <a:ext uri="{FF2B5EF4-FFF2-40B4-BE49-F238E27FC236}">
                  <a16:creationId xmlns:a16="http://schemas.microsoft.com/office/drawing/2014/main" id="{7202876B-74D0-4053-8B62-FF0122732F6E}"/>
                </a:ext>
              </a:extLst>
            </p:cNvPr>
            <p:cNvSpPr/>
            <p:nvPr/>
          </p:nvSpPr>
          <p:spPr>
            <a:xfrm>
              <a:off x="3597650" y="3973563"/>
              <a:ext cx="242381" cy="198887"/>
            </a:xfrm>
            <a:custGeom>
              <a:avLst/>
              <a:gdLst>
                <a:gd name="connsiteX0" fmla="*/ 922269 w 1746071"/>
                <a:gd name="connsiteY0" fmla="*/ 1202401 h 1454292"/>
                <a:gd name="connsiteX1" fmla="*/ 922269 w 1746071"/>
                <a:gd name="connsiteY1" fmla="*/ 1202656 h 1454292"/>
                <a:gd name="connsiteX2" fmla="*/ 927619 w 1746071"/>
                <a:gd name="connsiteY2" fmla="*/ 1205065 h 1454292"/>
                <a:gd name="connsiteX3" fmla="*/ 494064 w 1746071"/>
                <a:gd name="connsiteY3" fmla="*/ 0 h 1454292"/>
                <a:gd name="connsiteX4" fmla="*/ 498572 w 1746071"/>
                <a:gd name="connsiteY4" fmla="*/ 4992 h 1454292"/>
                <a:gd name="connsiteX5" fmla="*/ 498572 w 1746071"/>
                <a:gd name="connsiteY5" fmla="*/ 9492 h 1454292"/>
                <a:gd name="connsiteX6" fmla="*/ 518604 w 1746071"/>
                <a:gd name="connsiteY6" fmla="*/ 9492 h 1454292"/>
                <a:gd name="connsiteX7" fmla="*/ 518604 w 1746071"/>
                <a:gd name="connsiteY7" fmla="*/ 14976 h 1454292"/>
                <a:gd name="connsiteX8" fmla="*/ 523112 w 1746071"/>
                <a:gd name="connsiteY8" fmla="*/ 19475 h 1454292"/>
                <a:gd name="connsiteX9" fmla="*/ 518604 w 1746071"/>
                <a:gd name="connsiteY9" fmla="*/ 19475 h 1454292"/>
                <a:gd name="connsiteX10" fmla="*/ 513584 w 1746071"/>
                <a:gd name="connsiteY10" fmla="*/ 24467 h 1454292"/>
                <a:gd name="connsiteX11" fmla="*/ 518604 w 1746071"/>
                <a:gd name="connsiteY11" fmla="*/ 44013 h 1454292"/>
                <a:gd name="connsiteX12" fmla="*/ 513584 w 1746071"/>
                <a:gd name="connsiteY12" fmla="*/ 44013 h 1454292"/>
                <a:gd name="connsiteX13" fmla="*/ 509076 w 1746071"/>
                <a:gd name="connsiteY13" fmla="*/ 39021 h 1454292"/>
                <a:gd name="connsiteX14" fmla="*/ 503592 w 1746071"/>
                <a:gd name="connsiteY14" fmla="*/ 39021 h 1454292"/>
                <a:gd name="connsiteX15" fmla="*/ 509076 w 1746071"/>
                <a:gd name="connsiteY15" fmla="*/ 44013 h 1454292"/>
                <a:gd name="connsiteX16" fmla="*/ 503592 w 1746071"/>
                <a:gd name="connsiteY16" fmla="*/ 48512 h 1454292"/>
                <a:gd name="connsiteX17" fmla="*/ 503592 w 1746071"/>
                <a:gd name="connsiteY17" fmla="*/ 53996 h 1454292"/>
                <a:gd name="connsiteX18" fmla="*/ 498572 w 1746071"/>
                <a:gd name="connsiteY18" fmla="*/ 58496 h 1454292"/>
                <a:gd name="connsiteX19" fmla="*/ 503592 w 1746071"/>
                <a:gd name="connsiteY19" fmla="*/ 67988 h 1454292"/>
                <a:gd name="connsiteX20" fmla="*/ 498572 w 1746071"/>
                <a:gd name="connsiteY20" fmla="*/ 82963 h 1454292"/>
                <a:gd name="connsiteX21" fmla="*/ 494064 w 1746071"/>
                <a:gd name="connsiteY21" fmla="*/ 102509 h 1454292"/>
                <a:gd name="connsiteX22" fmla="*/ 488579 w 1746071"/>
                <a:gd name="connsiteY22" fmla="*/ 102509 h 1454292"/>
                <a:gd name="connsiteX23" fmla="*/ 488579 w 1746071"/>
                <a:gd name="connsiteY23" fmla="*/ 116500 h 1454292"/>
                <a:gd name="connsiteX24" fmla="*/ 494064 w 1746071"/>
                <a:gd name="connsiteY24" fmla="*/ 116500 h 1454292"/>
                <a:gd name="connsiteX25" fmla="*/ 509076 w 1746071"/>
                <a:gd name="connsiteY25" fmla="*/ 121984 h 1454292"/>
                <a:gd name="connsiteX26" fmla="*/ 523112 w 1746071"/>
                <a:gd name="connsiteY26" fmla="*/ 141460 h 1454292"/>
                <a:gd name="connsiteX27" fmla="*/ 513584 w 1746071"/>
                <a:gd name="connsiteY27" fmla="*/ 165435 h 1454292"/>
                <a:gd name="connsiteX28" fmla="*/ 513584 w 1746071"/>
                <a:gd name="connsiteY28" fmla="*/ 174926 h 1454292"/>
                <a:gd name="connsiteX29" fmla="*/ 518604 w 1746071"/>
                <a:gd name="connsiteY29" fmla="*/ 189972 h 1454292"/>
                <a:gd name="connsiteX30" fmla="*/ 513584 w 1746071"/>
                <a:gd name="connsiteY30" fmla="*/ 204455 h 1454292"/>
                <a:gd name="connsiteX31" fmla="*/ 518604 w 1746071"/>
                <a:gd name="connsiteY31" fmla="*/ 209447 h 1454292"/>
                <a:gd name="connsiteX32" fmla="*/ 528597 w 1746071"/>
                <a:gd name="connsiteY32" fmla="*/ 209447 h 1454292"/>
                <a:gd name="connsiteX33" fmla="*/ 538125 w 1746071"/>
                <a:gd name="connsiteY33" fmla="*/ 209447 h 1454292"/>
                <a:gd name="connsiteX34" fmla="*/ 542633 w 1746071"/>
                <a:gd name="connsiteY34" fmla="*/ 204455 h 1454292"/>
                <a:gd name="connsiteX35" fmla="*/ 547607 w 1746071"/>
                <a:gd name="connsiteY35" fmla="*/ 199464 h 1454292"/>
                <a:gd name="connsiteX36" fmla="*/ 562155 w 1746071"/>
                <a:gd name="connsiteY36" fmla="*/ 199464 h 1454292"/>
                <a:gd name="connsiteX37" fmla="*/ 562155 w 1746071"/>
                <a:gd name="connsiteY37" fmla="*/ 204455 h 1454292"/>
                <a:gd name="connsiteX38" fmla="*/ 572659 w 1746071"/>
                <a:gd name="connsiteY38" fmla="*/ 209447 h 1454292"/>
                <a:gd name="connsiteX39" fmla="*/ 586695 w 1746071"/>
                <a:gd name="connsiteY39" fmla="*/ 218939 h 1454292"/>
                <a:gd name="connsiteX40" fmla="*/ 592180 w 1746071"/>
                <a:gd name="connsiteY40" fmla="*/ 218939 h 1454292"/>
                <a:gd name="connsiteX41" fmla="*/ 601708 w 1746071"/>
                <a:gd name="connsiteY41" fmla="*/ 218939 h 1454292"/>
                <a:gd name="connsiteX42" fmla="*/ 601708 w 1746071"/>
                <a:gd name="connsiteY42" fmla="*/ 223439 h 1454292"/>
                <a:gd name="connsiteX43" fmla="*/ 606216 w 1746071"/>
                <a:gd name="connsiteY43" fmla="*/ 228923 h 1454292"/>
                <a:gd name="connsiteX44" fmla="*/ 611700 w 1746071"/>
                <a:gd name="connsiteY44" fmla="*/ 238414 h 1454292"/>
                <a:gd name="connsiteX45" fmla="*/ 611700 w 1746071"/>
                <a:gd name="connsiteY45" fmla="*/ 242914 h 1454292"/>
                <a:gd name="connsiteX46" fmla="*/ 616209 w 1746071"/>
                <a:gd name="connsiteY46" fmla="*/ 248468 h 1454292"/>
                <a:gd name="connsiteX47" fmla="*/ 621229 w 1746071"/>
                <a:gd name="connsiteY47" fmla="*/ 242914 h 1454292"/>
                <a:gd name="connsiteX48" fmla="*/ 625737 w 1746071"/>
                <a:gd name="connsiteY48" fmla="*/ 257960 h 1454292"/>
                <a:gd name="connsiteX49" fmla="*/ 635730 w 1746071"/>
                <a:gd name="connsiteY49" fmla="*/ 257960 h 1454292"/>
                <a:gd name="connsiteX50" fmla="*/ 640749 w 1746071"/>
                <a:gd name="connsiteY50" fmla="*/ 252968 h 1454292"/>
                <a:gd name="connsiteX51" fmla="*/ 645723 w 1746071"/>
                <a:gd name="connsiteY51" fmla="*/ 257960 h 1454292"/>
                <a:gd name="connsiteX52" fmla="*/ 650231 w 1746071"/>
                <a:gd name="connsiteY52" fmla="*/ 257960 h 1454292"/>
                <a:gd name="connsiteX53" fmla="*/ 655762 w 1746071"/>
                <a:gd name="connsiteY53" fmla="*/ 257960 h 1454292"/>
                <a:gd name="connsiteX54" fmla="*/ 660270 w 1746071"/>
                <a:gd name="connsiteY54" fmla="*/ 252968 h 1454292"/>
                <a:gd name="connsiteX55" fmla="*/ 665243 w 1746071"/>
                <a:gd name="connsiteY55" fmla="*/ 257960 h 1454292"/>
                <a:gd name="connsiteX56" fmla="*/ 669752 w 1746071"/>
                <a:gd name="connsiteY56" fmla="*/ 262459 h 1454292"/>
                <a:gd name="connsiteX57" fmla="*/ 675283 w 1746071"/>
                <a:gd name="connsiteY57" fmla="*/ 267944 h 1454292"/>
                <a:gd name="connsiteX58" fmla="*/ 679791 w 1746071"/>
                <a:gd name="connsiteY58" fmla="*/ 272443 h 1454292"/>
                <a:gd name="connsiteX59" fmla="*/ 684764 w 1746071"/>
                <a:gd name="connsiteY59" fmla="*/ 277435 h 1454292"/>
                <a:gd name="connsiteX60" fmla="*/ 675283 w 1746071"/>
                <a:gd name="connsiteY60" fmla="*/ 287419 h 1454292"/>
                <a:gd name="connsiteX61" fmla="*/ 679791 w 1746071"/>
                <a:gd name="connsiteY61" fmla="*/ 296911 h 1454292"/>
                <a:gd name="connsiteX62" fmla="*/ 684764 w 1746071"/>
                <a:gd name="connsiteY62" fmla="*/ 296911 h 1454292"/>
                <a:gd name="connsiteX63" fmla="*/ 689273 w 1746071"/>
                <a:gd name="connsiteY63" fmla="*/ 291919 h 1454292"/>
                <a:gd name="connsiteX64" fmla="*/ 689273 w 1746071"/>
                <a:gd name="connsiteY64" fmla="*/ 287419 h 1454292"/>
                <a:gd name="connsiteX65" fmla="*/ 699312 w 1746071"/>
                <a:gd name="connsiteY65" fmla="*/ 287419 h 1454292"/>
                <a:gd name="connsiteX66" fmla="*/ 708670 w 1746071"/>
                <a:gd name="connsiteY66" fmla="*/ 291860 h 1454292"/>
                <a:gd name="connsiteX67" fmla="*/ 709359 w 1746071"/>
                <a:gd name="connsiteY67" fmla="*/ 290402 h 1454292"/>
                <a:gd name="connsiteX68" fmla="*/ 714348 w 1746071"/>
                <a:gd name="connsiteY68" fmla="*/ 295395 h 1454292"/>
                <a:gd name="connsiteX69" fmla="*/ 724376 w 1746071"/>
                <a:gd name="connsiteY69" fmla="*/ 305428 h 1454292"/>
                <a:gd name="connsiteX70" fmla="*/ 729365 w 1746071"/>
                <a:gd name="connsiteY70" fmla="*/ 319446 h 1454292"/>
                <a:gd name="connsiteX71" fmla="*/ 729365 w 1746071"/>
                <a:gd name="connsiteY71" fmla="*/ 329432 h 1454292"/>
                <a:gd name="connsiteX72" fmla="*/ 739392 w 1746071"/>
                <a:gd name="connsiteY72" fmla="*/ 334472 h 1454292"/>
                <a:gd name="connsiteX73" fmla="*/ 739392 w 1746071"/>
                <a:gd name="connsiteY73" fmla="*/ 344458 h 1454292"/>
                <a:gd name="connsiteX74" fmla="*/ 733860 w 1746071"/>
                <a:gd name="connsiteY74" fmla="*/ 344458 h 1454292"/>
                <a:gd name="connsiteX75" fmla="*/ 733860 w 1746071"/>
                <a:gd name="connsiteY75" fmla="*/ 348970 h 1454292"/>
                <a:gd name="connsiteX76" fmla="*/ 739392 w 1746071"/>
                <a:gd name="connsiteY76" fmla="*/ 348970 h 1454292"/>
                <a:gd name="connsiteX77" fmla="*/ 739392 w 1746071"/>
                <a:gd name="connsiteY77" fmla="*/ 353963 h 1454292"/>
                <a:gd name="connsiteX78" fmla="*/ 743887 w 1746071"/>
                <a:gd name="connsiteY78" fmla="*/ 358476 h 1454292"/>
                <a:gd name="connsiteX79" fmla="*/ 743887 w 1746071"/>
                <a:gd name="connsiteY79" fmla="*/ 348970 h 1454292"/>
                <a:gd name="connsiteX80" fmla="*/ 758904 w 1746071"/>
                <a:gd name="connsiteY80" fmla="*/ 348970 h 1454292"/>
                <a:gd name="connsiteX81" fmla="*/ 763399 w 1746071"/>
                <a:gd name="connsiteY81" fmla="*/ 348970 h 1454292"/>
                <a:gd name="connsiteX82" fmla="*/ 768388 w 1746071"/>
                <a:gd name="connsiteY82" fmla="*/ 338937 h 1454292"/>
                <a:gd name="connsiteX83" fmla="*/ 777872 w 1746071"/>
                <a:gd name="connsiteY83" fmla="*/ 338937 h 1454292"/>
                <a:gd name="connsiteX84" fmla="*/ 782910 w 1746071"/>
                <a:gd name="connsiteY84" fmla="*/ 344458 h 1454292"/>
                <a:gd name="connsiteX85" fmla="*/ 787899 w 1746071"/>
                <a:gd name="connsiteY85" fmla="*/ 348970 h 1454292"/>
                <a:gd name="connsiteX86" fmla="*/ 792888 w 1746071"/>
                <a:gd name="connsiteY86" fmla="*/ 344458 h 1454292"/>
                <a:gd name="connsiteX87" fmla="*/ 792888 w 1746071"/>
                <a:gd name="connsiteY87" fmla="*/ 338937 h 1454292"/>
                <a:gd name="connsiteX88" fmla="*/ 797383 w 1746071"/>
                <a:gd name="connsiteY88" fmla="*/ 329432 h 1454292"/>
                <a:gd name="connsiteX89" fmla="*/ 797383 w 1746071"/>
                <a:gd name="connsiteY89" fmla="*/ 324919 h 1454292"/>
                <a:gd name="connsiteX90" fmla="*/ 807411 w 1746071"/>
                <a:gd name="connsiteY90" fmla="*/ 324919 h 1454292"/>
                <a:gd name="connsiteX91" fmla="*/ 816895 w 1746071"/>
                <a:gd name="connsiteY91" fmla="*/ 329432 h 1454292"/>
                <a:gd name="connsiteX92" fmla="*/ 841939 w 1746071"/>
                <a:gd name="connsiteY92" fmla="*/ 329432 h 1454292"/>
                <a:gd name="connsiteX93" fmla="*/ 841939 w 1746071"/>
                <a:gd name="connsiteY93" fmla="*/ 319446 h 1454292"/>
                <a:gd name="connsiteX94" fmla="*/ 846434 w 1746071"/>
                <a:gd name="connsiteY94" fmla="*/ 314933 h 1454292"/>
                <a:gd name="connsiteX95" fmla="*/ 860907 w 1746071"/>
                <a:gd name="connsiteY95" fmla="*/ 324919 h 1454292"/>
                <a:gd name="connsiteX96" fmla="*/ 860907 w 1746071"/>
                <a:gd name="connsiteY96" fmla="*/ 329432 h 1454292"/>
                <a:gd name="connsiteX97" fmla="*/ 870934 w 1746071"/>
                <a:gd name="connsiteY97" fmla="*/ 329432 h 1454292"/>
                <a:gd name="connsiteX98" fmla="*/ 870934 w 1746071"/>
                <a:gd name="connsiteY98" fmla="*/ 334472 h 1454292"/>
                <a:gd name="connsiteX99" fmla="*/ 870934 w 1746071"/>
                <a:gd name="connsiteY99" fmla="*/ 338937 h 1454292"/>
                <a:gd name="connsiteX100" fmla="*/ 880418 w 1746071"/>
                <a:gd name="connsiteY100" fmla="*/ 348970 h 1454292"/>
                <a:gd name="connsiteX101" fmla="*/ 890446 w 1746071"/>
                <a:gd name="connsiteY101" fmla="*/ 348970 h 1454292"/>
                <a:gd name="connsiteX102" fmla="*/ 905462 w 1746071"/>
                <a:gd name="connsiteY102" fmla="*/ 348970 h 1454292"/>
                <a:gd name="connsiteX103" fmla="*/ 914946 w 1746071"/>
                <a:gd name="connsiteY103" fmla="*/ 353963 h 1454292"/>
                <a:gd name="connsiteX104" fmla="*/ 919441 w 1746071"/>
                <a:gd name="connsiteY104" fmla="*/ 353963 h 1454292"/>
                <a:gd name="connsiteX105" fmla="*/ 924974 w 1746071"/>
                <a:gd name="connsiteY105" fmla="*/ 373502 h 1454292"/>
                <a:gd name="connsiteX106" fmla="*/ 934458 w 1746071"/>
                <a:gd name="connsiteY106" fmla="*/ 373502 h 1454292"/>
                <a:gd name="connsiteX107" fmla="*/ 943942 w 1746071"/>
                <a:gd name="connsiteY107" fmla="*/ 373502 h 1454292"/>
                <a:gd name="connsiteX108" fmla="*/ 949474 w 1746071"/>
                <a:gd name="connsiteY108" fmla="*/ 368509 h 1454292"/>
                <a:gd name="connsiteX109" fmla="*/ 963453 w 1746071"/>
                <a:gd name="connsiteY109" fmla="*/ 373502 h 1454292"/>
                <a:gd name="connsiteX110" fmla="*/ 963453 w 1746071"/>
                <a:gd name="connsiteY110" fmla="*/ 363996 h 1454292"/>
                <a:gd name="connsiteX111" fmla="*/ 968986 w 1746071"/>
                <a:gd name="connsiteY111" fmla="*/ 363996 h 1454292"/>
                <a:gd name="connsiteX112" fmla="*/ 973481 w 1746071"/>
                <a:gd name="connsiteY112" fmla="*/ 348970 h 1454292"/>
                <a:gd name="connsiteX113" fmla="*/ 978470 w 1746071"/>
                <a:gd name="connsiteY113" fmla="*/ 348970 h 1454292"/>
                <a:gd name="connsiteX114" fmla="*/ 982965 w 1746071"/>
                <a:gd name="connsiteY114" fmla="*/ 348970 h 1454292"/>
                <a:gd name="connsiteX115" fmla="*/ 982965 w 1746071"/>
                <a:gd name="connsiteY115" fmla="*/ 344458 h 1454292"/>
                <a:gd name="connsiteX116" fmla="*/ 992992 w 1746071"/>
                <a:gd name="connsiteY116" fmla="*/ 338937 h 1454292"/>
                <a:gd name="connsiteX117" fmla="*/ 1002476 w 1746071"/>
                <a:gd name="connsiteY117" fmla="*/ 338937 h 1454292"/>
                <a:gd name="connsiteX118" fmla="*/ 1012998 w 1746071"/>
                <a:gd name="connsiteY118" fmla="*/ 338937 h 1454292"/>
                <a:gd name="connsiteX119" fmla="*/ 1017493 w 1746071"/>
                <a:gd name="connsiteY119" fmla="*/ 338937 h 1454292"/>
                <a:gd name="connsiteX120" fmla="*/ 1026977 w 1746071"/>
                <a:gd name="connsiteY120" fmla="*/ 338937 h 1454292"/>
                <a:gd name="connsiteX121" fmla="*/ 1026977 w 1746071"/>
                <a:gd name="connsiteY121" fmla="*/ 344458 h 1454292"/>
                <a:gd name="connsiteX122" fmla="*/ 1032509 w 1746071"/>
                <a:gd name="connsiteY122" fmla="*/ 348970 h 1454292"/>
                <a:gd name="connsiteX123" fmla="*/ 1046488 w 1746071"/>
                <a:gd name="connsiteY123" fmla="*/ 358476 h 1454292"/>
                <a:gd name="connsiteX124" fmla="*/ 1052021 w 1746071"/>
                <a:gd name="connsiteY124" fmla="*/ 358476 h 1454292"/>
                <a:gd name="connsiteX125" fmla="*/ 1056516 w 1746071"/>
                <a:gd name="connsiteY125" fmla="*/ 363996 h 1454292"/>
                <a:gd name="connsiteX126" fmla="*/ 1061505 w 1746071"/>
                <a:gd name="connsiteY126" fmla="*/ 363996 h 1454292"/>
                <a:gd name="connsiteX127" fmla="*/ 1061505 w 1746071"/>
                <a:gd name="connsiteY127" fmla="*/ 358476 h 1454292"/>
                <a:gd name="connsiteX128" fmla="*/ 1066000 w 1746071"/>
                <a:gd name="connsiteY128" fmla="*/ 358476 h 1454292"/>
                <a:gd name="connsiteX129" fmla="*/ 1071532 w 1746071"/>
                <a:gd name="connsiteY129" fmla="*/ 358476 h 1454292"/>
                <a:gd name="connsiteX130" fmla="*/ 1076027 w 1746071"/>
                <a:gd name="connsiteY130" fmla="*/ 353963 h 1454292"/>
                <a:gd name="connsiteX131" fmla="*/ 1081016 w 1746071"/>
                <a:gd name="connsiteY131" fmla="*/ 353963 h 1454292"/>
                <a:gd name="connsiteX132" fmla="*/ 1086005 w 1746071"/>
                <a:gd name="connsiteY132" fmla="*/ 358476 h 1454292"/>
                <a:gd name="connsiteX133" fmla="*/ 1096033 w 1746071"/>
                <a:gd name="connsiteY133" fmla="*/ 358476 h 1454292"/>
                <a:gd name="connsiteX134" fmla="*/ 1100528 w 1746071"/>
                <a:gd name="connsiteY134" fmla="*/ 363996 h 1454292"/>
                <a:gd name="connsiteX135" fmla="*/ 1120039 w 1746071"/>
                <a:gd name="connsiteY135" fmla="*/ 373502 h 1454292"/>
                <a:gd name="connsiteX136" fmla="*/ 1125028 w 1746071"/>
                <a:gd name="connsiteY136" fmla="*/ 378014 h 1454292"/>
                <a:gd name="connsiteX137" fmla="*/ 1129523 w 1746071"/>
                <a:gd name="connsiteY137" fmla="*/ 383007 h 1454292"/>
                <a:gd name="connsiteX138" fmla="*/ 1120039 w 1746071"/>
                <a:gd name="connsiteY138" fmla="*/ 388000 h 1454292"/>
                <a:gd name="connsiteX139" fmla="*/ 1125028 w 1746071"/>
                <a:gd name="connsiteY139" fmla="*/ 393040 h 1454292"/>
                <a:gd name="connsiteX140" fmla="*/ 1129523 w 1746071"/>
                <a:gd name="connsiteY140" fmla="*/ 393040 h 1454292"/>
                <a:gd name="connsiteX141" fmla="*/ 1139551 w 1746071"/>
                <a:gd name="connsiteY141" fmla="*/ 397505 h 1454292"/>
                <a:gd name="connsiteX142" fmla="*/ 1139551 w 1746071"/>
                <a:gd name="connsiteY142" fmla="*/ 407058 h 1454292"/>
                <a:gd name="connsiteX143" fmla="*/ 1144540 w 1746071"/>
                <a:gd name="connsiteY143" fmla="*/ 407058 h 1454292"/>
                <a:gd name="connsiteX144" fmla="*/ 1144540 w 1746071"/>
                <a:gd name="connsiteY144" fmla="*/ 417044 h 1454292"/>
                <a:gd name="connsiteX145" fmla="*/ 1135056 w 1746071"/>
                <a:gd name="connsiteY145" fmla="*/ 417044 h 1454292"/>
                <a:gd name="connsiteX146" fmla="*/ 1139551 w 1746071"/>
                <a:gd name="connsiteY146" fmla="*/ 426549 h 1454292"/>
                <a:gd name="connsiteX147" fmla="*/ 1144540 w 1746071"/>
                <a:gd name="connsiteY147" fmla="*/ 426549 h 1454292"/>
                <a:gd name="connsiteX148" fmla="*/ 1144540 w 1746071"/>
                <a:gd name="connsiteY148" fmla="*/ 432070 h 1454292"/>
                <a:gd name="connsiteX149" fmla="*/ 1144540 w 1746071"/>
                <a:gd name="connsiteY149" fmla="*/ 436582 h 1454292"/>
                <a:gd name="connsiteX150" fmla="*/ 1159556 w 1746071"/>
                <a:gd name="connsiteY150" fmla="*/ 446088 h 1454292"/>
                <a:gd name="connsiteX151" fmla="*/ 1164051 w 1746071"/>
                <a:gd name="connsiteY151" fmla="*/ 451609 h 1454292"/>
                <a:gd name="connsiteX152" fmla="*/ 1173535 w 1746071"/>
                <a:gd name="connsiteY152" fmla="*/ 456121 h 1454292"/>
                <a:gd name="connsiteX153" fmla="*/ 1173535 w 1746071"/>
                <a:gd name="connsiteY153" fmla="*/ 465627 h 1454292"/>
                <a:gd name="connsiteX154" fmla="*/ 1179068 w 1746071"/>
                <a:gd name="connsiteY154" fmla="*/ 465627 h 1454292"/>
                <a:gd name="connsiteX155" fmla="*/ 1179068 w 1746071"/>
                <a:gd name="connsiteY155" fmla="*/ 471099 h 1454292"/>
                <a:gd name="connsiteX156" fmla="*/ 1179068 w 1746071"/>
                <a:gd name="connsiteY156" fmla="*/ 475612 h 1454292"/>
                <a:gd name="connsiteX157" fmla="*/ 1183563 w 1746071"/>
                <a:gd name="connsiteY157" fmla="*/ 490158 h 1454292"/>
                <a:gd name="connsiteX158" fmla="*/ 1193047 w 1746071"/>
                <a:gd name="connsiteY158" fmla="*/ 485117 h 1454292"/>
                <a:gd name="connsiteX159" fmla="*/ 1198579 w 1746071"/>
                <a:gd name="connsiteY159" fmla="*/ 494623 h 1454292"/>
                <a:gd name="connsiteX160" fmla="*/ 1193047 w 1746071"/>
                <a:gd name="connsiteY160" fmla="*/ 504656 h 1454292"/>
                <a:gd name="connsiteX161" fmla="*/ 1193047 w 1746071"/>
                <a:gd name="connsiteY161" fmla="*/ 509649 h 1454292"/>
                <a:gd name="connsiteX162" fmla="*/ 1198579 w 1746071"/>
                <a:gd name="connsiteY162" fmla="*/ 514161 h 1454292"/>
                <a:gd name="connsiteX163" fmla="*/ 1208063 w 1746071"/>
                <a:gd name="connsiteY163" fmla="*/ 514161 h 1454292"/>
                <a:gd name="connsiteX164" fmla="*/ 1212558 w 1746071"/>
                <a:gd name="connsiteY164" fmla="*/ 514161 h 1454292"/>
                <a:gd name="connsiteX165" fmla="*/ 1227575 w 1746071"/>
                <a:gd name="connsiteY165" fmla="*/ 519682 h 1454292"/>
                <a:gd name="connsiteX166" fmla="*/ 1237602 w 1746071"/>
                <a:gd name="connsiteY166" fmla="*/ 524195 h 1454292"/>
                <a:gd name="connsiteX167" fmla="*/ 1242591 w 1746071"/>
                <a:gd name="connsiteY167" fmla="*/ 519682 h 1454292"/>
                <a:gd name="connsiteX168" fmla="*/ 1242591 w 1746071"/>
                <a:gd name="connsiteY168" fmla="*/ 514161 h 1454292"/>
                <a:gd name="connsiteX169" fmla="*/ 1242591 w 1746071"/>
                <a:gd name="connsiteY169" fmla="*/ 509649 h 1454292"/>
                <a:gd name="connsiteX170" fmla="*/ 1247086 w 1746071"/>
                <a:gd name="connsiteY170" fmla="*/ 509649 h 1454292"/>
                <a:gd name="connsiteX171" fmla="*/ 1242591 w 1746071"/>
                <a:gd name="connsiteY171" fmla="*/ 500143 h 1454292"/>
                <a:gd name="connsiteX172" fmla="*/ 1237602 w 1746071"/>
                <a:gd name="connsiteY172" fmla="*/ 490158 h 1454292"/>
                <a:gd name="connsiteX173" fmla="*/ 1242591 w 1746071"/>
                <a:gd name="connsiteY173" fmla="*/ 480605 h 1454292"/>
                <a:gd name="connsiteX174" fmla="*/ 1252075 w 1746071"/>
                <a:gd name="connsiteY174" fmla="*/ 490158 h 1454292"/>
                <a:gd name="connsiteX175" fmla="*/ 1256620 w 1746071"/>
                <a:gd name="connsiteY175" fmla="*/ 490158 h 1454292"/>
                <a:gd name="connsiteX176" fmla="*/ 1266598 w 1746071"/>
                <a:gd name="connsiteY176" fmla="*/ 480605 h 1454292"/>
                <a:gd name="connsiteX177" fmla="*/ 1271587 w 1746071"/>
                <a:gd name="connsiteY177" fmla="*/ 480605 h 1454292"/>
                <a:gd name="connsiteX178" fmla="*/ 1271587 w 1746071"/>
                <a:gd name="connsiteY178" fmla="*/ 485117 h 1454292"/>
                <a:gd name="connsiteX179" fmla="*/ 1276082 w 1746071"/>
                <a:gd name="connsiteY179" fmla="*/ 490158 h 1454292"/>
                <a:gd name="connsiteX180" fmla="*/ 1281614 w 1746071"/>
                <a:gd name="connsiteY180" fmla="*/ 485117 h 1454292"/>
                <a:gd name="connsiteX181" fmla="*/ 1286109 w 1746071"/>
                <a:gd name="connsiteY181" fmla="*/ 490158 h 1454292"/>
                <a:gd name="connsiteX182" fmla="*/ 1295593 w 1746071"/>
                <a:gd name="connsiteY182" fmla="*/ 494623 h 1454292"/>
                <a:gd name="connsiteX183" fmla="*/ 1301126 w 1746071"/>
                <a:gd name="connsiteY183" fmla="*/ 494623 h 1454292"/>
                <a:gd name="connsiteX184" fmla="*/ 1306115 w 1746071"/>
                <a:gd name="connsiteY184" fmla="*/ 494623 h 1454292"/>
                <a:gd name="connsiteX185" fmla="*/ 1306115 w 1746071"/>
                <a:gd name="connsiteY185" fmla="*/ 514161 h 1454292"/>
                <a:gd name="connsiteX186" fmla="*/ 1310610 w 1746071"/>
                <a:gd name="connsiteY186" fmla="*/ 524195 h 1454292"/>
                <a:gd name="connsiteX187" fmla="*/ 1315599 w 1746071"/>
                <a:gd name="connsiteY187" fmla="*/ 529187 h 1454292"/>
                <a:gd name="connsiteX188" fmla="*/ 1315599 w 1746071"/>
                <a:gd name="connsiteY188" fmla="*/ 539173 h 1454292"/>
                <a:gd name="connsiteX189" fmla="*/ 1320637 w 1746071"/>
                <a:gd name="connsiteY189" fmla="*/ 539173 h 1454292"/>
                <a:gd name="connsiteX190" fmla="*/ 1320637 w 1746071"/>
                <a:gd name="connsiteY190" fmla="*/ 533700 h 1454292"/>
                <a:gd name="connsiteX191" fmla="*/ 1325626 w 1746071"/>
                <a:gd name="connsiteY191" fmla="*/ 524195 h 1454292"/>
                <a:gd name="connsiteX192" fmla="*/ 1325626 w 1746071"/>
                <a:gd name="connsiteY192" fmla="*/ 519682 h 1454292"/>
                <a:gd name="connsiteX193" fmla="*/ 1335110 w 1746071"/>
                <a:gd name="connsiteY193" fmla="*/ 514161 h 1454292"/>
                <a:gd name="connsiteX194" fmla="*/ 1335110 w 1746071"/>
                <a:gd name="connsiteY194" fmla="*/ 524195 h 1454292"/>
                <a:gd name="connsiteX195" fmla="*/ 1345138 w 1746071"/>
                <a:gd name="connsiteY195" fmla="*/ 519682 h 1454292"/>
                <a:gd name="connsiteX196" fmla="*/ 1345138 w 1746071"/>
                <a:gd name="connsiteY196" fmla="*/ 529187 h 1454292"/>
                <a:gd name="connsiteX197" fmla="*/ 1354622 w 1746071"/>
                <a:gd name="connsiteY197" fmla="*/ 533700 h 1454292"/>
                <a:gd name="connsiteX198" fmla="*/ 1354622 w 1746071"/>
                <a:gd name="connsiteY198" fmla="*/ 529187 h 1454292"/>
                <a:gd name="connsiteX199" fmla="*/ 1364649 w 1746071"/>
                <a:gd name="connsiteY199" fmla="*/ 524195 h 1454292"/>
                <a:gd name="connsiteX200" fmla="*/ 1369144 w 1746071"/>
                <a:gd name="connsiteY200" fmla="*/ 533700 h 1454292"/>
                <a:gd name="connsiteX201" fmla="*/ 1369144 w 1746071"/>
                <a:gd name="connsiteY201" fmla="*/ 529187 h 1454292"/>
                <a:gd name="connsiteX202" fmla="*/ 1384161 w 1746071"/>
                <a:gd name="connsiteY202" fmla="*/ 524195 h 1454292"/>
                <a:gd name="connsiteX203" fmla="*/ 1398634 w 1746071"/>
                <a:gd name="connsiteY203" fmla="*/ 529187 h 1454292"/>
                <a:gd name="connsiteX204" fmla="*/ 1398634 w 1746071"/>
                <a:gd name="connsiteY204" fmla="*/ 533700 h 1454292"/>
                <a:gd name="connsiteX205" fmla="*/ 1403672 w 1746071"/>
                <a:gd name="connsiteY205" fmla="*/ 533700 h 1454292"/>
                <a:gd name="connsiteX206" fmla="*/ 1408661 w 1746071"/>
                <a:gd name="connsiteY206" fmla="*/ 529187 h 1454292"/>
                <a:gd name="connsiteX207" fmla="*/ 1413156 w 1746071"/>
                <a:gd name="connsiteY207" fmla="*/ 514161 h 1454292"/>
                <a:gd name="connsiteX208" fmla="*/ 1428173 w 1746071"/>
                <a:gd name="connsiteY208" fmla="*/ 514161 h 1454292"/>
                <a:gd name="connsiteX209" fmla="*/ 1428173 w 1746071"/>
                <a:gd name="connsiteY209" fmla="*/ 500143 h 1454292"/>
                <a:gd name="connsiteX210" fmla="*/ 1437657 w 1746071"/>
                <a:gd name="connsiteY210" fmla="*/ 494623 h 1454292"/>
                <a:gd name="connsiteX211" fmla="*/ 1452673 w 1746071"/>
                <a:gd name="connsiteY211" fmla="*/ 494623 h 1454292"/>
                <a:gd name="connsiteX212" fmla="*/ 1457168 w 1746071"/>
                <a:gd name="connsiteY212" fmla="*/ 500143 h 1454292"/>
                <a:gd name="connsiteX213" fmla="*/ 1472185 w 1746071"/>
                <a:gd name="connsiteY213" fmla="*/ 500143 h 1454292"/>
                <a:gd name="connsiteX214" fmla="*/ 1476680 w 1746071"/>
                <a:gd name="connsiteY214" fmla="*/ 509649 h 1454292"/>
                <a:gd name="connsiteX215" fmla="*/ 1472185 w 1746071"/>
                <a:gd name="connsiteY215" fmla="*/ 514161 h 1454292"/>
                <a:gd name="connsiteX216" fmla="*/ 1476680 w 1746071"/>
                <a:gd name="connsiteY216" fmla="*/ 519682 h 1454292"/>
                <a:gd name="connsiteX217" fmla="*/ 1486707 w 1746071"/>
                <a:gd name="connsiteY217" fmla="*/ 533700 h 1454292"/>
                <a:gd name="connsiteX218" fmla="*/ 1501180 w 1746071"/>
                <a:gd name="connsiteY218" fmla="*/ 543685 h 1454292"/>
                <a:gd name="connsiteX219" fmla="*/ 1511208 w 1746071"/>
                <a:gd name="connsiteY219" fmla="*/ 543685 h 1454292"/>
                <a:gd name="connsiteX220" fmla="*/ 1526224 w 1746071"/>
                <a:gd name="connsiteY220" fmla="*/ 548726 h 1454292"/>
                <a:gd name="connsiteX221" fmla="*/ 1530594 w 1746071"/>
                <a:gd name="connsiteY221" fmla="*/ 558433 h 1454292"/>
                <a:gd name="connsiteX222" fmla="*/ 1545381 w 1746071"/>
                <a:gd name="connsiteY222" fmla="*/ 563341 h 1454292"/>
                <a:gd name="connsiteX223" fmla="*/ 1549873 w 1746071"/>
                <a:gd name="connsiteY223" fmla="*/ 558358 h 1454292"/>
                <a:gd name="connsiteX224" fmla="*/ 1564908 w 1746071"/>
                <a:gd name="connsiteY224" fmla="*/ 553330 h 1454292"/>
                <a:gd name="connsiteX225" fmla="*/ 1564908 w 1746071"/>
                <a:gd name="connsiteY225" fmla="*/ 563341 h 1454292"/>
                <a:gd name="connsiteX226" fmla="*/ 1578918 w 1746071"/>
                <a:gd name="connsiteY226" fmla="*/ 553330 h 1454292"/>
                <a:gd name="connsiteX227" fmla="*/ 1588926 w 1746071"/>
                <a:gd name="connsiteY227" fmla="*/ 548846 h 1454292"/>
                <a:gd name="connsiteX228" fmla="*/ 1608942 w 1746071"/>
                <a:gd name="connsiteY228" fmla="*/ 563341 h 1454292"/>
                <a:gd name="connsiteX229" fmla="*/ 1613457 w 1746071"/>
                <a:gd name="connsiteY229" fmla="*/ 563341 h 1454292"/>
                <a:gd name="connsiteX230" fmla="*/ 1618461 w 1746071"/>
                <a:gd name="connsiteY230" fmla="*/ 553330 h 1454292"/>
                <a:gd name="connsiteX231" fmla="*/ 1623465 w 1746071"/>
                <a:gd name="connsiteY231" fmla="*/ 553330 h 1454292"/>
                <a:gd name="connsiteX232" fmla="*/ 1628468 w 1746071"/>
                <a:gd name="connsiteY232" fmla="*/ 558358 h 1454292"/>
                <a:gd name="connsiteX233" fmla="*/ 1632960 w 1746071"/>
                <a:gd name="connsiteY233" fmla="*/ 548846 h 1454292"/>
                <a:gd name="connsiteX234" fmla="*/ 1637964 w 1746071"/>
                <a:gd name="connsiteY234" fmla="*/ 548846 h 1454292"/>
                <a:gd name="connsiteX235" fmla="*/ 1687025 w 1746071"/>
                <a:gd name="connsiteY235" fmla="*/ 577882 h 1454292"/>
                <a:gd name="connsiteX236" fmla="*/ 1692029 w 1746071"/>
                <a:gd name="connsiteY236" fmla="*/ 582366 h 1454292"/>
                <a:gd name="connsiteX237" fmla="*/ 1711556 w 1746071"/>
                <a:gd name="connsiteY237" fmla="*/ 582366 h 1454292"/>
                <a:gd name="connsiteX238" fmla="*/ 1721052 w 1746071"/>
                <a:gd name="connsiteY238" fmla="*/ 587892 h 1454292"/>
                <a:gd name="connsiteX239" fmla="*/ 1731060 w 1746071"/>
                <a:gd name="connsiteY239" fmla="*/ 587892 h 1454292"/>
                <a:gd name="connsiteX240" fmla="*/ 1740579 w 1746071"/>
                <a:gd name="connsiteY240" fmla="*/ 582366 h 1454292"/>
                <a:gd name="connsiteX241" fmla="*/ 1746071 w 1746071"/>
                <a:gd name="connsiteY241" fmla="*/ 587892 h 1454292"/>
                <a:gd name="connsiteX242" fmla="*/ 1731060 w 1746071"/>
                <a:gd name="connsiteY242" fmla="*/ 601889 h 1454292"/>
                <a:gd name="connsiteX243" fmla="*/ 1721052 w 1746071"/>
                <a:gd name="connsiteY243" fmla="*/ 616928 h 1454292"/>
                <a:gd name="connsiteX244" fmla="*/ 1716048 w 1746071"/>
                <a:gd name="connsiteY244" fmla="*/ 631423 h 1454292"/>
                <a:gd name="connsiteX245" fmla="*/ 1711556 w 1746071"/>
                <a:gd name="connsiteY245" fmla="*/ 645963 h 1454292"/>
                <a:gd name="connsiteX246" fmla="*/ 1706552 w 1746071"/>
                <a:gd name="connsiteY246" fmla="*/ 669971 h 1454292"/>
                <a:gd name="connsiteX247" fmla="*/ 1706552 w 1746071"/>
                <a:gd name="connsiteY247" fmla="*/ 675497 h 1454292"/>
                <a:gd name="connsiteX248" fmla="*/ 1702037 w 1746071"/>
                <a:gd name="connsiteY248" fmla="*/ 685009 h 1454292"/>
                <a:gd name="connsiteX249" fmla="*/ 1692029 w 1746071"/>
                <a:gd name="connsiteY249" fmla="*/ 689494 h 1454292"/>
                <a:gd name="connsiteX250" fmla="*/ 1682510 w 1746071"/>
                <a:gd name="connsiteY250" fmla="*/ 689494 h 1454292"/>
                <a:gd name="connsiteX251" fmla="*/ 1677018 w 1746071"/>
                <a:gd name="connsiteY251" fmla="*/ 695020 h 1454292"/>
                <a:gd name="connsiteX252" fmla="*/ 1677018 w 1746071"/>
                <a:gd name="connsiteY252" fmla="*/ 704487 h 1454292"/>
                <a:gd name="connsiteX253" fmla="*/ 1677018 w 1746071"/>
                <a:gd name="connsiteY253" fmla="*/ 709017 h 1454292"/>
                <a:gd name="connsiteX254" fmla="*/ 1662006 w 1746071"/>
                <a:gd name="connsiteY254" fmla="*/ 709017 h 1454292"/>
                <a:gd name="connsiteX255" fmla="*/ 1657491 w 1746071"/>
                <a:gd name="connsiteY255" fmla="*/ 724010 h 1454292"/>
                <a:gd name="connsiteX256" fmla="*/ 1657491 w 1746071"/>
                <a:gd name="connsiteY256" fmla="*/ 728540 h 1454292"/>
                <a:gd name="connsiteX257" fmla="*/ 1642479 w 1746071"/>
                <a:gd name="connsiteY257" fmla="*/ 748063 h 1454292"/>
                <a:gd name="connsiteX258" fmla="*/ 1637964 w 1746071"/>
                <a:gd name="connsiteY258" fmla="*/ 763057 h 1454292"/>
                <a:gd name="connsiteX259" fmla="*/ 1632960 w 1746071"/>
                <a:gd name="connsiteY259" fmla="*/ 763057 h 1454292"/>
                <a:gd name="connsiteX260" fmla="*/ 1618461 w 1746071"/>
                <a:gd name="connsiteY260" fmla="*/ 777099 h 1454292"/>
                <a:gd name="connsiteX261" fmla="*/ 1613457 w 1746071"/>
                <a:gd name="connsiteY261" fmla="*/ 782580 h 1454292"/>
                <a:gd name="connsiteX262" fmla="*/ 1603938 w 1746071"/>
                <a:gd name="connsiteY262" fmla="*/ 806632 h 1454292"/>
                <a:gd name="connsiteX263" fmla="*/ 1608942 w 1746071"/>
                <a:gd name="connsiteY263" fmla="*/ 855146 h 1454292"/>
                <a:gd name="connsiteX264" fmla="*/ 1599423 w 1746071"/>
                <a:gd name="connsiteY264" fmla="*/ 860174 h 1454292"/>
                <a:gd name="connsiteX265" fmla="*/ 1599423 w 1746071"/>
                <a:gd name="connsiteY265" fmla="*/ 870184 h 1454292"/>
                <a:gd name="connsiteX266" fmla="*/ 1593930 w 1746071"/>
                <a:gd name="connsiteY266" fmla="*/ 889708 h 1454292"/>
                <a:gd name="connsiteX267" fmla="*/ 1593930 w 1746071"/>
                <a:gd name="connsiteY267" fmla="*/ 894192 h 1454292"/>
                <a:gd name="connsiteX268" fmla="*/ 1588926 w 1746071"/>
                <a:gd name="connsiteY268" fmla="*/ 909231 h 1454292"/>
                <a:gd name="connsiteX269" fmla="*/ 1588926 w 1746071"/>
                <a:gd name="connsiteY269" fmla="*/ 933238 h 1454292"/>
                <a:gd name="connsiteX270" fmla="*/ 1593930 w 1746071"/>
                <a:gd name="connsiteY270" fmla="*/ 942751 h 1454292"/>
                <a:gd name="connsiteX271" fmla="*/ 1593930 w 1746071"/>
                <a:gd name="connsiteY271" fmla="*/ 952263 h 1454292"/>
                <a:gd name="connsiteX272" fmla="*/ 1578918 w 1746071"/>
                <a:gd name="connsiteY272" fmla="*/ 962274 h 1454292"/>
                <a:gd name="connsiteX273" fmla="*/ 1574403 w 1746071"/>
                <a:gd name="connsiteY273" fmla="*/ 991309 h 1454292"/>
                <a:gd name="connsiteX274" fmla="*/ 1569399 w 1746071"/>
                <a:gd name="connsiteY274" fmla="*/ 1010832 h 1454292"/>
                <a:gd name="connsiteX275" fmla="*/ 1564908 w 1746071"/>
                <a:gd name="connsiteY275" fmla="*/ 1020843 h 1454292"/>
                <a:gd name="connsiteX276" fmla="*/ 1559392 w 1746071"/>
                <a:gd name="connsiteY276" fmla="*/ 1025826 h 1454292"/>
                <a:gd name="connsiteX277" fmla="*/ 1559392 w 1746071"/>
                <a:gd name="connsiteY277" fmla="*/ 1030355 h 1454292"/>
                <a:gd name="connsiteX278" fmla="*/ 1549873 w 1746071"/>
                <a:gd name="connsiteY278" fmla="*/ 1039868 h 1454292"/>
                <a:gd name="connsiteX279" fmla="*/ 1549873 w 1746071"/>
                <a:gd name="connsiteY279" fmla="*/ 1049878 h 1454292"/>
                <a:gd name="connsiteX280" fmla="*/ 1549873 w 1746071"/>
                <a:gd name="connsiteY280" fmla="*/ 1059391 h 1454292"/>
                <a:gd name="connsiteX281" fmla="*/ 1540377 w 1746071"/>
                <a:gd name="connsiteY281" fmla="*/ 1069402 h 1454292"/>
                <a:gd name="connsiteX282" fmla="*/ 1540377 w 1746071"/>
                <a:gd name="connsiteY282" fmla="*/ 1074384 h 1454292"/>
                <a:gd name="connsiteX283" fmla="*/ 1540377 w 1746071"/>
                <a:gd name="connsiteY283" fmla="*/ 1084395 h 1454292"/>
                <a:gd name="connsiteX284" fmla="*/ 1540377 w 1746071"/>
                <a:gd name="connsiteY284" fmla="*/ 1098437 h 1454292"/>
                <a:gd name="connsiteX285" fmla="*/ 1540377 w 1746071"/>
                <a:gd name="connsiteY285" fmla="*/ 1113430 h 1454292"/>
                <a:gd name="connsiteX286" fmla="*/ 1545381 w 1746071"/>
                <a:gd name="connsiteY286" fmla="*/ 1117960 h 1454292"/>
                <a:gd name="connsiteX287" fmla="*/ 1549873 w 1746071"/>
                <a:gd name="connsiteY287" fmla="*/ 1122943 h 1454292"/>
                <a:gd name="connsiteX288" fmla="*/ 1554877 w 1746071"/>
                <a:gd name="connsiteY288" fmla="*/ 1132954 h 1454292"/>
                <a:gd name="connsiteX289" fmla="*/ 1564908 w 1746071"/>
                <a:gd name="connsiteY289" fmla="*/ 1146950 h 1454292"/>
                <a:gd name="connsiteX290" fmla="*/ 1554877 w 1746071"/>
                <a:gd name="connsiteY290" fmla="*/ 1161989 h 1454292"/>
                <a:gd name="connsiteX291" fmla="*/ 1549873 w 1746071"/>
                <a:gd name="connsiteY291" fmla="*/ 1172000 h 1454292"/>
                <a:gd name="connsiteX292" fmla="*/ 1549873 w 1746071"/>
                <a:gd name="connsiteY292" fmla="*/ 1176484 h 1454292"/>
                <a:gd name="connsiteX293" fmla="*/ 1549873 w 1746071"/>
                <a:gd name="connsiteY293" fmla="*/ 1191523 h 1454292"/>
                <a:gd name="connsiteX294" fmla="*/ 1540377 w 1746071"/>
                <a:gd name="connsiteY294" fmla="*/ 1205520 h 1454292"/>
                <a:gd name="connsiteX295" fmla="*/ 1545381 w 1746071"/>
                <a:gd name="connsiteY295" fmla="*/ 1215530 h 1454292"/>
                <a:gd name="connsiteX296" fmla="*/ 1545381 w 1746071"/>
                <a:gd name="connsiteY296" fmla="*/ 1225043 h 1454292"/>
                <a:gd name="connsiteX297" fmla="*/ 1540377 w 1746071"/>
                <a:gd name="connsiteY297" fmla="*/ 1234555 h 1454292"/>
                <a:gd name="connsiteX298" fmla="*/ 1540377 w 1746071"/>
                <a:gd name="connsiteY298" fmla="*/ 1244566 h 1454292"/>
                <a:gd name="connsiteX299" fmla="*/ 1535373 w 1746071"/>
                <a:gd name="connsiteY299" fmla="*/ 1254078 h 1454292"/>
                <a:gd name="connsiteX300" fmla="*/ 1535373 w 1746071"/>
                <a:gd name="connsiteY300" fmla="*/ 1259605 h 1454292"/>
                <a:gd name="connsiteX301" fmla="*/ 1540377 w 1746071"/>
                <a:gd name="connsiteY301" fmla="*/ 1269117 h 1454292"/>
                <a:gd name="connsiteX302" fmla="*/ 1545381 w 1746071"/>
                <a:gd name="connsiteY302" fmla="*/ 1279128 h 1454292"/>
                <a:gd name="connsiteX303" fmla="*/ 1540377 w 1746071"/>
                <a:gd name="connsiteY303" fmla="*/ 1288595 h 1454292"/>
                <a:gd name="connsiteX304" fmla="*/ 1535373 w 1746071"/>
                <a:gd name="connsiteY304" fmla="*/ 1298605 h 1454292"/>
                <a:gd name="connsiteX305" fmla="*/ 1540377 w 1746071"/>
                <a:gd name="connsiteY305" fmla="*/ 1322658 h 1454292"/>
                <a:gd name="connsiteX306" fmla="*/ 1554877 w 1746071"/>
                <a:gd name="connsiteY306" fmla="*/ 1332171 h 1454292"/>
                <a:gd name="connsiteX307" fmla="*/ 1554877 w 1746071"/>
                <a:gd name="connsiteY307" fmla="*/ 1337153 h 1454292"/>
                <a:gd name="connsiteX308" fmla="*/ 1559392 w 1746071"/>
                <a:gd name="connsiteY308" fmla="*/ 1337153 h 1454292"/>
                <a:gd name="connsiteX309" fmla="*/ 1564908 w 1746071"/>
                <a:gd name="connsiteY309" fmla="*/ 1351694 h 1454292"/>
                <a:gd name="connsiteX310" fmla="*/ 1564908 w 1746071"/>
                <a:gd name="connsiteY310" fmla="*/ 1366687 h 1454292"/>
                <a:gd name="connsiteX311" fmla="*/ 1559392 w 1746071"/>
                <a:gd name="connsiteY311" fmla="*/ 1361206 h 1454292"/>
                <a:gd name="connsiteX312" fmla="*/ 1549873 w 1746071"/>
                <a:gd name="connsiteY312" fmla="*/ 1371217 h 1454292"/>
                <a:gd name="connsiteX313" fmla="*/ 1535373 w 1746071"/>
                <a:gd name="connsiteY313" fmla="*/ 1380729 h 1454292"/>
                <a:gd name="connsiteX314" fmla="*/ 1535373 w 1746071"/>
                <a:gd name="connsiteY314" fmla="*/ 1386210 h 1454292"/>
                <a:gd name="connsiteX315" fmla="*/ 1535373 w 1746071"/>
                <a:gd name="connsiteY315" fmla="*/ 1390740 h 1454292"/>
                <a:gd name="connsiteX316" fmla="*/ 1545381 w 1746071"/>
                <a:gd name="connsiteY316" fmla="*/ 1390740 h 1454292"/>
                <a:gd name="connsiteX317" fmla="*/ 1545381 w 1746071"/>
                <a:gd name="connsiteY317" fmla="*/ 1395723 h 1454292"/>
                <a:gd name="connsiteX318" fmla="*/ 1540377 w 1746071"/>
                <a:gd name="connsiteY318" fmla="*/ 1400252 h 1454292"/>
                <a:gd name="connsiteX319" fmla="*/ 1540377 w 1746071"/>
                <a:gd name="connsiteY319" fmla="*/ 1410263 h 1454292"/>
                <a:gd name="connsiteX320" fmla="*/ 1530369 w 1746071"/>
                <a:gd name="connsiteY320" fmla="*/ 1419775 h 1454292"/>
                <a:gd name="connsiteX321" fmla="*/ 1520850 w 1746071"/>
                <a:gd name="connsiteY321" fmla="*/ 1415246 h 1454292"/>
                <a:gd name="connsiteX322" fmla="*/ 1510842 w 1746071"/>
                <a:gd name="connsiteY322" fmla="*/ 1410263 h 1454292"/>
                <a:gd name="connsiteX323" fmla="*/ 1510842 w 1746071"/>
                <a:gd name="connsiteY323" fmla="*/ 1419775 h 1454292"/>
                <a:gd name="connsiteX324" fmla="*/ 1520850 w 1746071"/>
                <a:gd name="connsiteY324" fmla="*/ 1424758 h 1454292"/>
                <a:gd name="connsiteX325" fmla="*/ 1515358 w 1746071"/>
                <a:gd name="connsiteY325" fmla="*/ 1429243 h 1454292"/>
                <a:gd name="connsiteX326" fmla="*/ 1510842 w 1746071"/>
                <a:gd name="connsiteY326" fmla="*/ 1429243 h 1454292"/>
                <a:gd name="connsiteX327" fmla="*/ 1501323 w 1746071"/>
                <a:gd name="connsiteY327" fmla="*/ 1444281 h 1454292"/>
                <a:gd name="connsiteX328" fmla="*/ 1491316 w 1746071"/>
                <a:gd name="connsiteY328" fmla="*/ 1448766 h 1454292"/>
                <a:gd name="connsiteX329" fmla="*/ 1476304 w 1746071"/>
                <a:gd name="connsiteY329" fmla="*/ 1444281 h 1454292"/>
                <a:gd name="connsiteX330" fmla="*/ 1471812 w 1746071"/>
                <a:gd name="connsiteY330" fmla="*/ 1444281 h 1454292"/>
                <a:gd name="connsiteX331" fmla="*/ 1447282 w 1746071"/>
                <a:gd name="connsiteY331" fmla="*/ 1454292 h 1454292"/>
                <a:gd name="connsiteX332" fmla="*/ 1442278 w 1746071"/>
                <a:gd name="connsiteY332" fmla="*/ 1454292 h 1454292"/>
                <a:gd name="connsiteX333" fmla="*/ 1437763 w 1746071"/>
                <a:gd name="connsiteY333" fmla="*/ 1448766 h 1454292"/>
                <a:gd name="connsiteX334" fmla="*/ 1427755 w 1746071"/>
                <a:gd name="connsiteY334" fmla="*/ 1448766 h 1454292"/>
                <a:gd name="connsiteX335" fmla="*/ 1418236 w 1746071"/>
                <a:gd name="connsiteY335" fmla="*/ 1444281 h 1454292"/>
                <a:gd name="connsiteX336" fmla="*/ 1418236 w 1746071"/>
                <a:gd name="connsiteY336" fmla="*/ 1439253 h 1454292"/>
                <a:gd name="connsiteX337" fmla="*/ 1422751 w 1746071"/>
                <a:gd name="connsiteY337" fmla="*/ 1419775 h 1454292"/>
                <a:gd name="connsiteX338" fmla="*/ 1427755 w 1746071"/>
                <a:gd name="connsiteY338" fmla="*/ 1419775 h 1454292"/>
                <a:gd name="connsiteX339" fmla="*/ 1427755 w 1746071"/>
                <a:gd name="connsiteY339" fmla="*/ 1415246 h 1454292"/>
                <a:gd name="connsiteX340" fmla="*/ 1422751 w 1746071"/>
                <a:gd name="connsiteY340" fmla="*/ 1415246 h 1454292"/>
                <a:gd name="connsiteX341" fmla="*/ 1412743 w 1746071"/>
                <a:gd name="connsiteY341" fmla="*/ 1419775 h 1454292"/>
                <a:gd name="connsiteX342" fmla="*/ 1403224 w 1746071"/>
                <a:gd name="connsiteY342" fmla="*/ 1415246 h 1454292"/>
                <a:gd name="connsiteX343" fmla="*/ 1403224 w 1746071"/>
                <a:gd name="connsiteY343" fmla="*/ 1400252 h 1454292"/>
                <a:gd name="connsiteX344" fmla="*/ 1398732 w 1746071"/>
                <a:gd name="connsiteY344" fmla="*/ 1395723 h 1454292"/>
                <a:gd name="connsiteX345" fmla="*/ 1398732 w 1746071"/>
                <a:gd name="connsiteY345" fmla="*/ 1390740 h 1454292"/>
                <a:gd name="connsiteX346" fmla="*/ 1393216 w 1746071"/>
                <a:gd name="connsiteY346" fmla="*/ 1390740 h 1454292"/>
                <a:gd name="connsiteX347" fmla="*/ 1388725 w 1746071"/>
                <a:gd name="connsiteY347" fmla="*/ 1386210 h 1454292"/>
                <a:gd name="connsiteX348" fmla="*/ 1388725 w 1746071"/>
                <a:gd name="connsiteY348" fmla="*/ 1380729 h 1454292"/>
                <a:gd name="connsiteX349" fmla="*/ 1383721 w 1746071"/>
                <a:gd name="connsiteY349" fmla="*/ 1376200 h 1454292"/>
                <a:gd name="connsiteX350" fmla="*/ 1379206 w 1746071"/>
                <a:gd name="connsiteY350" fmla="*/ 1371217 h 1454292"/>
                <a:gd name="connsiteX351" fmla="*/ 1379206 w 1746071"/>
                <a:gd name="connsiteY351" fmla="*/ 1366687 h 1454292"/>
                <a:gd name="connsiteX352" fmla="*/ 1379206 w 1746071"/>
                <a:gd name="connsiteY352" fmla="*/ 1361206 h 1454292"/>
                <a:gd name="connsiteX353" fmla="*/ 1373690 w 1746071"/>
                <a:gd name="connsiteY353" fmla="*/ 1361206 h 1454292"/>
                <a:gd name="connsiteX354" fmla="*/ 1359190 w 1746071"/>
                <a:gd name="connsiteY354" fmla="*/ 1366687 h 1454292"/>
                <a:gd name="connsiteX355" fmla="*/ 1354675 w 1746071"/>
                <a:gd name="connsiteY355" fmla="*/ 1366687 h 1454292"/>
                <a:gd name="connsiteX356" fmla="*/ 1349182 w 1746071"/>
                <a:gd name="connsiteY356" fmla="*/ 1366687 h 1454292"/>
                <a:gd name="connsiteX357" fmla="*/ 1349182 w 1746071"/>
                <a:gd name="connsiteY357" fmla="*/ 1361206 h 1454292"/>
                <a:gd name="connsiteX358" fmla="*/ 1349182 w 1746071"/>
                <a:gd name="connsiteY358" fmla="*/ 1351694 h 1454292"/>
                <a:gd name="connsiteX359" fmla="*/ 1349182 w 1746071"/>
                <a:gd name="connsiteY359" fmla="*/ 1347164 h 1454292"/>
                <a:gd name="connsiteX360" fmla="*/ 1349182 w 1746071"/>
                <a:gd name="connsiteY360" fmla="*/ 1341683 h 1454292"/>
                <a:gd name="connsiteX361" fmla="*/ 1354675 w 1746071"/>
                <a:gd name="connsiteY361" fmla="*/ 1337153 h 1454292"/>
                <a:gd name="connsiteX362" fmla="*/ 1359190 w 1746071"/>
                <a:gd name="connsiteY362" fmla="*/ 1337153 h 1454292"/>
                <a:gd name="connsiteX363" fmla="*/ 1359190 w 1746071"/>
                <a:gd name="connsiteY363" fmla="*/ 1327641 h 1454292"/>
                <a:gd name="connsiteX364" fmla="*/ 1359190 w 1746071"/>
                <a:gd name="connsiteY364" fmla="*/ 1322658 h 1454292"/>
                <a:gd name="connsiteX365" fmla="*/ 1359190 w 1746071"/>
                <a:gd name="connsiteY365" fmla="*/ 1317630 h 1454292"/>
                <a:gd name="connsiteX366" fmla="*/ 1359190 w 1746071"/>
                <a:gd name="connsiteY366" fmla="*/ 1312648 h 1454292"/>
                <a:gd name="connsiteX367" fmla="*/ 1354675 w 1746071"/>
                <a:gd name="connsiteY367" fmla="*/ 1312648 h 1454292"/>
                <a:gd name="connsiteX368" fmla="*/ 1354675 w 1746071"/>
                <a:gd name="connsiteY368" fmla="*/ 1308118 h 1454292"/>
                <a:gd name="connsiteX369" fmla="*/ 1354675 w 1746071"/>
                <a:gd name="connsiteY369" fmla="*/ 1298605 h 1454292"/>
                <a:gd name="connsiteX370" fmla="*/ 1354675 w 1746071"/>
                <a:gd name="connsiteY370" fmla="*/ 1293124 h 1454292"/>
                <a:gd name="connsiteX371" fmla="*/ 1349182 w 1746071"/>
                <a:gd name="connsiteY371" fmla="*/ 1293124 h 1454292"/>
                <a:gd name="connsiteX372" fmla="*/ 1349182 w 1746071"/>
                <a:gd name="connsiteY372" fmla="*/ 1288595 h 1454292"/>
                <a:gd name="connsiteX373" fmla="*/ 1339663 w 1746071"/>
                <a:gd name="connsiteY373" fmla="*/ 1283612 h 1454292"/>
                <a:gd name="connsiteX374" fmla="*/ 1320136 w 1746071"/>
                <a:gd name="connsiteY374" fmla="*/ 1273601 h 1454292"/>
                <a:gd name="connsiteX375" fmla="*/ 1315645 w 1746071"/>
                <a:gd name="connsiteY375" fmla="*/ 1273601 h 1454292"/>
                <a:gd name="connsiteX376" fmla="*/ 1310129 w 1746071"/>
                <a:gd name="connsiteY376" fmla="*/ 1269117 h 1454292"/>
                <a:gd name="connsiteX377" fmla="*/ 1305637 w 1746071"/>
                <a:gd name="connsiteY377" fmla="*/ 1269117 h 1454292"/>
                <a:gd name="connsiteX378" fmla="*/ 1300633 w 1746071"/>
                <a:gd name="connsiteY378" fmla="*/ 1269117 h 1454292"/>
                <a:gd name="connsiteX379" fmla="*/ 1290625 w 1746071"/>
                <a:gd name="connsiteY379" fmla="*/ 1269117 h 1454292"/>
                <a:gd name="connsiteX380" fmla="*/ 1281239 w 1746071"/>
                <a:gd name="connsiteY380" fmla="*/ 1244909 h 1454292"/>
                <a:gd name="connsiteX381" fmla="*/ 1276082 w 1746071"/>
                <a:gd name="connsiteY381" fmla="*/ 1250056 h 1454292"/>
                <a:gd name="connsiteX382" fmla="*/ 1266598 w 1746071"/>
                <a:gd name="connsiteY382" fmla="*/ 1244535 h 1454292"/>
                <a:gd name="connsiteX383" fmla="*/ 1262103 w 1746071"/>
                <a:gd name="connsiteY383" fmla="*/ 1244535 h 1454292"/>
                <a:gd name="connsiteX384" fmla="*/ 1262103 w 1746071"/>
                <a:gd name="connsiteY384" fmla="*/ 1230517 h 1454292"/>
                <a:gd name="connsiteX385" fmla="*/ 1242591 w 1746071"/>
                <a:gd name="connsiteY385" fmla="*/ 1224997 h 1454292"/>
                <a:gd name="connsiteX386" fmla="*/ 1232564 w 1746071"/>
                <a:gd name="connsiteY386" fmla="*/ 1220484 h 1454292"/>
                <a:gd name="connsiteX387" fmla="*/ 1232564 w 1746071"/>
                <a:gd name="connsiteY387" fmla="*/ 1215491 h 1454292"/>
                <a:gd name="connsiteX388" fmla="*/ 1222586 w 1746071"/>
                <a:gd name="connsiteY388" fmla="*/ 1215491 h 1454292"/>
                <a:gd name="connsiteX389" fmla="*/ 1222586 w 1746071"/>
                <a:gd name="connsiteY389" fmla="*/ 1210979 h 1454292"/>
                <a:gd name="connsiteX390" fmla="*/ 1208063 w 1746071"/>
                <a:gd name="connsiteY390" fmla="*/ 1205986 h 1454292"/>
                <a:gd name="connsiteX391" fmla="*/ 1203074 w 1746071"/>
                <a:gd name="connsiteY391" fmla="*/ 1195953 h 1454292"/>
                <a:gd name="connsiteX392" fmla="*/ 1193047 w 1746071"/>
                <a:gd name="connsiteY392" fmla="*/ 1186447 h 1454292"/>
                <a:gd name="connsiteX393" fmla="*/ 1188552 w 1746071"/>
                <a:gd name="connsiteY393" fmla="*/ 1181935 h 1454292"/>
                <a:gd name="connsiteX394" fmla="*/ 1179068 w 1746071"/>
                <a:gd name="connsiteY394" fmla="*/ 1191488 h 1454292"/>
                <a:gd name="connsiteX395" fmla="*/ 1173535 w 1746071"/>
                <a:gd name="connsiteY395" fmla="*/ 1195953 h 1454292"/>
                <a:gd name="connsiteX396" fmla="*/ 1169040 w 1746071"/>
                <a:gd name="connsiteY396" fmla="*/ 1205986 h 1454292"/>
                <a:gd name="connsiteX397" fmla="*/ 1144540 w 1746071"/>
                <a:gd name="connsiteY397" fmla="*/ 1215491 h 1454292"/>
                <a:gd name="connsiteX398" fmla="*/ 1129523 w 1746071"/>
                <a:gd name="connsiteY398" fmla="*/ 1186447 h 1454292"/>
                <a:gd name="connsiteX399" fmla="*/ 1120039 w 1746071"/>
                <a:gd name="connsiteY399" fmla="*/ 1186447 h 1454292"/>
                <a:gd name="connsiteX400" fmla="*/ 1120039 w 1746071"/>
                <a:gd name="connsiteY400" fmla="*/ 1181935 h 1454292"/>
                <a:gd name="connsiteX401" fmla="*/ 1105517 w 1746071"/>
                <a:gd name="connsiteY401" fmla="*/ 1181935 h 1454292"/>
                <a:gd name="connsiteX402" fmla="*/ 1081016 w 1746071"/>
                <a:gd name="connsiteY402" fmla="*/ 1186447 h 1454292"/>
                <a:gd name="connsiteX403" fmla="*/ 1081016 w 1746071"/>
                <a:gd name="connsiteY403" fmla="*/ 1181935 h 1454292"/>
                <a:gd name="connsiteX404" fmla="*/ 1071532 w 1746071"/>
                <a:gd name="connsiteY404" fmla="*/ 1186447 h 1454292"/>
                <a:gd name="connsiteX405" fmla="*/ 1066000 w 1746071"/>
                <a:gd name="connsiteY405" fmla="*/ 1191488 h 1454292"/>
                <a:gd name="connsiteX406" fmla="*/ 1061505 w 1746071"/>
                <a:gd name="connsiteY406" fmla="*/ 1191488 h 1454292"/>
                <a:gd name="connsiteX407" fmla="*/ 1056516 w 1746071"/>
                <a:gd name="connsiteY407" fmla="*/ 1195953 h 1454292"/>
                <a:gd name="connsiteX408" fmla="*/ 1052021 w 1746071"/>
                <a:gd name="connsiteY408" fmla="*/ 1195953 h 1454292"/>
                <a:gd name="connsiteX409" fmla="*/ 1046488 w 1746071"/>
                <a:gd name="connsiteY409" fmla="*/ 1200993 h 1454292"/>
                <a:gd name="connsiteX410" fmla="*/ 1046488 w 1746071"/>
                <a:gd name="connsiteY410" fmla="*/ 1191488 h 1454292"/>
                <a:gd name="connsiteX411" fmla="*/ 1037004 w 1746071"/>
                <a:gd name="connsiteY411" fmla="*/ 1186447 h 1454292"/>
                <a:gd name="connsiteX412" fmla="*/ 1026977 w 1746071"/>
                <a:gd name="connsiteY412" fmla="*/ 1186447 h 1454292"/>
                <a:gd name="connsiteX413" fmla="*/ 1026977 w 1746071"/>
                <a:gd name="connsiteY413" fmla="*/ 1181935 h 1454292"/>
                <a:gd name="connsiteX414" fmla="*/ 1026977 w 1746071"/>
                <a:gd name="connsiteY414" fmla="*/ 1176462 h 1454292"/>
                <a:gd name="connsiteX415" fmla="*/ 1026977 w 1746071"/>
                <a:gd name="connsiteY415" fmla="*/ 1166956 h 1454292"/>
                <a:gd name="connsiteX416" fmla="*/ 1026977 w 1746071"/>
                <a:gd name="connsiteY416" fmla="*/ 1156923 h 1454292"/>
                <a:gd name="connsiteX417" fmla="*/ 1017493 w 1746071"/>
                <a:gd name="connsiteY417" fmla="*/ 1147418 h 1454292"/>
                <a:gd name="connsiteX418" fmla="*/ 1007465 w 1746071"/>
                <a:gd name="connsiteY418" fmla="*/ 1156923 h 1454292"/>
                <a:gd name="connsiteX419" fmla="*/ 997981 w 1746071"/>
                <a:gd name="connsiteY419" fmla="*/ 1156923 h 1454292"/>
                <a:gd name="connsiteX420" fmla="*/ 992992 w 1746071"/>
                <a:gd name="connsiteY420" fmla="*/ 1156923 h 1454292"/>
                <a:gd name="connsiteX421" fmla="*/ 973481 w 1746071"/>
                <a:gd name="connsiteY421" fmla="*/ 1171949 h 1454292"/>
                <a:gd name="connsiteX422" fmla="*/ 978470 w 1746071"/>
                <a:gd name="connsiteY422" fmla="*/ 1176462 h 1454292"/>
                <a:gd name="connsiteX423" fmla="*/ 968986 w 1746071"/>
                <a:gd name="connsiteY423" fmla="*/ 1191488 h 1454292"/>
                <a:gd name="connsiteX424" fmla="*/ 958958 w 1746071"/>
                <a:gd name="connsiteY424" fmla="*/ 1191488 h 1454292"/>
                <a:gd name="connsiteX425" fmla="*/ 958958 w 1746071"/>
                <a:gd name="connsiteY425" fmla="*/ 1195953 h 1454292"/>
                <a:gd name="connsiteX426" fmla="*/ 949474 w 1746071"/>
                <a:gd name="connsiteY426" fmla="*/ 1200993 h 1454292"/>
                <a:gd name="connsiteX427" fmla="*/ 943942 w 1746071"/>
                <a:gd name="connsiteY427" fmla="*/ 1200993 h 1454292"/>
                <a:gd name="connsiteX428" fmla="*/ 943942 w 1746071"/>
                <a:gd name="connsiteY428" fmla="*/ 1195953 h 1454292"/>
                <a:gd name="connsiteX429" fmla="*/ 953969 w 1746071"/>
                <a:gd name="connsiteY429" fmla="*/ 1186447 h 1454292"/>
                <a:gd name="connsiteX430" fmla="*/ 949474 w 1746071"/>
                <a:gd name="connsiteY430" fmla="*/ 1176462 h 1454292"/>
                <a:gd name="connsiteX431" fmla="*/ 943942 w 1746071"/>
                <a:gd name="connsiteY431" fmla="*/ 1176462 h 1454292"/>
                <a:gd name="connsiteX432" fmla="*/ 939447 w 1746071"/>
                <a:gd name="connsiteY432" fmla="*/ 1181935 h 1454292"/>
                <a:gd name="connsiteX433" fmla="*/ 939447 w 1746071"/>
                <a:gd name="connsiteY433" fmla="*/ 1195953 h 1454292"/>
                <a:gd name="connsiteX434" fmla="*/ 934458 w 1746071"/>
                <a:gd name="connsiteY434" fmla="*/ 1195953 h 1454292"/>
                <a:gd name="connsiteX435" fmla="*/ 929469 w 1746071"/>
                <a:gd name="connsiteY435" fmla="*/ 1205986 h 1454292"/>
                <a:gd name="connsiteX436" fmla="*/ 929054 w 1746071"/>
                <a:gd name="connsiteY436" fmla="*/ 1205780 h 1454292"/>
                <a:gd name="connsiteX437" fmla="*/ 929054 w 1746071"/>
                <a:gd name="connsiteY437" fmla="*/ 1215695 h 1454292"/>
                <a:gd name="connsiteX438" fmla="*/ 929054 w 1746071"/>
                <a:gd name="connsiteY438" fmla="*/ 1220687 h 1454292"/>
                <a:gd name="connsiteX439" fmla="*/ 914553 w 1746071"/>
                <a:gd name="connsiteY439" fmla="*/ 1220687 h 1454292"/>
                <a:gd name="connsiteX440" fmla="*/ 914553 w 1746071"/>
                <a:gd name="connsiteY440" fmla="*/ 1225187 h 1454292"/>
                <a:gd name="connsiteX441" fmla="*/ 909533 w 1746071"/>
                <a:gd name="connsiteY441" fmla="*/ 1225187 h 1454292"/>
                <a:gd name="connsiteX442" fmla="*/ 909533 w 1746071"/>
                <a:gd name="connsiteY442" fmla="*/ 1230671 h 1454292"/>
                <a:gd name="connsiteX443" fmla="*/ 905025 w 1746071"/>
                <a:gd name="connsiteY443" fmla="*/ 1235170 h 1454292"/>
                <a:gd name="connsiteX444" fmla="*/ 905025 w 1746071"/>
                <a:gd name="connsiteY444" fmla="*/ 1244732 h 1454292"/>
                <a:gd name="connsiteX445" fmla="*/ 909533 w 1746071"/>
                <a:gd name="connsiteY445" fmla="*/ 1249724 h 1454292"/>
                <a:gd name="connsiteX446" fmla="*/ 899540 w 1746071"/>
                <a:gd name="connsiteY446" fmla="*/ 1249724 h 1454292"/>
                <a:gd name="connsiteX447" fmla="*/ 895032 w 1746071"/>
                <a:gd name="connsiteY447" fmla="*/ 1249724 h 1454292"/>
                <a:gd name="connsiteX448" fmla="*/ 885504 w 1746071"/>
                <a:gd name="connsiteY448" fmla="*/ 1244732 h 1454292"/>
                <a:gd name="connsiteX449" fmla="*/ 880019 w 1746071"/>
                <a:gd name="connsiteY449" fmla="*/ 1249724 h 1454292"/>
                <a:gd name="connsiteX450" fmla="*/ 875511 w 1746071"/>
                <a:gd name="connsiteY450" fmla="*/ 1254716 h 1454292"/>
                <a:gd name="connsiteX451" fmla="*/ 880019 w 1746071"/>
                <a:gd name="connsiteY451" fmla="*/ 1264207 h 1454292"/>
                <a:gd name="connsiteX452" fmla="*/ 870491 w 1746071"/>
                <a:gd name="connsiteY452" fmla="*/ 1269199 h 1454292"/>
                <a:gd name="connsiteX453" fmla="*/ 865983 w 1746071"/>
                <a:gd name="connsiteY453" fmla="*/ 1269199 h 1454292"/>
                <a:gd name="connsiteX454" fmla="*/ 861010 w 1746071"/>
                <a:gd name="connsiteY454" fmla="*/ 1269199 h 1454292"/>
                <a:gd name="connsiteX455" fmla="*/ 855479 w 1746071"/>
                <a:gd name="connsiteY455" fmla="*/ 1269199 h 1454292"/>
                <a:gd name="connsiteX456" fmla="*/ 855479 w 1746071"/>
                <a:gd name="connsiteY456" fmla="*/ 1288675 h 1454292"/>
                <a:gd name="connsiteX457" fmla="*/ 855479 w 1746071"/>
                <a:gd name="connsiteY457" fmla="*/ 1293174 h 1454292"/>
                <a:gd name="connsiteX458" fmla="*/ 855479 w 1746071"/>
                <a:gd name="connsiteY458" fmla="*/ 1298658 h 1454292"/>
                <a:gd name="connsiteX459" fmla="*/ 865983 w 1746071"/>
                <a:gd name="connsiteY459" fmla="*/ 1298658 h 1454292"/>
                <a:gd name="connsiteX460" fmla="*/ 865983 w 1746071"/>
                <a:gd name="connsiteY460" fmla="*/ 1308150 h 1454292"/>
                <a:gd name="connsiteX461" fmla="*/ 861010 w 1746071"/>
                <a:gd name="connsiteY461" fmla="*/ 1312650 h 1454292"/>
                <a:gd name="connsiteX462" fmla="*/ 861010 w 1746071"/>
                <a:gd name="connsiteY462" fmla="*/ 1318204 h 1454292"/>
                <a:gd name="connsiteX463" fmla="*/ 855479 w 1746071"/>
                <a:gd name="connsiteY463" fmla="*/ 1327696 h 1454292"/>
                <a:gd name="connsiteX464" fmla="*/ 861010 w 1746071"/>
                <a:gd name="connsiteY464" fmla="*/ 1337679 h 1454292"/>
                <a:gd name="connsiteX465" fmla="*/ 850970 w 1746071"/>
                <a:gd name="connsiteY465" fmla="*/ 1342179 h 1454292"/>
                <a:gd name="connsiteX466" fmla="*/ 845951 w 1746071"/>
                <a:gd name="connsiteY466" fmla="*/ 1347171 h 1454292"/>
                <a:gd name="connsiteX467" fmla="*/ 831450 w 1746071"/>
                <a:gd name="connsiteY467" fmla="*/ 1347171 h 1454292"/>
                <a:gd name="connsiteX468" fmla="*/ 826430 w 1746071"/>
                <a:gd name="connsiteY468" fmla="*/ 1347171 h 1454292"/>
                <a:gd name="connsiteX469" fmla="*/ 816437 w 1746071"/>
                <a:gd name="connsiteY469" fmla="*/ 1332195 h 1454292"/>
                <a:gd name="connsiteX470" fmla="*/ 811929 w 1746071"/>
                <a:gd name="connsiteY470" fmla="*/ 1332195 h 1454292"/>
                <a:gd name="connsiteX471" fmla="*/ 802401 w 1746071"/>
                <a:gd name="connsiteY471" fmla="*/ 1351671 h 1454292"/>
                <a:gd name="connsiteX472" fmla="*/ 796916 w 1746071"/>
                <a:gd name="connsiteY472" fmla="*/ 1347171 h 1454292"/>
                <a:gd name="connsiteX473" fmla="*/ 792408 w 1746071"/>
                <a:gd name="connsiteY473" fmla="*/ 1347171 h 1454292"/>
                <a:gd name="connsiteX474" fmla="*/ 782415 w 1746071"/>
                <a:gd name="connsiteY474" fmla="*/ 1342179 h 1454292"/>
                <a:gd name="connsiteX475" fmla="*/ 767867 w 1746071"/>
                <a:gd name="connsiteY475" fmla="*/ 1351671 h 1454292"/>
                <a:gd name="connsiteX476" fmla="*/ 762894 w 1746071"/>
                <a:gd name="connsiteY476" fmla="*/ 1351671 h 1454292"/>
                <a:gd name="connsiteX477" fmla="*/ 758386 w 1746071"/>
                <a:gd name="connsiteY477" fmla="*/ 1351671 h 1454292"/>
                <a:gd name="connsiteX478" fmla="*/ 752855 w 1746071"/>
                <a:gd name="connsiteY478" fmla="*/ 1361654 h 1454292"/>
                <a:gd name="connsiteX479" fmla="*/ 752855 w 1746071"/>
                <a:gd name="connsiteY479" fmla="*/ 1366646 h 1454292"/>
                <a:gd name="connsiteX480" fmla="*/ 743373 w 1746071"/>
                <a:gd name="connsiteY480" fmla="*/ 1380637 h 1454292"/>
                <a:gd name="connsiteX481" fmla="*/ 743373 w 1746071"/>
                <a:gd name="connsiteY481" fmla="*/ 1390691 h 1454292"/>
                <a:gd name="connsiteX482" fmla="*/ 738865 w 1746071"/>
                <a:gd name="connsiteY482" fmla="*/ 1395683 h 1454292"/>
                <a:gd name="connsiteX483" fmla="*/ 733334 w 1746071"/>
                <a:gd name="connsiteY483" fmla="*/ 1395683 h 1454292"/>
                <a:gd name="connsiteX484" fmla="*/ 733334 w 1746071"/>
                <a:gd name="connsiteY484" fmla="*/ 1386192 h 1454292"/>
                <a:gd name="connsiteX485" fmla="*/ 719344 w 1746071"/>
                <a:gd name="connsiteY485" fmla="*/ 1390691 h 1454292"/>
                <a:gd name="connsiteX486" fmla="*/ 713813 w 1746071"/>
                <a:gd name="connsiteY486" fmla="*/ 1405667 h 1454292"/>
                <a:gd name="connsiteX487" fmla="*/ 704285 w 1746071"/>
                <a:gd name="connsiteY487" fmla="*/ 1405667 h 1454292"/>
                <a:gd name="connsiteX488" fmla="*/ 699312 w 1746071"/>
                <a:gd name="connsiteY488" fmla="*/ 1405667 h 1454292"/>
                <a:gd name="connsiteX489" fmla="*/ 699312 w 1746071"/>
                <a:gd name="connsiteY489" fmla="*/ 1395683 h 1454292"/>
                <a:gd name="connsiteX490" fmla="*/ 704285 w 1746071"/>
                <a:gd name="connsiteY490" fmla="*/ 1386192 h 1454292"/>
                <a:gd name="connsiteX491" fmla="*/ 699312 w 1746071"/>
                <a:gd name="connsiteY491" fmla="*/ 1386192 h 1454292"/>
                <a:gd name="connsiteX492" fmla="*/ 694804 w 1746071"/>
                <a:gd name="connsiteY492" fmla="*/ 1386192 h 1454292"/>
                <a:gd name="connsiteX493" fmla="*/ 684764 w 1746071"/>
                <a:gd name="connsiteY493" fmla="*/ 1376138 h 1454292"/>
                <a:gd name="connsiteX494" fmla="*/ 675283 w 1746071"/>
                <a:gd name="connsiteY494" fmla="*/ 1371146 h 1454292"/>
                <a:gd name="connsiteX495" fmla="*/ 675283 w 1746071"/>
                <a:gd name="connsiteY495" fmla="*/ 1366646 h 1454292"/>
                <a:gd name="connsiteX496" fmla="*/ 669752 w 1746071"/>
                <a:gd name="connsiteY496" fmla="*/ 1366646 h 1454292"/>
                <a:gd name="connsiteX497" fmla="*/ 669752 w 1746071"/>
                <a:gd name="connsiteY497" fmla="*/ 1351671 h 1454292"/>
                <a:gd name="connsiteX498" fmla="*/ 665243 w 1746071"/>
                <a:gd name="connsiteY498" fmla="*/ 1351671 h 1454292"/>
                <a:gd name="connsiteX499" fmla="*/ 660270 w 1746071"/>
                <a:gd name="connsiteY499" fmla="*/ 1366646 h 1454292"/>
                <a:gd name="connsiteX500" fmla="*/ 650231 w 1746071"/>
                <a:gd name="connsiteY500" fmla="*/ 1366646 h 1454292"/>
                <a:gd name="connsiteX501" fmla="*/ 625737 w 1746071"/>
                <a:gd name="connsiteY501" fmla="*/ 1361654 h 1454292"/>
                <a:gd name="connsiteX502" fmla="*/ 621229 w 1746071"/>
                <a:gd name="connsiteY502" fmla="*/ 1356662 h 1454292"/>
                <a:gd name="connsiteX503" fmla="*/ 625737 w 1746071"/>
                <a:gd name="connsiteY503" fmla="*/ 1351671 h 1454292"/>
                <a:gd name="connsiteX504" fmla="*/ 625737 w 1746071"/>
                <a:gd name="connsiteY504" fmla="*/ 1347171 h 1454292"/>
                <a:gd name="connsiteX505" fmla="*/ 616209 w 1746071"/>
                <a:gd name="connsiteY505" fmla="*/ 1347171 h 1454292"/>
                <a:gd name="connsiteX506" fmla="*/ 616209 w 1746071"/>
                <a:gd name="connsiteY506" fmla="*/ 1337679 h 1454292"/>
                <a:gd name="connsiteX507" fmla="*/ 606216 w 1746071"/>
                <a:gd name="connsiteY507" fmla="*/ 1342179 h 1454292"/>
                <a:gd name="connsiteX508" fmla="*/ 606216 w 1746071"/>
                <a:gd name="connsiteY508" fmla="*/ 1347171 h 1454292"/>
                <a:gd name="connsiteX509" fmla="*/ 592180 w 1746071"/>
                <a:gd name="connsiteY509" fmla="*/ 1347171 h 1454292"/>
                <a:gd name="connsiteX510" fmla="*/ 586695 w 1746071"/>
                <a:gd name="connsiteY510" fmla="*/ 1342179 h 1454292"/>
                <a:gd name="connsiteX511" fmla="*/ 592180 w 1746071"/>
                <a:gd name="connsiteY511" fmla="*/ 1337679 h 1454292"/>
                <a:gd name="connsiteX512" fmla="*/ 592180 w 1746071"/>
                <a:gd name="connsiteY512" fmla="*/ 1327696 h 1454292"/>
                <a:gd name="connsiteX513" fmla="*/ 586695 w 1746071"/>
                <a:gd name="connsiteY513" fmla="*/ 1312650 h 1454292"/>
                <a:gd name="connsiteX514" fmla="*/ 582187 w 1746071"/>
                <a:gd name="connsiteY514" fmla="*/ 1308150 h 1454292"/>
                <a:gd name="connsiteX515" fmla="*/ 577167 w 1746071"/>
                <a:gd name="connsiteY515" fmla="*/ 1308150 h 1454292"/>
                <a:gd name="connsiteX516" fmla="*/ 572659 w 1746071"/>
                <a:gd name="connsiteY516" fmla="*/ 1303158 h 1454292"/>
                <a:gd name="connsiteX517" fmla="*/ 582187 w 1746071"/>
                <a:gd name="connsiteY517" fmla="*/ 1298658 h 1454292"/>
                <a:gd name="connsiteX518" fmla="*/ 586695 w 1746071"/>
                <a:gd name="connsiteY518" fmla="*/ 1293174 h 1454292"/>
                <a:gd name="connsiteX519" fmla="*/ 596688 w 1746071"/>
                <a:gd name="connsiteY519" fmla="*/ 1288675 h 1454292"/>
                <a:gd name="connsiteX520" fmla="*/ 601708 w 1746071"/>
                <a:gd name="connsiteY520" fmla="*/ 1279183 h 1454292"/>
                <a:gd name="connsiteX521" fmla="*/ 596688 w 1746071"/>
                <a:gd name="connsiteY521" fmla="*/ 1279183 h 1454292"/>
                <a:gd name="connsiteX522" fmla="*/ 596688 w 1746071"/>
                <a:gd name="connsiteY522" fmla="*/ 1273699 h 1454292"/>
                <a:gd name="connsiteX523" fmla="*/ 592180 w 1746071"/>
                <a:gd name="connsiteY523" fmla="*/ 1273699 h 1454292"/>
                <a:gd name="connsiteX524" fmla="*/ 586695 w 1746071"/>
                <a:gd name="connsiteY524" fmla="*/ 1254716 h 1454292"/>
                <a:gd name="connsiteX525" fmla="*/ 577167 w 1746071"/>
                <a:gd name="connsiteY525" fmla="*/ 1249724 h 1454292"/>
                <a:gd name="connsiteX526" fmla="*/ 572659 w 1746071"/>
                <a:gd name="connsiteY526" fmla="*/ 1240232 h 1454292"/>
                <a:gd name="connsiteX527" fmla="*/ 567128 w 1746071"/>
                <a:gd name="connsiteY527" fmla="*/ 1225187 h 1454292"/>
                <a:gd name="connsiteX528" fmla="*/ 552627 w 1746071"/>
                <a:gd name="connsiteY528" fmla="*/ 1225187 h 1454292"/>
                <a:gd name="connsiteX529" fmla="*/ 547607 w 1746071"/>
                <a:gd name="connsiteY529" fmla="*/ 1235170 h 1454292"/>
                <a:gd name="connsiteX530" fmla="*/ 538125 w 1746071"/>
                <a:gd name="connsiteY530" fmla="*/ 1230671 h 1454292"/>
                <a:gd name="connsiteX531" fmla="*/ 547607 w 1746071"/>
                <a:gd name="connsiteY531" fmla="*/ 1215695 h 1454292"/>
                <a:gd name="connsiteX532" fmla="*/ 547607 w 1746071"/>
                <a:gd name="connsiteY532" fmla="*/ 1205711 h 1454292"/>
                <a:gd name="connsiteX533" fmla="*/ 542633 w 1746071"/>
                <a:gd name="connsiteY533" fmla="*/ 1201212 h 1454292"/>
                <a:gd name="connsiteX534" fmla="*/ 528597 w 1746071"/>
                <a:gd name="connsiteY534" fmla="*/ 1205711 h 1454292"/>
                <a:gd name="connsiteX535" fmla="*/ 523112 w 1746071"/>
                <a:gd name="connsiteY535" fmla="*/ 1201212 h 1454292"/>
                <a:gd name="connsiteX536" fmla="*/ 523112 w 1746071"/>
                <a:gd name="connsiteY536" fmla="*/ 1191720 h 1454292"/>
                <a:gd name="connsiteX537" fmla="*/ 528597 w 1746071"/>
                <a:gd name="connsiteY537" fmla="*/ 1191720 h 1454292"/>
                <a:gd name="connsiteX538" fmla="*/ 528597 w 1746071"/>
                <a:gd name="connsiteY538" fmla="*/ 1186236 h 1454292"/>
                <a:gd name="connsiteX539" fmla="*/ 523112 w 1746071"/>
                <a:gd name="connsiteY539" fmla="*/ 1181736 h 1454292"/>
                <a:gd name="connsiteX540" fmla="*/ 498572 w 1746071"/>
                <a:gd name="connsiteY540" fmla="*/ 1176744 h 1454292"/>
                <a:gd name="connsiteX541" fmla="*/ 488579 w 1746071"/>
                <a:gd name="connsiteY541" fmla="*/ 1172245 h 1454292"/>
                <a:gd name="connsiteX542" fmla="*/ 479051 w 1746071"/>
                <a:gd name="connsiteY542" fmla="*/ 1176744 h 1454292"/>
                <a:gd name="connsiteX543" fmla="*/ 459530 w 1746071"/>
                <a:gd name="connsiteY543" fmla="*/ 1172245 h 1454292"/>
                <a:gd name="connsiteX544" fmla="*/ 459530 w 1746071"/>
                <a:gd name="connsiteY544" fmla="*/ 1166690 h 1454292"/>
                <a:gd name="connsiteX545" fmla="*/ 445494 w 1746071"/>
                <a:gd name="connsiteY545" fmla="*/ 1172245 h 1454292"/>
                <a:gd name="connsiteX546" fmla="*/ 435501 w 1746071"/>
                <a:gd name="connsiteY546" fmla="*/ 1176744 h 1454292"/>
                <a:gd name="connsiteX547" fmla="*/ 435501 w 1746071"/>
                <a:gd name="connsiteY547" fmla="*/ 1181736 h 1454292"/>
                <a:gd name="connsiteX548" fmla="*/ 430481 w 1746071"/>
                <a:gd name="connsiteY548" fmla="*/ 1181736 h 1454292"/>
                <a:gd name="connsiteX549" fmla="*/ 440009 w 1746071"/>
                <a:gd name="connsiteY549" fmla="*/ 1201212 h 1454292"/>
                <a:gd name="connsiteX550" fmla="*/ 435501 w 1746071"/>
                <a:gd name="connsiteY550" fmla="*/ 1201212 h 1454292"/>
                <a:gd name="connsiteX551" fmla="*/ 415469 w 1746071"/>
                <a:gd name="connsiteY551" fmla="*/ 1201212 h 1454292"/>
                <a:gd name="connsiteX552" fmla="*/ 395948 w 1746071"/>
                <a:gd name="connsiteY552" fmla="*/ 1211195 h 1454292"/>
                <a:gd name="connsiteX553" fmla="*/ 391440 w 1746071"/>
                <a:gd name="connsiteY553" fmla="*/ 1205711 h 1454292"/>
                <a:gd name="connsiteX554" fmla="*/ 381958 w 1746071"/>
                <a:gd name="connsiteY554" fmla="*/ 1205711 h 1454292"/>
                <a:gd name="connsiteX555" fmla="*/ 362437 w 1746071"/>
                <a:gd name="connsiteY555" fmla="*/ 1211195 h 1454292"/>
                <a:gd name="connsiteX556" fmla="*/ 347378 w 1746071"/>
                <a:gd name="connsiteY556" fmla="*/ 1205711 h 1454292"/>
                <a:gd name="connsiteX557" fmla="*/ 347378 w 1746071"/>
                <a:gd name="connsiteY557" fmla="*/ 1211195 h 1454292"/>
                <a:gd name="connsiteX558" fmla="*/ 341894 w 1746071"/>
                <a:gd name="connsiteY558" fmla="*/ 1215695 h 1454292"/>
                <a:gd name="connsiteX559" fmla="*/ 341894 w 1746071"/>
                <a:gd name="connsiteY559" fmla="*/ 1230671 h 1454292"/>
                <a:gd name="connsiteX560" fmla="*/ 337385 w 1746071"/>
                <a:gd name="connsiteY560" fmla="*/ 1225187 h 1454292"/>
                <a:gd name="connsiteX561" fmla="*/ 327857 w 1746071"/>
                <a:gd name="connsiteY561" fmla="*/ 1225187 h 1454292"/>
                <a:gd name="connsiteX562" fmla="*/ 312845 w 1746071"/>
                <a:gd name="connsiteY562" fmla="*/ 1215695 h 1454292"/>
                <a:gd name="connsiteX563" fmla="*/ 312845 w 1746071"/>
                <a:gd name="connsiteY563" fmla="*/ 1205711 h 1454292"/>
                <a:gd name="connsiteX564" fmla="*/ 303363 w 1746071"/>
                <a:gd name="connsiteY564" fmla="*/ 1205711 h 1454292"/>
                <a:gd name="connsiteX565" fmla="*/ 308336 w 1746071"/>
                <a:gd name="connsiteY565" fmla="*/ 1220687 h 1454292"/>
                <a:gd name="connsiteX566" fmla="*/ 303363 w 1746071"/>
                <a:gd name="connsiteY566" fmla="*/ 1220687 h 1454292"/>
                <a:gd name="connsiteX567" fmla="*/ 298855 w 1746071"/>
                <a:gd name="connsiteY567" fmla="*/ 1215695 h 1454292"/>
                <a:gd name="connsiteX568" fmla="*/ 293324 w 1746071"/>
                <a:gd name="connsiteY568" fmla="*/ 1211195 h 1454292"/>
                <a:gd name="connsiteX569" fmla="*/ 283842 w 1746071"/>
                <a:gd name="connsiteY569" fmla="*/ 1220687 h 1454292"/>
                <a:gd name="connsiteX570" fmla="*/ 278312 w 1746071"/>
                <a:gd name="connsiteY570" fmla="*/ 1225187 h 1454292"/>
                <a:gd name="connsiteX571" fmla="*/ 268830 w 1746071"/>
                <a:gd name="connsiteY571" fmla="*/ 1225187 h 1454292"/>
                <a:gd name="connsiteX572" fmla="*/ 264322 w 1746071"/>
                <a:gd name="connsiteY572" fmla="*/ 1220687 h 1454292"/>
                <a:gd name="connsiteX573" fmla="*/ 254282 w 1746071"/>
                <a:gd name="connsiteY573" fmla="*/ 1220687 h 1454292"/>
                <a:gd name="connsiteX574" fmla="*/ 254282 w 1746071"/>
                <a:gd name="connsiteY574" fmla="*/ 1225187 h 1454292"/>
                <a:gd name="connsiteX575" fmla="*/ 249263 w 1746071"/>
                <a:gd name="connsiteY575" fmla="*/ 1230671 h 1454292"/>
                <a:gd name="connsiteX576" fmla="*/ 244801 w 1746071"/>
                <a:gd name="connsiteY576" fmla="*/ 1225187 h 1454292"/>
                <a:gd name="connsiteX577" fmla="*/ 239781 w 1746071"/>
                <a:gd name="connsiteY577" fmla="*/ 1230671 h 1454292"/>
                <a:gd name="connsiteX578" fmla="*/ 234761 w 1746071"/>
                <a:gd name="connsiteY578" fmla="*/ 1220687 h 1454292"/>
                <a:gd name="connsiteX579" fmla="*/ 225280 w 1746071"/>
                <a:gd name="connsiteY579" fmla="*/ 1225187 h 1454292"/>
                <a:gd name="connsiteX580" fmla="*/ 205248 w 1746071"/>
                <a:gd name="connsiteY580" fmla="*/ 1225187 h 1454292"/>
                <a:gd name="connsiteX581" fmla="*/ 205248 w 1746071"/>
                <a:gd name="connsiteY581" fmla="*/ 1230671 h 1454292"/>
                <a:gd name="connsiteX582" fmla="*/ 195208 w 1746071"/>
                <a:gd name="connsiteY582" fmla="*/ 1230671 h 1454292"/>
                <a:gd name="connsiteX583" fmla="*/ 200739 w 1746071"/>
                <a:gd name="connsiteY583" fmla="*/ 1205711 h 1454292"/>
                <a:gd name="connsiteX584" fmla="*/ 195208 w 1746071"/>
                <a:gd name="connsiteY584" fmla="*/ 1196220 h 1454292"/>
                <a:gd name="connsiteX585" fmla="*/ 195208 w 1746071"/>
                <a:gd name="connsiteY585" fmla="*/ 1191720 h 1454292"/>
                <a:gd name="connsiteX586" fmla="*/ 190700 w 1746071"/>
                <a:gd name="connsiteY586" fmla="*/ 1191720 h 1454292"/>
                <a:gd name="connsiteX587" fmla="*/ 185727 w 1746071"/>
                <a:gd name="connsiteY587" fmla="*/ 1201212 h 1454292"/>
                <a:gd name="connsiteX588" fmla="*/ 181218 w 1746071"/>
                <a:gd name="connsiteY588" fmla="*/ 1201212 h 1454292"/>
                <a:gd name="connsiteX589" fmla="*/ 175688 w 1746071"/>
                <a:gd name="connsiteY589" fmla="*/ 1201212 h 1454292"/>
                <a:gd name="connsiteX590" fmla="*/ 171179 w 1746071"/>
                <a:gd name="connsiteY590" fmla="*/ 1191720 h 1454292"/>
                <a:gd name="connsiteX591" fmla="*/ 185727 w 1746071"/>
                <a:gd name="connsiteY591" fmla="*/ 1186236 h 1454292"/>
                <a:gd name="connsiteX592" fmla="*/ 185727 w 1746071"/>
                <a:gd name="connsiteY592" fmla="*/ 1181736 h 1454292"/>
                <a:gd name="connsiteX593" fmla="*/ 175688 w 1746071"/>
                <a:gd name="connsiteY593" fmla="*/ 1172245 h 1454292"/>
                <a:gd name="connsiteX594" fmla="*/ 171179 w 1746071"/>
                <a:gd name="connsiteY594" fmla="*/ 1172245 h 1454292"/>
                <a:gd name="connsiteX595" fmla="*/ 166206 w 1746071"/>
                <a:gd name="connsiteY595" fmla="*/ 1166690 h 1454292"/>
                <a:gd name="connsiteX596" fmla="*/ 166206 w 1746071"/>
                <a:gd name="connsiteY596" fmla="*/ 1157199 h 1454292"/>
                <a:gd name="connsiteX597" fmla="*/ 161698 w 1746071"/>
                <a:gd name="connsiteY597" fmla="*/ 1147707 h 1454292"/>
                <a:gd name="connsiteX598" fmla="*/ 156678 w 1746071"/>
                <a:gd name="connsiteY598" fmla="*/ 1142715 h 1454292"/>
                <a:gd name="connsiteX599" fmla="*/ 161698 w 1746071"/>
                <a:gd name="connsiteY599" fmla="*/ 1137723 h 1454292"/>
                <a:gd name="connsiteX600" fmla="*/ 156678 w 1746071"/>
                <a:gd name="connsiteY600" fmla="*/ 1133224 h 1454292"/>
                <a:gd name="connsiteX601" fmla="*/ 146685 w 1746071"/>
                <a:gd name="connsiteY601" fmla="*/ 1123732 h 1454292"/>
                <a:gd name="connsiteX602" fmla="*/ 137157 w 1746071"/>
                <a:gd name="connsiteY602" fmla="*/ 1123732 h 1454292"/>
                <a:gd name="connsiteX603" fmla="*/ 131673 w 1746071"/>
                <a:gd name="connsiteY603" fmla="*/ 1113748 h 1454292"/>
                <a:gd name="connsiteX604" fmla="*/ 142177 w 1746071"/>
                <a:gd name="connsiteY604" fmla="*/ 1108757 h 1454292"/>
                <a:gd name="connsiteX605" fmla="*/ 137157 w 1746071"/>
                <a:gd name="connsiteY605" fmla="*/ 1098703 h 1454292"/>
                <a:gd name="connsiteX606" fmla="*/ 127164 w 1746071"/>
                <a:gd name="connsiteY606" fmla="*/ 1098703 h 1454292"/>
                <a:gd name="connsiteX607" fmla="*/ 127164 w 1746071"/>
                <a:gd name="connsiteY607" fmla="*/ 1104257 h 1454292"/>
                <a:gd name="connsiteX608" fmla="*/ 122145 w 1746071"/>
                <a:gd name="connsiteY608" fmla="*/ 1113748 h 1454292"/>
                <a:gd name="connsiteX609" fmla="*/ 117636 w 1746071"/>
                <a:gd name="connsiteY609" fmla="*/ 1108757 h 1454292"/>
                <a:gd name="connsiteX610" fmla="*/ 117636 w 1746071"/>
                <a:gd name="connsiteY610" fmla="*/ 1113748 h 1454292"/>
                <a:gd name="connsiteX611" fmla="*/ 107643 w 1746071"/>
                <a:gd name="connsiteY611" fmla="*/ 1113748 h 1454292"/>
                <a:gd name="connsiteX612" fmla="*/ 102624 w 1746071"/>
                <a:gd name="connsiteY612" fmla="*/ 1098703 h 1454292"/>
                <a:gd name="connsiteX613" fmla="*/ 98115 w 1746071"/>
                <a:gd name="connsiteY613" fmla="*/ 1089211 h 1454292"/>
                <a:gd name="connsiteX614" fmla="*/ 92584 w 1746071"/>
                <a:gd name="connsiteY614" fmla="*/ 1089211 h 1454292"/>
                <a:gd name="connsiteX615" fmla="*/ 88123 w 1746071"/>
                <a:gd name="connsiteY615" fmla="*/ 1089211 h 1454292"/>
                <a:gd name="connsiteX616" fmla="*/ 83103 w 1746071"/>
                <a:gd name="connsiteY616" fmla="*/ 1094203 h 1454292"/>
                <a:gd name="connsiteX617" fmla="*/ 73575 w 1746071"/>
                <a:gd name="connsiteY617" fmla="*/ 1089211 h 1454292"/>
                <a:gd name="connsiteX618" fmla="*/ 92584 w 1746071"/>
                <a:gd name="connsiteY618" fmla="*/ 1069736 h 1454292"/>
                <a:gd name="connsiteX619" fmla="*/ 88123 w 1746071"/>
                <a:gd name="connsiteY619" fmla="*/ 1065236 h 1454292"/>
                <a:gd name="connsiteX620" fmla="*/ 83103 w 1746071"/>
                <a:gd name="connsiteY620" fmla="*/ 1065236 h 1454292"/>
                <a:gd name="connsiteX621" fmla="*/ 88123 w 1746071"/>
                <a:gd name="connsiteY621" fmla="*/ 1050260 h 1454292"/>
                <a:gd name="connsiteX622" fmla="*/ 88123 w 1746071"/>
                <a:gd name="connsiteY622" fmla="*/ 1045761 h 1454292"/>
                <a:gd name="connsiteX623" fmla="*/ 83103 w 1746071"/>
                <a:gd name="connsiteY623" fmla="*/ 1040769 h 1454292"/>
                <a:gd name="connsiteX624" fmla="*/ 73575 w 1746071"/>
                <a:gd name="connsiteY624" fmla="*/ 1035777 h 1454292"/>
                <a:gd name="connsiteX625" fmla="*/ 73575 w 1746071"/>
                <a:gd name="connsiteY625" fmla="*/ 1030785 h 1454292"/>
                <a:gd name="connsiteX626" fmla="*/ 68555 w 1746071"/>
                <a:gd name="connsiteY626" fmla="*/ 1021223 h 1454292"/>
                <a:gd name="connsiteX627" fmla="*/ 68555 w 1746071"/>
                <a:gd name="connsiteY627" fmla="*/ 1016723 h 1454292"/>
                <a:gd name="connsiteX628" fmla="*/ 58562 w 1746071"/>
                <a:gd name="connsiteY628" fmla="*/ 1021223 h 1454292"/>
                <a:gd name="connsiteX629" fmla="*/ 58562 w 1746071"/>
                <a:gd name="connsiteY629" fmla="*/ 1011239 h 1454292"/>
                <a:gd name="connsiteX630" fmla="*/ 44061 w 1746071"/>
                <a:gd name="connsiteY630" fmla="*/ 991764 h 1454292"/>
                <a:gd name="connsiteX631" fmla="*/ 34533 w 1746071"/>
                <a:gd name="connsiteY631" fmla="*/ 991764 h 1454292"/>
                <a:gd name="connsiteX632" fmla="*/ 34533 w 1746071"/>
                <a:gd name="connsiteY632" fmla="*/ 987264 h 1454292"/>
                <a:gd name="connsiteX633" fmla="*/ 19521 w 1746071"/>
                <a:gd name="connsiteY633" fmla="*/ 997248 h 1454292"/>
                <a:gd name="connsiteX634" fmla="*/ 15012 w 1746071"/>
                <a:gd name="connsiteY634" fmla="*/ 991764 h 1454292"/>
                <a:gd name="connsiteX635" fmla="*/ 9528 w 1746071"/>
                <a:gd name="connsiteY635" fmla="*/ 982273 h 1454292"/>
                <a:gd name="connsiteX636" fmla="*/ 15012 w 1746071"/>
                <a:gd name="connsiteY636" fmla="*/ 972289 h 1454292"/>
                <a:gd name="connsiteX637" fmla="*/ 9528 w 1746071"/>
                <a:gd name="connsiteY637" fmla="*/ 962797 h 1454292"/>
                <a:gd name="connsiteX638" fmla="*/ 5019 w 1746071"/>
                <a:gd name="connsiteY638" fmla="*/ 962797 h 1454292"/>
                <a:gd name="connsiteX639" fmla="*/ 5019 w 1746071"/>
                <a:gd name="connsiteY639" fmla="*/ 958298 h 1454292"/>
                <a:gd name="connsiteX640" fmla="*/ 9528 w 1746071"/>
                <a:gd name="connsiteY640" fmla="*/ 948243 h 1454292"/>
                <a:gd name="connsiteX641" fmla="*/ 0 w 1746071"/>
                <a:gd name="connsiteY641" fmla="*/ 933760 h 1454292"/>
                <a:gd name="connsiteX642" fmla="*/ 9528 w 1746071"/>
                <a:gd name="connsiteY642" fmla="*/ 928768 h 1454292"/>
                <a:gd name="connsiteX643" fmla="*/ 19521 w 1746071"/>
                <a:gd name="connsiteY643" fmla="*/ 923776 h 1454292"/>
                <a:gd name="connsiteX644" fmla="*/ 15012 w 1746071"/>
                <a:gd name="connsiteY644" fmla="*/ 914285 h 1454292"/>
                <a:gd name="connsiteX645" fmla="*/ 9528 w 1746071"/>
                <a:gd name="connsiteY645" fmla="*/ 904301 h 1454292"/>
                <a:gd name="connsiteX646" fmla="*/ 24540 w 1746071"/>
                <a:gd name="connsiteY646" fmla="*/ 904301 h 1454292"/>
                <a:gd name="connsiteX647" fmla="*/ 34533 w 1746071"/>
                <a:gd name="connsiteY647" fmla="*/ 899801 h 1454292"/>
                <a:gd name="connsiteX648" fmla="*/ 29049 w 1746071"/>
                <a:gd name="connsiteY648" fmla="*/ 880256 h 1454292"/>
                <a:gd name="connsiteX649" fmla="*/ 39041 w 1746071"/>
                <a:gd name="connsiteY649" fmla="*/ 875264 h 1454292"/>
                <a:gd name="connsiteX650" fmla="*/ 39041 w 1746071"/>
                <a:gd name="connsiteY650" fmla="*/ 870764 h 1454292"/>
                <a:gd name="connsiteX651" fmla="*/ 48570 w 1746071"/>
                <a:gd name="connsiteY651" fmla="*/ 870764 h 1454292"/>
                <a:gd name="connsiteX652" fmla="*/ 44061 w 1746071"/>
                <a:gd name="connsiteY652" fmla="*/ 865280 h 1454292"/>
                <a:gd name="connsiteX653" fmla="*/ 63582 w 1746071"/>
                <a:gd name="connsiteY653" fmla="*/ 855789 h 1454292"/>
                <a:gd name="connsiteX654" fmla="*/ 58562 w 1746071"/>
                <a:gd name="connsiteY654" fmla="*/ 851289 h 1454292"/>
                <a:gd name="connsiteX655" fmla="*/ 48570 w 1746071"/>
                <a:gd name="connsiteY655" fmla="*/ 845805 h 1454292"/>
                <a:gd name="connsiteX656" fmla="*/ 54054 w 1746071"/>
                <a:gd name="connsiteY656" fmla="*/ 841305 h 1454292"/>
                <a:gd name="connsiteX657" fmla="*/ 39041 w 1746071"/>
                <a:gd name="connsiteY657" fmla="*/ 841305 h 1454292"/>
                <a:gd name="connsiteX658" fmla="*/ 34533 w 1746071"/>
                <a:gd name="connsiteY658" fmla="*/ 845805 h 1454292"/>
                <a:gd name="connsiteX659" fmla="*/ 24540 w 1746071"/>
                <a:gd name="connsiteY659" fmla="*/ 845805 h 1454292"/>
                <a:gd name="connsiteX660" fmla="*/ 24540 w 1746071"/>
                <a:gd name="connsiteY660" fmla="*/ 836313 h 1454292"/>
                <a:gd name="connsiteX661" fmla="*/ 24540 w 1746071"/>
                <a:gd name="connsiteY661" fmla="*/ 831814 h 1454292"/>
                <a:gd name="connsiteX662" fmla="*/ 19521 w 1746071"/>
                <a:gd name="connsiteY662" fmla="*/ 826822 h 1454292"/>
                <a:gd name="connsiteX663" fmla="*/ 29049 w 1746071"/>
                <a:gd name="connsiteY663" fmla="*/ 816768 h 1454292"/>
                <a:gd name="connsiteX664" fmla="*/ 34533 w 1746071"/>
                <a:gd name="connsiteY664" fmla="*/ 812338 h 1454292"/>
                <a:gd name="connsiteX665" fmla="*/ 29049 w 1746071"/>
                <a:gd name="connsiteY665" fmla="*/ 802776 h 1454292"/>
                <a:gd name="connsiteX666" fmla="*/ 29049 w 1746071"/>
                <a:gd name="connsiteY666" fmla="*/ 797292 h 1454292"/>
                <a:gd name="connsiteX667" fmla="*/ 29049 w 1746071"/>
                <a:gd name="connsiteY667" fmla="*/ 792793 h 1454292"/>
                <a:gd name="connsiteX668" fmla="*/ 19521 w 1746071"/>
                <a:gd name="connsiteY668" fmla="*/ 792793 h 1454292"/>
                <a:gd name="connsiteX669" fmla="*/ 15012 w 1746071"/>
                <a:gd name="connsiteY669" fmla="*/ 783301 h 1454292"/>
                <a:gd name="connsiteX670" fmla="*/ 5019 w 1746071"/>
                <a:gd name="connsiteY670" fmla="*/ 783301 h 1454292"/>
                <a:gd name="connsiteX671" fmla="*/ 9528 w 1746071"/>
                <a:gd name="connsiteY671" fmla="*/ 768325 h 1454292"/>
                <a:gd name="connsiteX672" fmla="*/ 15012 w 1746071"/>
                <a:gd name="connsiteY672" fmla="*/ 768325 h 1454292"/>
                <a:gd name="connsiteX673" fmla="*/ 19521 w 1746071"/>
                <a:gd name="connsiteY673" fmla="*/ 763826 h 1454292"/>
                <a:gd name="connsiteX674" fmla="*/ 19521 w 1746071"/>
                <a:gd name="connsiteY674" fmla="*/ 758342 h 1454292"/>
                <a:gd name="connsiteX675" fmla="*/ 15012 w 1746071"/>
                <a:gd name="connsiteY675" fmla="*/ 758342 h 1454292"/>
                <a:gd name="connsiteX676" fmla="*/ 5019 w 1746071"/>
                <a:gd name="connsiteY676" fmla="*/ 753842 h 1454292"/>
                <a:gd name="connsiteX677" fmla="*/ 9528 w 1746071"/>
                <a:gd name="connsiteY677" fmla="*/ 748850 h 1454292"/>
                <a:gd name="connsiteX678" fmla="*/ 19521 w 1746071"/>
                <a:gd name="connsiteY678" fmla="*/ 748850 h 1454292"/>
                <a:gd name="connsiteX679" fmla="*/ 29049 w 1746071"/>
                <a:gd name="connsiteY679" fmla="*/ 748850 h 1454292"/>
                <a:gd name="connsiteX680" fmla="*/ 34533 w 1746071"/>
                <a:gd name="connsiteY680" fmla="*/ 748850 h 1454292"/>
                <a:gd name="connsiteX681" fmla="*/ 34533 w 1746071"/>
                <a:gd name="connsiteY681" fmla="*/ 744350 h 1454292"/>
                <a:gd name="connsiteX682" fmla="*/ 34533 w 1746071"/>
                <a:gd name="connsiteY682" fmla="*/ 738796 h 1454292"/>
                <a:gd name="connsiteX683" fmla="*/ 34533 w 1746071"/>
                <a:gd name="connsiteY683" fmla="*/ 729304 h 1454292"/>
                <a:gd name="connsiteX684" fmla="*/ 34533 w 1746071"/>
                <a:gd name="connsiteY684" fmla="*/ 724805 h 1454292"/>
                <a:gd name="connsiteX685" fmla="*/ 34533 w 1746071"/>
                <a:gd name="connsiteY685" fmla="*/ 719813 h 1454292"/>
                <a:gd name="connsiteX686" fmla="*/ 39041 w 1746071"/>
                <a:gd name="connsiteY686" fmla="*/ 719813 h 1454292"/>
                <a:gd name="connsiteX687" fmla="*/ 48570 w 1746071"/>
                <a:gd name="connsiteY687" fmla="*/ 700338 h 1454292"/>
                <a:gd name="connsiteX688" fmla="*/ 48570 w 1746071"/>
                <a:gd name="connsiteY688" fmla="*/ 695838 h 1454292"/>
                <a:gd name="connsiteX689" fmla="*/ 68555 w 1746071"/>
                <a:gd name="connsiteY689" fmla="*/ 690354 h 1454292"/>
                <a:gd name="connsiteX690" fmla="*/ 68555 w 1746071"/>
                <a:gd name="connsiteY690" fmla="*/ 680862 h 1454292"/>
                <a:gd name="connsiteX691" fmla="*/ 73575 w 1746071"/>
                <a:gd name="connsiteY691" fmla="*/ 680862 h 1454292"/>
                <a:gd name="connsiteX692" fmla="*/ 73575 w 1746071"/>
                <a:gd name="connsiteY692" fmla="*/ 670808 h 1454292"/>
                <a:gd name="connsiteX693" fmla="*/ 83103 w 1746071"/>
                <a:gd name="connsiteY693" fmla="*/ 666309 h 1454292"/>
                <a:gd name="connsiteX694" fmla="*/ 88123 w 1746071"/>
                <a:gd name="connsiteY694" fmla="*/ 646833 h 1454292"/>
                <a:gd name="connsiteX695" fmla="*/ 98115 w 1746071"/>
                <a:gd name="connsiteY695" fmla="*/ 641841 h 1454292"/>
                <a:gd name="connsiteX696" fmla="*/ 102624 w 1746071"/>
                <a:gd name="connsiteY696" fmla="*/ 637342 h 1454292"/>
                <a:gd name="connsiteX697" fmla="*/ 98115 w 1746071"/>
                <a:gd name="connsiteY697" fmla="*/ 627358 h 1454292"/>
                <a:gd name="connsiteX698" fmla="*/ 78594 w 1746071"/>
                <a:gd name="connsiteY698" fmla="*/ 627358 h 1454292"/>
                <a:gd name="connsiteX699" fmla="*/ 68555 w 1746071"/>
                <a:gd name="connsiteY699" fmla="*/ 627358 h 1454292"/>
                <a:gd name="connsiteX700" fmla="*/ 68555 w 1746071"/>
                <a:gd name="connsiteY700" fmla="*/ 617866 h 1454292"/>
                <a:gd name="connsiteX701" fmla="*/ 73575 w 1746071"/>
                <a:gd name="connsiteY701" fmla="*/ 612874 h 1454292"/>
                <a:gd name="connsiteX702" fmla="*/ 73575 w 1746071"/>
                <a:gd name="connsiteY702" fmla="*/ 608375 h 1454292"/>
                <a:gd name="connsiteX703" fmla="*/ 78594 w 1746071"/>
                <a:gd name="connsiteY703" fmla="*/ 608375 h 1454292"/>
                <a:gd name="connsiteX704" fmla="*/ 88123 w 1746071"/>
                <a:gd name="connsiteY704" fmla="*/ 608375 h 1454292"/>
                <a:gd name="connsiteX705" fmla="*/ 88123 w 1746071"/>
                <a:gd name="connsiteY705" fmla="*/ 602820 h 1454292"/>
                <a:gd name="connsiteX706" fmla="*/ 83103 w 1746071"/>
                <a:gd name="connsiteY706" fmla="*/ 598321 h 1454292"/>
                <a:gd name="connsiteX707" fmla="*/ 83103 w 1746071"/>
                <a:gd name="connsiteY707" fmla="*/ 588829 h 1454292"/>
                <a:gd name="connsiteX708" fmla="*/ 73575 w 1746071"/>
                <a:gd name="connsiteY708" fmla="*/ 583345 h 1454292"/>
                <a:gd name="connsiteX709" fmla="*/ 83103 w 1746071"/>
                <a:gd name="connsiteY709" fmla="*/ 569354 h 1454292"/>
                <a:gd name="connsiteX710" fmla="*/ 83103 w 1746071"/>
                <a:gd name="connsiteY710" fmla="*/ 563870 h 1454292"/>
                <a:gd name="connsiteX711" fmla="*/ 102624 w 1746071"/>
                <a:gd name="connsiteY711" fmla="*/ 563870 h 1454292"/>
                <a:gd name="connsiteX712" fmla="*/ 107643 w 1746071"/>
                <a:gd name="connsiteY712" fmla="*/ 569354 h 1454292"/>
                <a:gd name="connsiteX713" fmla="*/ 112105 w 1746071"/>
                <a:gd name="connsiteY713" fmla="*/ 569354 h 1454292"/>
                <a:gd name="connsiteX714" fmla="*/ 122145 w 1746071"/>
                <a:gd name="connsiteY714" fmla="*/ 563870 h 1454292"/>
                <a:gd name="connsiteX715" fmla="*/ 127164 w 1746071"/>
                <a:gd name="connsiteY715" fmla="*/ 559370 h 1454292"/>
                <a:gd name="connsiteX716" fmla="*/ 127164 w 1746071"/>
                <a:gd name="connsiteY716" fmla="*/ 549879 h 1454292"/>
                <a:gd name="connsiteX717" fmla="*/ 122145 w 1746071"/>
                <a:gd name="connsiteY717" fmla="*/ 549879 h 1454292"/>
                <a:gd name="connsiteX718" fmla="*/ 112105 w 1746071"/>
                <a:gd name="connsiteY718" fmla="*/ 549879 h 1454292"/>
                <a:gd name="connsiteX719" fmla="*/ 107643 w 1746071"/>
                <a:gd name="connsiteY719" fmla="*/ 544395 h 1454292"/>
                <a:gd name="connsiteX720" fmla="*/ 112105 w 1746071"/>
                <a:gd name="connsiteY720" fmla="*/ 539895 h 1454292"/>
                <a:gd name="connsiteX721" fmla="*/ 107643 w 1746071"/>
                <a:gd name="connsiteY721" fmla="*/ 534903 h 1454292"/>
                <a:gd name="connsiteX722" fmla="*/ 102624 w 1746071"/>
                <a:gd name="connsiteY722" fmla="*/ 539895 h 1454292"/>
                <a:gd name="connsiteX723" fmla="*/ 98115 w 1746071"/>
                <a:gd name="connsiteY723" fmla="*/ 534903 h 1454292"/>
                <a:gd name="connsiteX724" fmla="*/ 92584 w 1746071"/>
                <a:gd name="connsiteY724" fmla="*/ 530403 h 1454292"/>
                <a:gd name="connsiteX725" fmla="*/ 98115 w 1746071"/>
                <a:gd name="connsiteY725" fmla="*/ 515357 h 1454292"/>
                <a:gd name="connsiteX726" fmla="*/ 92584 w 1746071"/>
                <a:gd name="connsiteY726" fmla="*/ 505866 h 1454292"/>
                <a:gd name="connsiteX727" fmla="*/ 92584 w 1746071"/>
                <a:gd name="connsiteY727" fmla="*/ 501366 h 1454292"/>
                <a:gd name="connsiteX728" fmla="*/ 92584 w 1746071"/>
                <a:gd name="connsiteY728" fmla="*/ 495882 h 1454292"/>
                <a:gd name="connsiteX729" fmla="*/ 92584 w 1746071"/>
                <a:gd name="connsiteY729" fmla="*/ 491382 h 1454292"/>
                <a:gd name="connsiteX730" fmla="*/ 88123 w 1746071"/>
                <a:gd name="connsiteY730" fmla="*/ 481891 h 1454292"/>
                <a:gd name="connsiteX731" fmla="*/ 88123 w 1746071"/>
                <a:gd name="connsiteY731" fmla="*/ 476407 h 1454292"/>
                <a:gd name="connsiteX732" fmla="*/ 98115 w 1746071"/>
                <a:gd name="connsiteY732" fmla="*/ 471907 h 1454292"/>
                <a:gd name="connsiteX733" fmla="*/ 102624 w 1746071"/>
                <a:gd name="connsiteY733" fmla="*/ 466915 h 1454292"/>
                <a:gd name="connsiteX734" fmla="*/ 107643 w 1746071"/>
                <a:gd name="connsiteY734" fmla="*/ 466915 h 1454292"/>
                <a:gd name="connsiteX735" fmla="*/ 112105 w 1746071"/>
                <a:gd name="connsiteY735" fmla="*/ 462415 h 1454292"/>
                <a:gd name="connsiteX736" fmla="*/ 122145 w 1746071"/>
                <a:gd name="connsiteY736" fmla="*/ 466915 h 1454292"/>
                <a:gd name="connsiteX737" fmla="*/ 122145 w 1746071"/>
                <a:gd name="connsiteY737" fmla="*/ 456861 h 1454292"/>
                <a:gd name="connsiteX738" fmla="*/ 127164 w 1746071"/>
                <a:gd name="connsiteY738" fmla="*/ 456861 h 1454292"/>
                <a:gd name="connsiteX739" fmla="*/ 131673 w 1746071"/>
                <a:gd name="connsiteY739" fmla="*/ 452361 h 1454292"/>
                <a:gd name="connsiteX740" fmla="*/ 142177 w 1746071"/>
                <a:gd name="connsiteY740" fmla="*/ 452361 h 1454292"/>
                <a:gd name="connsiteX741" fmla="*/ 151658 w 1746071"/>
                <a:gd name="connsiteY741" fmla="*/ 452361 h 1454292"/>
                <a:gd name="connsiteX742" fmla="*/ 156678 w 1746071"/>
                <a:gd name="connsiteY742" fmla="*/ 456861 h 1454292"/>
                <a:gd name="connsiteX743" fmla="*/ 161698 w 1746071"/>
                <a:gd name="connsiteY743" fmla="*/ 456861 h 1454292"/>
                <a:gd name="connsiteX744" fmla="*/ 161698 w 1746071"/>
                <a:gd name="connsiteY744" fmla="*/ 452361 h 1454292"/>
                <a:gd name="connsiteX745" fmla="*/ 161698 w 1746071"/>
                <a:gd name="connsiteY745" fmla="*/ 447370 h 1454292"/>
                <a:gd name="connsiteX746" fmla="*/ 166206 w 1746071"/>
                <a:gd name="connsiteY746" fmla="*/ 447370 h 1454292"/>
                <a:gd name="connsiteX747" fmla="*/ 166206 w 1746071"/>
                <a:gd name="connsiteY747" fmla="*/ 437386 h 1454292"/>
                <a:gd name="connsiteX748" fmla="*/ 175688 w 1746071"/>
                <a:gd name="connsiteY748" fmla="*/ 432886 h 1454292"/>
                <a:gd name="connsiteX749" fmla="*/ 181218 w 1746071"/>
                <a:gd name="connsiteY749" fmla="*/ 427894 h 1454292"/>
                <a:gd name="connsiteX750" fmla="*/ 185727 w 1746071"/>
                <a:gd name="connsiteY750" fmla="*/ 423395 h 1454292"/>
                <a:gd name="connsiteX751" fmla="*/ 190700 w 1746071"/>
                <a:gd name="connsiteY751" fmla="*/ 427894 h 1454292"/>
                <a:gd name="connsiteX752" fmla="*/ 200739 w 1746071"/>
                <a:gd name="connsiteY752" fmla="*/ 437386 h 1454292"/>
                <a:gd name="connsiteX753" fmla="*/ 210221 w 1746071"/>
                <a:gd name="connsiteY753" fmla="*/ 437386 h 1454292"/>
                <a:gd name="connsiteX754" fmla="*/ 220260 w 1746071"/>
                <a:gd name="connsiteY754" fmla="*/ 447370 h 1454292"/>
                <a:gd name="connsiteX755" fmla="*/ 229742 w 1746071"/>
                <a:gd name="connsiteY755" fmla="*/ 447370 h 1454292"/>
                <a:gd name="connsiteX756" fmla="*/ 229742 w 1746071"/>
                <a:gd name="connsiteY756" fmla="*/ 432886 h 1454292"/>
                <a:gd name="connsiteX757" fmla="*/ 234761 w 1746071"/>
                <a:gd name="connsiteY757" fmla="*/ 423395 h 1454292"/>
                <a:gd name="connsiteX758" fmla="*/ 229742 w 1746071"/>
                <a:gd name="connsiteY758" fmla="*/ 418403 h 1454292"/>
                <a:gd name="connsiteX759" fmla="*/ 229742 w 1746071"/>
                <a:gd name="connsiteY759" fmla="*/ 413411 h 1454292"/>
                <a:gd name="connsiteX760" fmla="*/ 229742 w 1746071"/>
                <a:gd name="connsiteY760" fmla="*/ 408419 h 1454292"/>
                <a:gd name="connsiteX761" fmla="*/ 234761 w 1746071"/>
                <a:gd name="connsiteY761" fmla="*/ 403919 h 1454292"/>
                <a:gd name="connsiteX762" fmla="*/ 234761 w 1746071"/>
                <a:gd name="connsiteY762" fmla="*/ 394428 h 1454292"/>
                <a:gd name="connsiteX763" fmla="*/ 229742 w 1746071"/>
                <a:gd name="connsiteY763" fmla="*/ 388873 h 1454292"/>
                <a:gd name="connsiteX764" fmla="*/ 229742 w 1746071"/>
                <a:gd name="connsiteY764" fmla="*/ 379382 h 1454292"/>
                <a:gd name="connsiteX765" fmla="*/ 229742 w 1746071"/>
                <a:gd name="connsiteY765" fmla="*/ 374882 h 1454292"/>
                <a:gd name="connsiteX766" fmla="*/ 229742 w 1746071"/>
                <a:gd name="connsiteY766" fmla="*/ 369398 h 1454292"/>
                <a:gd name="connsiteX767" fmla="*/ 234761 w 1746071"/>
                <a:gd name="connsiteY767" fmla="*/ 364898 h 1454292"/>
                <a:gd name="connsiteX768" fmla="*/ 234761 w 1746071"/>
                <a:gd name="connsiteY768" fmla="*/ 359906 h 1454292"/>
                <a:gd name="connsiteX769" fmla="*/ 239781 w 1746071"/>
                <a:gd name="connsiteY769" fmla="*/ 359906 h 1454292"/>
                <a:gd name="connsiteX770" fmla="*/ 239781 w 1746071"/>
                <a:gd name="connsiteY770" fmla="*/ 349923 h 1454292"/>
                <a:gd name="connsiteX771" fmla="*/ 234761 w 1746071"/>
                <a:gd name="connsiteY771" fmla="*/ 349923 h 1454292"/>
                <a:gd name="connsiteX772" fmla="*/ 229742 w 1746071"/>
                <a:gd name="connsiteY772" fmla="*/ 345423 h 1454292"/>
                <a:gd name="connsiteX773" fmla="*/ 239781 w 1746071"/>
                <a:gd name="connsiteY773" fmla="*/ 335931 h 1454292"/>
                <a:gd name="connsiteX774" fmla="*/ 234761 w 1746071"/>
                <a:gd name="connsiteY774" fmla="*/ 330447 h 1454292"/>
                <a:gd name="connsiteX775" fmla="*/ 234761 w 1746071"/>
                <a:gd name="connsiteY775" fmla="*/ 320956 h 1454292"/>
                <a:gd name="connsiteX776" fmla="*/ 225280 w 1746071"/>
                <a:gd name="connsiteY776" fmla="*/ 311394 h 1454292"/>
                <a:gd name="connsiteX777" fmla="*/ 220260 w 1746071"/>
                <a:gd name="connsiteY777" fmla="*/ 306402 h 1454292"/>
                <a:gd name="connsiteX778" fmla="*/ 229742 w 1746071"/>
                <a:gd name="connsiteY778" fmla="*/ 296911 h 1454292"/>
                <a:gd name="connsiteX779" fmla="*/ 239781 w 1746071"/>
                <a:gd name="connsiteY779" fmla="*/ 301410 h 1454292"/>
                <a:gd name="connsiteX780" fmla="*/ 244801 w 1746071"/>
                <a:gd name="connsiteY780" fmla="*/ 301410 h 1454292"/>
                <a:gd name="connsiteX781" fmla="*/ 254282 w 1746071"/>
                <a:gd name="connsiteY781" fmla="*/ 301410 h 1454292"/>
                <a:gd name="connsiteX782" fmla="*/ 254282 w 1746071"/>
                <a:gd name="connsiteY782" fmla="*/ 296911 h 1454292"/>
                <a:gd name="connsiteX783" fmla="*/ 254282 w 1746071"/>
                <a:gd name="connsiteY783" fmla="*/ 291919 h 1454292"/>
                <a:gd name="connsiteX784" fmla="*/ 258791 w 1746071"/>
                <a:gd name="connsiteY784" fmla="*/ 277435 h 1454292"/>
                <a:gd name="connsiteX785" fmla="*/ 264322 w 1746071"/>
                <a:gd name="connsiteY785" fmla="*/ 277435 h 1454292"/>
                <a:gd name="connsiteX786" fmla="*/ 264322 w 1746071"/>
                <a:gd name="connsiteY786" fmla="*/ 267944 h 1454292"/>
                <a:gd name="connsiteX787" fmla="*/ 268830 w 1746071"/>
                <a:gd name="connsiteY787" fmla="*/ 267944 h 1454292"/>
                <a:gd name="connsiteX788" fmla="*/ 273803 w 1746071"/>
                <a:gd name="connsiteY788" fmla="*/ 262459 h 1454292"/>
                <a:gd name="connsiteX789" fmla="*/ 278312 w 1746071"/>
                <a:gd name="connsiteY789" fmla="*/ 262459 h 1454292"/>
                <a:gd name="connsiteX790" fmla="*/ 278312 w 1746071"/>
                <a:gd name="connsiteY790" fmla="*/ 252968 h 1454292"/>
                <a:gd name="connsiteX791" fmla="*/ 283842 w 1746071"/>
                <a:gd name="connsiteY791" fmla="*/ 252968 h 1454292"/>
                <a:gd name="connsiteX792" fmla="*/ 293324 w 1746071"/>
                <a:gd name="connsiteY792" fmla="*/ 248468 h 1454292"/>
                <a:gd name="connsiteX793" fmla="*/ 293324 w 1746071"/>
                <a:gd name="connsiteY793" fmla="*/ 242914 h 1454292"/>
                <a:gd name="connsiteX794" fmla="*/ 293324 w 1746071"/>
                <a:gd name="connsiteY794" fmla="*/ 233422 h 1454292"/>
                <a:gd name="connsiteX795" fmla="*/ 298855 w 1746071"/>
                <a:gd name="connsiteY795" fmla="*/ 228923 h 1454292"/>
                <a:gd name="connsiteX796" fmla="*/ 293324 w 1746071"/>
                <a:gd name="connsiteY796" fmla="*/ 223439 h 1454292"/>
                <a:gd name="connsiteX797" fmla="*/ 283842 w 1746071"/>
                <a:gd name="connsiteY797" fmla="*/ 223439 h 1454292"/>
                <a:gd name="connsiteX798" fmla="*/ 283842 w 1746071"/>
                <a:gd name="connsiteY798" fmla="*/ 218939 h 1454292"/>
                <a:gd name="connsiteX799" fmla="*/ 293324 w 1746071"/>
                <a:gd name="connsiteY799" fmla="*/ 209447 h 1454292"/>
                <a:gd name="connsiteX800" fmla="*/ 288816 w 1746071"/>
                <a:gd name="connsiteY800" fmla="*/ 204455 h 1454292"/>
                <a:gd name="connsiteX801" fmla="*/ 293324 w 1746071"/>
                <a:gd name="connsiteY801" fmla="*/ 189972 h 1454292"/>
                <a:gd name="connsiteX802" fmla="*/ 293324 w 1746071"/>
                <a:gd name="connsiteY802" fmla="*/ 180480 h 1454292"/>
                <a:gd name="connsiteX803" fmla="*/ 298855 w 1746071"/>
                <a:gd name="connsiteY803" fmla="*/ 180480 h 1454292"/>
                <a:gd name="connsiteX804" fmla="*/ 298855 w 1746071"/>
                <a:gd name="connsiteY804" fmla="*/ 170426 h 1454292"/>
                <a:gd name="connsiteX805" fmla="*/ 298855 w 1746071"/>
                <a:gd name="connsiteY805" fmla="*/ 150951 h 1454292"/>
                <a:gd name="connsiteX806" fmla="*/ 293324 w 1746071"/>
                <a:gd name="connsiteY806" fmla="*/ 150951 h 1454292"/>
                <a:gd name="connsiteX807" fmla="*/ 293324 w 1746071"/>
                <a:gd name="connsiteY807" fmla="*/ 145959 h 1454292"/>
                <a:gd name="connsiteX808" fmla="*/ 288816 w 1746071"/>
                <a:gd name="connsiteY808" fmla="*/ 145959 h 1454292"/>
                <a:gd name="connsiteX809" fmla="*/ 293324 w 1746071"/>
                <a:gd name="connsiteY809" fmla="*/ 121984 h 1454292"/>
                <a:gd name="connsiteX810" fmla="*/ 288816 w 1746071"/>
                <a:gd name="connsiteY810" fmla="*/ 121984 h 1454292"/>
                <a:gd name="connsiteX811" fmla="*/ 293324 w 1746071"/>
                <a:gd name="connsiteY811" fmla="*/ 116500 h 1454292"/>
                <a:gd name="connsiteX812" fmla="*/ 317865 w 1746071"/>
                <a:gd name="connsiteY812" fmla="*/ 116500 h 1454292"/>
                <a:gd name="connsiteX813" fmla="*/ 332366 w 1746071"/>
                <a:gd name="connsiteY813" fmla="*/ 121984 h 1454292"/>
                <a:gd name="connsiteX814" fmla="*/ 341894 w 1746071"/>
                <a:gd name="connsiteY814" fmla="*/ 121984 h 1454292"/>
                <a:gd name="connsiteX815" fmla="*/ 351887 w 1746071"/>
                <a:gd name="connsiteY815" fmla="*/ 126484 h 1454292"/>
                <a:gd name="connsiteX816" fmla="*/ 366899 w 1746071"/>
                <a:gd name="connsiteY816" fmla="*/ 131476 h 1454292"/>
                <a:gd name="connsiteX817" fmla="*/ 391440 w 1746071"/>
                <a:gd name="connsiteY817" fmla="*/ 121984 h 1454292"/>
                <a:gd name="connsiteX818" fmla="*/ 395948 w 1746071"/>
                <a:gd name="connsiteY818" fmla="*/ 112000 h 1454292"/>
                <a:gd name="connsiteX819" fmla="*/ 410960 w 1746071"/>
                <a:gd name="connsiteY819" fmla="*/ 112000 h 1454292"/>
                <a:gd name="connsiteX820" fmla="*/ 410960 w 1746071"/>
                <a:gd name="connsiteY820" fmla="*/ 107009 h 1454292"/>
                <a:gd name="connsiteX821" fmla="*/ 415469 w 1746071"/>
                <a:gd name="connsiteY821" fmla="*/ 107009 h 1454292"/>
                <a:gd name="connsiteX822" fmla="*/ 450002 w 1746071"/>
                <a:gd name="connsiteY822" fmla="*/ 97447 h 1454292"/>
                <a:gd name="connsiteX823" fmla="*/ 450002 w 1746071"/>
                <a:gd name="connsiteY823" fmla="*/ 87463 h 1454292"/>
                <a:gd name="connsiteX824" fmla="*/ 450002 w 1746071"/>
                <a:gd name="connsiteY824" fmla="*/ 77971 h 1454292"/>
                <a:gd name="connsiteX825" fmla="*/ 455022 w 1746071"/>
                <a:gd name="connsiteY825" fmla="*/ 58496 h 1454292"/>
                <a:gd name="connsiteX826" fmla="*/ 450002 w 1746071"/>
                <a:gd name="connsiteY826" fmla="*/ 58496 h 1454292"/>
                <a:gd name="connsiteX827" fmla="*/ 455022 w 1746071"/>
                <a:gd name="connsiteY827" fmla="*/ 39021 h 1454292"/>
                <a:gd name="connsiteX828" fmla="*/ 459530 w 1746071"/>
                <a:gd name="connsiteY828" fmla="*/ 39021 h 1454292"/>
                <a:gd name="connsiteX829" fmla="*/ 469523 w 1746071"/>
                <a:gd name="connsiteY829" fmla="*/ 34521 h 1454292"/>
                <a:gd name="connsiteX830" fmla="*/ 474543 w 1746071"/>
                <a:gd name="connsiteY830" fmla="*/ 24467 h 1454292"/>
                <a:gd name="connsiteX831" fmla="*/ 474543 w 1746071"/>
                <a:gd name="connsiteY831" fmla="*/ 14976 h 1454292"/>
                <a:gd name="connsiteX832" fmla="*/ 484071 w 1746071"/>
                <a:gd name="connsiteY832" fmla="*/ 14976 h 1454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Lst>
              <a:rect l="l" t="t" r="r" b="b"/>
              <a:pathLst>
                <a:path w="1746071" h="1454292">
                  <a:moveTo>
                    <a:pt x="922269" y="1202401"/>
                  </a:moveTo>
                  <a:lnTo>
                    <a:pt x="922269" y="1202656"/>
                  </a:lnTo>
                  <a:lnTo>
                    <a:pt x="927619" y="1205065"/>
                  </a:lnTo>
                  <a:close/>
                  <a:moveTo>
                    <a:pt x="494064" y="0"/>
                  </a:moveTo>
                  <a:lnTo>
                    <a:pt x="498572" y="4992"/>
                  </a:lnTo>
                  <a:lnTo>
                    <a:pt x="498572" y="9492"/>
                  </a:lnTo>
                  <a:lnTo>
                    <a:pt x="518604" y="9492"/>
                  </a:lnTo>
                  <a:lnTo>
                    <a:pt x="518604" y="14976"/>
                  </a:lnTo>
                  <a:lnTo>
                    <a:pt x="523112" y="19475"/>
                  </a:lnTo>
                  <a:lnTo>
                    <a:pt x="518604" y="19475"/>
                  </a:lnTo>
                  <a:lnTo>
                    <a:pt x="513584" y="24467"/>
                  </a:lnTo>
                  <a:lnTo>
                    <a:pt x="518604" y="44013"/>
                  </a:lnTo>
                  <a:lnTo>
                    <a:pt x="513584" y="44013"/>
                  </a:lnTo>
                  <a:lnTo>
                    <a:pt x="509076" y="39021"/>
                  </a:lnTo>
                  <a:lnTo>
                    <a:pt x="503592" y="39021"/>
                  </a:lnTo>
                  <a:lnTo>
                    <a:pt x="509076" y="44013"/>
                  </a:lnTo>
                  <a:lnTo>
                    <a:pt x="503592" y="48512"/>
                  </a:lnTo>
                  <a:lnTo>
                    <a:pt x="503592" y="53996"/>
                  </a:lnTo>
                  <a:lnTo>
                    <a:pt x="498572" y="58496"/>
                  </a:lnTo>
                  <a:lnTo>
                    <a:pt x="503592" y="67988"/>
                  </a:lnTo>
                  <a:lnTo>
                    <a:pt x="498572" y="82963"/>
                  </a:lnTo>
                  <a:lnTo>
                    <a:pt x="494064" y="102509"/>
                  </a:lnTo>
                  <a:lnTo>
                    <a:pt x="488579" y="102509"/>
                  </a:lnTo>
                  <a:lnTo>
                    <a:pt x="488579" y="116500"/>
                  </a:lnTo>
                  <a:lnTo>
                    <a:pt x="494064" y="116500"/>
                  </a:lnTo>
                  <a:lnTo>
                    <a:pt x="509076" y="121984"/>
                  </a:lnTo>
                  <a:lnTo>
                    <a:pt x="523112" y="141460"/>
                  </a:lnTo>
                  <a:lnTo>
                    <a:pt x="513584" y="165435"/>
                  </a:lnTo>
                  <a:lnTo>
                    <a:pt x="513584" y="174926"/>
                  </a:lnTo>
                  <a:lnTo>
                    <a:pt x="518604" y="189972"/>
                  </a:lnTo>
                  <a:lnTo>
                    <a:pt x="513584" y="204455"/>
                  </a:lnTo>
                  <a:lnTo>
                    <a:pt x="518604" y="209447"/>
                  </a:lnTo>
                  <a:lnTo>
                    <a:pt x="528597" y="209447"/>
                  </a:lnTo>
                  <a:lnTo>
                    <a:pt x="538125" y="209447"/>
                  </a:lnTo>
                  <a:lnTo>
                    <a:pt x="542633" y="204455"/>
                  </a:lnTo>
                  <a:lnTo>
                    <a:pt x="547607" y="199464"/>
                  </a:lnTo>
                  <a:lnTo>
                    <a:pt x="562155" y="199464"/>
                  </a:lnTo>
                  <a:lnTo>
                    <a:pt x="562155" y="204455"/>
                  </a:lnTo>
                  <a:lnTo>
                    <a:pt x="572659" y="209447"/>
                  </a:lnTo>
                  <a:lnTo>
                    <a:pt x="586695" y="218939"/>
                  </a:lnTo>
                  <a:lnTo>
                    <a:pt x="592180" y="218939"/>
                  </a:lnTo>
                  <a:lnTo>
                    <a:pt x="601708" y="218939"/>
                  </a:lnTo>
                  <a:lnTo>
                    <a:pt x="601708" y="223439"/>
                  </a:lnTo>
                  <a:lnTo>
                    <a:pt x="606216" y="228923"/>
                  </a:lnTo>
                  <a:lnTo>
                    <a:pt x="611700" y="238414"/>
                  </a:lnTo>
                  <a:lnTo>
                    <a:pt x="611700" y="242914"/>
                  </a:lnTo>
                  <a:lnTo>
                    <a:pt x="616209" y="248468"/>
                  </a:lnTo>
                  <a:lnTo>
                    <a:pt x="621229" y="242914"/>
                  </a:lnTo>
                  <a:lnTo>
                    <a:pt x="625737" y="257960"/>
                  </a:lnTo>
                  <a:lnTo>
                    <a:pt x="635730" y="257960"/>
                  </a:lnTo>
                  <a:lnTo>
                    <a:pt x="640749" y="252968"/>
                  </a:lnTo>
                  <a:lnTo>
                    <a:pt x="645723" y="257960"/>
                  </a:lnTo>
                  <a:lnTo>
                    <a:pt x="650231" y="257960"/>
                  </a:lnTo>
                  <a:lnTo>
                    <a:pt x="655762" y="257960"/>
                  </a:lnTo>
                  <a:lnTo>
                    <a:pt x="660270" y="252968"/>
                  </a:lnTo>
                  <a:lnTo>
                    <a:pt x="665243" y="257960"/>
                  </a:lnTo>
                  <a:lnTo>
                    <a:pt x="669752" y="262459"/>
                  </a:lnTo>
                  <a:lnTo>
                    <a:pt x="675283" y="267944"/>
                  </a:lnTo>
                  <a:lnTo>
                    <a:pt x="679791" y="272443"/>
                  </a:lnTo>
                  <a:lnTo>
                    <a:pt x="684764" y="277435"/>
                  </a:lnTo>
                  <a:lnTo>
                    <a:pt x="675283" y="287419"/>
                  </a:lnTo>
                  <a:lnTo>
                    <a:pt x="679791" y="296911"/>
                  </a:lnTo>
                  <a:lnTo>
                    <a:pt x="684764" y="296911"/>
                  </a:lnTo>
                  <a:lnTo>
                    <a:pt x="689273" y="291919"/>
                  </a:lnTo>
                  <a:lnTo>
                    <a:pt x="689273" y="287419"/>
                  </a:lnTo>
                  <a:lnTo>
                    <a:pt x="699312" y="287419"/>
                  </a:lnTo>
                  <a:lnTo>
                    <a:pt x="708670" y="291860"/>
                  </a:lnTo>
                  <a:lnTo>
                    <a:pt x="709359" y="290402"/>
                  </a:lnTo>
                  <a:lnTo>
                    <a:pt x="714348" y="295395"/>
                  </a:lnTo>
                  <a:lnTo>
                    <a:pt x="724376" y="305428"/>
                  </a:lnTo>
                  <a:lnTo>
                    <a:pt x="729365" y="319446"/>
                  </a:lnTo>
                  <a:lnTo>
                    <a:pt x="729365" y="329432"/>
                  </a:lnTo>
                  <a:lnTo>
                    <a:pt x="739392" y="334472"/>
                  </a:lnTo>
                  <a:lnTo>
                    <a:pt x="739392" y="344458"/>
                  </a:lnTo>
                  <a:lnTo>
                    <a:pt x="733860" y="344458"/>
                  </a:lnTo>
                  <a:lnTo>
                    <a:pt x="733860" y="348970"/>
                  </a:lnTo>
                  <a:lnTo>
                    <a:pt x="739392" y="348970"/>
                  </a:lnTo>
                  <a:lnTo>
                    <a:pt x="739392" y="353963"/>
                  </a:lnTo>
                  <a:lnTo>
                    <a:pt x="743887" y="358476"/>
                  </a:lnTo>
                  <a:lnTo>
                    <a:pt x="743887" y="348970"/>
                  </a:lnTo>
                  <a:lnTo>
                    <a:pt x="758904" y="348970"/>
                  </a:lnTo>
                  <a:lnTo>
                    <a:pt x="763399" y="348970"/>
                  </a:lnTo>
                  <a:lnTo>
                    <a:pt x="768388" y="338937"/>
                  </a:lnTo>
                  <a:lnTo>
                    <a:pt x="777872" y="338937"/>
                  </a:lnTo>
                  <a:lnTo>
                    <a:pt x="782910" y="344458"/>
                  </a:lnTo>
                  <a:lnTo>
                    <a:pt x="787899" y="348970"/>
                  </a:lnTo>
                  <a:lnTo>
                    <a:pt x="792888" y="344458"/>
                  </a:lnTo>
                  <a:lnTo>
                    <a:pt x="792888" y="338937"/>
                  </a:lnTo>
                  <a:lnTo>
                    <a:pt x="797383" y="329432"/>
                  </a:lnTo>
                  <a:lnTo>
                    <a:pt x="797383" y="324919"/>
                  </a:lnTo>
                  <a:lnTo>
                    <a:pt x="807411" y="324919"/>
                  </a:lnTo>
                  <a:lnTo>
                    <a:pt x="816895" y="329432"/>
                  </a:lnTo>
                  <a:lnTo>
                    <a:pt x="841939" y="329432"/>
                  </a:lnTo>
                  <a:lnTo>
                    <a:pt x="841939" y="319446"/>
                  </a:lnTo>
                  <a:lnTo>
                    <a:pt x="846434" y="314933"/>
                  </a:lnTo>
                  <a:lnTo>
                    <a:pt x="860907" y="324919"/>
                  </a:lnTo>
                  <a:lnTo>
                    <a:pt x="860907" y="329432"/>
                  </a:lnTo>
                  <a:lnTo>
                    <a:pt x="870934" y="329432"/>
                  </a:lnTo>
                  <a:lnTo>
                    <a:pt x="870934" y="334472"/>
                  </a:lnTo>
                  <a:lnTo>
                    <a:pt x="870934" y="338937"/>
                  </a:lnTo>
                  <a:lnTo>
                    <a:pt x="880418" y="348970"/>
                  </a:lnTo>
                  <a:lnTo>
                    <a:pt x="890446" y="348970"/>
                  </a:lnTo>
                  <a:lnTo>
                    <a:pt x="905462" y="348970"/>
                  </a:lnTo>
                  <a:lnTo>
                    <a:pt x="914946" y="353963"/>
                  </a:lnTo>
                  <a:lnTo>
                    <a:pt x="919441" y="353963"/>
                  </a:lnTo>
                  <a:lnTo>
                    <a:pt x="924974" y="373502"/>
                  </a:lnTo>
                  <a:lnTo>
                    <a:pt x="934458" y="373502"/>
                  </a:lnTo>
                  <a:lnTo>
                    <a:pt x="943942" y="373502"/>
                  </a:lnTo>
                  <a:lnTo>
                    <a:pt x="949474" y="368509"/>
                  </a:lnTo>
                  <a:lnTo>
                    <a:pt x="963453" y="373502"/>
                  </a:lnTo>
                  <a:lnTo>
                    <a:pt x="963453" y="363996"/>
                  </a:lnTo>
                  <a:lnTo>
                    <a:pt x="968986" y="363996"/>
                  </a:lnTo>
                  <a:lnTo>
                    <a:pt x="973481" y="348970"/>
                  </a:lnTo>
                  <a:lnTo>
                    <a:pt x="978470" y="348970"/>
                  </a:lnTo>
                  <a:lnTo>
                    <a:pt x="982965" y="348970"/>
                  </a:lnTo>
                  <a:lnTo>
                    <a:pt x="982965" y="344458"/>
                  </a:lnTo>
                  <a:lnTo>
                    <a:pt x="992992" y="338937"/>
                  </a:lnTo>
                  <a:lnTo>
                    <a:pt x="1002476" y="338937"/>
                  </a:lnTo>
                  <a:lnTo>
                    <a:pt x="1012998" y="338937"/>
                  </a:lnTo>
                  <a:lnTo>
                    <a:pt x="1017493" y="338937"/>
                  </a:lnTo>
                  <a:lnTo>
                    <a:pt x="1026977" y="338937"/>
                  </a:lnTo>
                  <a:lnTo>
                    <a:pt x="1026977" y="344458"/>
                  </a:lnTo>
                  <a:lnTo>
                    <a:pt x="1032509" y="348970"/>
                  </a:lnTo>
                  <a:lnTo>
                    <a:pt x="1046488" y="358476"/>
                  </a:lnTo>
                  <a:lnTo>
                    <a:pt x="1052021" y="358476"/>
                  </a:lnTo>
                  <a:lnTo>
                    <a:pt x="1056516" y="363996"/>
                  </a:lnTo>
                  <a:lnTo>
                    <a:pt x="1061505" y="363996"/>
                  </a:lnTo>
                  <a:lnTo>
                    <a:pt x="1061505" y="358476"/>
                  </a:lnTo>
                  <a:lnTo>
                    <a:pt x="1066000" y="358476"/>
                  </a:lnTo>
                  <a:lnTo>
                    <a:pt x="1071532" y="358476"/>
                  </a:lnTo>
                  <a:lnTo>
                    <a:pt x="1076027" y="353963"/>
                  </a:lnTo>
                  <a:lnTo>
                    <a:pt x="1081016" y="353963"/>
                  </a:lnTo>
                  <a:lnTo>
                    <a:pt x="1086005" y="358476"/>
                  </a:lnTo>
                  <a:lnTo>
                    <a:pt x="1096033" y="358476"/>
                  </a:lnTo>
                  <a:lnTo>
                    <a:pt x="1100528" y="363996"/>
                  </a:lnTo>
                  <a:lnTo>
                    <a:pt x="1120039" y="373502"/>
                  </a:lnTo>
                  <a:lnTo>
                    <a:pt x="1125028" y="378014"/>
                  </a:lnTo>
                  <a:lnTo>
                    <a:pt x="1129523" y="383007"/>
                  </a:lnTo>
                  <a:lnTo>
                    <a:pt x="1120039" y="388000"/>
                  </a:lnTo>
                  <a:lnTo>
                    <a:pt x="1125028" y="393040"/>
                  </a:lnTo>
                  <a:lnTo>
                    <a:pt x="1129523" y="393040"/>
                  </a:lnTo>
                  <a:lnTo>
                    <a:pt x="1139551" y="397505"/>
                  </a:lnTo>
                  <a:lnTo>
                    <a:pt x="1139551" y="407058"/>
                  </a:lnTo>
                  <a:lnTo>
                    <a:pt x="1144540" y="407058"/>
                  </a:lnTo>
                  <a:lnTo>
                    <a:pt x="1144540" y="417044"/>
                  </a:lnTo>
                  <a:lnTo>
                    <a:pt x="1135056" y="417044"/>
                  </a:lnTo>
                  <a:lnTo>
                    <a:pt x="1139551" y="426549"/>
                  </a:lnTo>
                  <a:lnTo>
                    <a:pt x="1144540" y="426549"/>
                  </a:lnTo>
                  <a:lnTo>
                    <a:pt x="1144540" y="432070"/>
                  </a:lnTo>
                  <a:lnTo>
                    <a:pt x="1144540" y="436582"/>
                  </a:lnTo>
                  <a:lnTo>
                    <a:pt x="1159556" y="446088"/>
                  </a:lnTo>
                  <a:lnTo>
                    <a:pt x="1164051" y="451609"/>
                  </a:lnTo>
                  <a:lnTo>
                    <a:pt x="1173535" y="456121"/>
                  </a:lnTo>
                  <a:lnTo>
                    <a:pt x="1173535" y="465627"/>
                  </a:lnTo>
                  <a:lnTo>
                    <a:pt x="1179068" y="465627"/>
                  </a:lnTo>
                  <a:lnTo>
                    <a:pt x="1179068" y="471099"/>
                  </a:lnTo>
                  <a:lnTo>
                    <a:pt x="1179068" y="475612"/>
                  </a:lnTo>
                  <a:lnTo>
                    <a:pt x="1183563" y="490158"/>
                  </a:lnTo>
                  <a:lnTo>
                    <a:pt x="1193047" y="485117"/>
                  </a:lnTo>
                  <a:lnTo>
                    <a:pt x="1198579" y="494623"/>
                  </a:lnTo>
                  <a:lnTo>
                    <a:pt x="1193047" y="504656"/>
                  </a:lnTo>
                  <a:lnTo>
                    <a:pt x="1193047" y="509649"/>
                  </a:lnTo>
                  <a:lnTo>
                    <a:pt x="1198579" y="514161"/>
                  </a:lnTo>
                  <a:lnTo>
                    <a:pt x="1208063" y="514161"/>
                  </a:lnTo>
                  <a:lnTo>
                    <a:pt x="1212558" y="514161"/>
                  </a:lnTo>
                  <a:lnTo>
                    <a:pt x="1227575" y="519682"/>
                  </a:lnTo>
                  <a:lnTo>
                    <a:pt x="1237602" y="524195"/>
                  </a:lnTo>
                  <a:lnTo>
                    <a:pt x="1242591" y="519682"/>
                  </a:lnTo>
                  <a:lnTo>
                    <a:pt x="1242591" y="514161"/>
                  </a:lnTo>
                  <a:lnTo>
                    <a:pt x="1242591" y="509649"/>
                  </a:lnTo>
                  <a:lnTo>
                    <a:pt x="1247086" y="509649"/>
                  </a:lnTo>
                  <a:lnTo>
                    <a:pt x="1242591" y="500143"/>
                  </a:lnTo>
                  <a:lnTo>
                    <a:pt x="1237602" y="490158"/>
                  </a:lnTo>
                  <a:lnTo>
                    <a:pt x="1242591" y="480605"/>
                  </a:lnTo>
                  <a:lnTo>
                    <a:pt x="1252075" y="490158"/>
                  </a:lnTo>
                  <a:lnTo>
                    <a:pt x="1256620" y="490158"/>
                  </a:lnTo>
                  <a:lnTo>
                    <a:pt x="1266598" y="480605"/>
                  </a:lnTo>
                  <a:lnTo>
                    <a:pt x="1271587" y="480605"/>
                  </a:lnTo>
                  <a:lnTo>
                    <a:pt x="1271587" y="485117"/>
                  </a:lnTo>
                  <a:lnTo>
                    <a:pt x="1276082" y="490158"/>
                  </a:lnTo>
                  <a:lnTo>
                    <a:pt x="1281614" y="485117"/>
                  </a:lnTo>
                  <a:lnTo>
                    <a:pt x="1286109" y="490158"/>
                  </a:lnTo>
                  <a:lnTo>
                    <a:pt x="1295593" y="494623"/>
                  </a:lnTo>
                  <a:lnTo>
                    <a:pt x="1301126" y="494623"/>
                  </a:lnTo>
                  <a:lnTo>
                    <a:pt x="1306115" y="494623"/>
                  </a:lnTo>
                  <a:lnTo>
                    <a:pt x="1306115" y="514161"/>
                  </a:lnTo>
                  <a:lnTo>
                    <a:pt x="1310610" y="524195"/>
                  </a:lnTo>
                  <a:lnTo>
                    <a:pt x="1315599" y="529187"/>
                  </a:lnTo>
                  <a:lnTo>
                    <a:pt x="1315599" y="539173"/>
                  </a:lnTo>
                  <a:lnTo>
                    <a:pt x="1320637" y="539173"/>
                  </a:lnTo>
                  <a:lnTo>
                    <a:pt x="1320637" y="533700"/>
                  </a:lnTo>
                  <a:lnTo>
                    <a:pt x="1325626" y="524195"/>
                  </a:lnTo>
                  <a:lnTo>
                    <a:pt x="1325626" y="519682"/>
                  </a:lnTo>
                  <a:lnTo>
                    <a:pt x="1335110" y="514161"/>
                  </a:lnTo>
                  <a:lnTo>
                    <a:pt x="1335110" y="524195"/>
                  </a:lnTo>
                  <a:lnTo>
                    <a:pt x="1345138" y="519682"/>
                  </a:lnTo>
                  <a:lnTo>
                    <a:pt x="1345138" y="529187"/>
                  </a:lnTo>
                  <a:lnTo>
                    <a:pt x="1354622" y="533700"/>
                  </a:lnTo>
                  <a:lnTo>
                    <a:pt x="1354622" y="529187"/>
                  </a:lnTo>
                  <a:lnTo>
                    <a:pt x="1364649" y="524195"/>
                  </a:lnTo>
                  <a:lnTo>
                    <a:pt x="1369144" y="533700"/>
                  </a:lnTo>
                  <a:lnTo>
                    <a:pt x="1369144" y="529187"/>
                  </a:lnTo>
                  <a:lnTo>
                    <a:pt x="1384161" y="524195"/>
                  </a:lnTo>
                  <a:lnTo>
                    <a:pt x="1398634" y="529187"/>
                  </a:lnTo>
                  <a:lnTo>
                    <a:pt x="1398634" y="533700"/>
                  </a:lnTo>
                  <a:lnTo>
                    <a:pt x="1403672" y="533700"/>
                  </a:lnTo>
                  <a:lnTo>
                    <a:pt x="1408661" y="529187"/>
                  </a:lnTo>
                  <a:lnTo>
                    <a:pt x="1413156" y="514161"/>
                  </a:lnTo>
                  <a:lnTo>
                    <a:pt x="1428173" y="514161"/>
                  </a:lnTo>
                  <a:lnTo>
                    <a:pt x="1428173" y="500143"/>
                  </a:lnTo>
                  <a:lnTo>
                    <a:pt x="1437657" y="494623"/>
                  </a:lnTo>
                  <a:lnTo>
                    <a:pt x="1452673" y="494623"/>
                  </a:lnTo>
                  <a:lnTo>
                    <a:pt x="1457168" y="500143"/>
                  </a:lnTo>
                  <a:lnTo>
                    <a:pt x="1472185" y="500143"/>
                  </a:lnTo>
                  <a:lnTo>
                    <a:pt x="1476680" y="509649"/>
                  </a:lnTo>
                  <a:lnTo>
                    <a:pt x="1472185" y="514161"/>
                  </a:lnTo>
                  <a:lnTo>
                    <a:pt x="1476680" y="519682"/>
                  </a:lnTo>
                  <a:lnTo>
                    <a:pt x="1486707" y="533700"/>
                  </a:lnTo>
                  <a:lnTo>
                    <a:pt x="1501180" y="543685"/>
                  </a:lnTo>
                  <a:lnTo>
                    <a:pt x="1511208" y="543685"/>
                  </a:lnTo>
                  <a:lnTo>
                    <a:pt x="1526224" y="548726"/>
                  </a:lnTo>
                  <a:lnTo>
                    <a:pt x="1530594" y="558433"/>
                  </a:lnTo>
                  <a:lnTo>
                    <a:pt x="1545381" y="563341"/>
                  </a:lnTo>
                  <a:lnTo>
                    <a:pt x="1549873" y="558358"/>
                  </a:lnTo>
                  <a:lnTo>
                    <a:pt x="1564908" y="553330"/>
                  </a:lnTo>
                  <a:lnTo>
                    <a:pt x="1564908" y="563341"/>
                  </a:lnTo>
                  <a:lnTo>
                    <a:pt x="1578918" y="553330"/>
                  </a:lnTo>
                  <a:lnTo>
                    <a:pt x="1588926" y="548846"/>
                  </a:lnTo>
                  <a:lnTo>
                    <a:pt x="1608942" y="563341"/>
                  </a:lnTo>
                  <a:lnTo>
                    <a:pt x="1613457" y="563341"/>
                  </a:lnTo>
                  <a:lnTo>
                    <a:pt x="1618461" y="553330"/>
                  </a:lnTo>
                  <a:lnTo>
                    <a:pt x="1623465" y="553330"/>
                  </a:lnTo>
                  <a:lnTo>
                    <a:pt x="1628468" y="558358"/>
                  </a:lnTo>
                  <a:lnTo>
                    <a:pt x="1632960" y="548846"/>
                  </a:lnTo>
                  <a:lnTo>
                    <a:pt x="1637964" y="548846"/>
                  </a:lnTo>
                  <a:lnTo>
                    <a:pt x="1687025" y="577882"/>
                  </a:lnTo>
                  <a:lnTo>
                    <a:pt x="1692029" y="582366"/>
                  </a:lnTo>
                  <a:lnTo>
                    <a:pt x="1711556" y="582366"/>
                  </a:lnTo>
                  <a:lnTo>
                    <a:pt x="1721052" y="587892"/>
                  </a:lnTo>
                  <a:lnTo>
                    <a:pt x="1731060" y="587892"/>
                  </a:lnTo>
                  <a:lnTo>
                    <a:pt x="1740579" y="582366"/>
                  </a:lnTo>
                  <a:lnTo>
                    <a:pt x="1746071" y="587892"/>
                  </a:lnTo>
                  <a:lnTo>
                    <a:pt x="1731060" y="601889"/>
                  </a:lnTo>
                  <a:lnTo>
                    <a:pt x="1721052" y="616928"/>
                  </a:lnTo>
                  <a:lnTo>
                    <a:pt x="1716048" y="631423"/>
                  </a:lnTo>
                  <a:lnTo>
                    <a:pt x="1711556" y="645963"/>
                  </a:lnTo>
                  <a:lnTo>
                    <a:pt x="1706552" y="669971"/>
                  </a:lnTo>
                  <a:lnTo>
                    <a:pt x="1706552" y="675497"/>
                  </a:lnTo>
                  <a:lnTo>
                    <a:pt x="1702037" y="685009"/>
                  </a:lnTo>
                  <a:lnTo>
                    <a:pt x="1692029" y="689494"/>
                  </a:lnTo>
                  <a:lnTo>
                    <a:pt x="1682510" y="689494"/>
                  </a:lnTo>
                  <a:lnTo>
                    <a:pt x="1677018" y="695020"/>
                  </a:lnTo>
                  <a:lnTo>
                    <a:pt x="1677018" y="704487"/>
                  </a:lnTo>
                  <a:lnTo>
                    <a:pt x="1677018" y="709017"/>
                  </a:lnTo>
                  <a:lnTo>
                    <a:pt x="1662006" y="709017"/>
                  </a:lnTo>
                  <a:lnTo>
                    <a:pt x="1657491" y="724010"/>
                  </a:lnTo>
                  <a:lnTo>
                    <a:pt x="1657491" y="728540"/>
                  </a:lnTo>
                  <a:lnTo>
                    <a:pt x="1642479" y="748063"/>
                  </a:lnTo>
                  <a:lnTo>
                    <a:pt x="1637964" y="763057"/>
                  </a:lnTo>
                  <a:lnTo>
                    <a:pt x="1632960" y="763057"/>
                  </a:lnTo>
                  <a:lnTo>
                    <a:pt x="1618461" y="777099"/>
                  </a:lnTo>
                  <a:lnTo>
                    <a:pt x="1613457" y="782580"/>
                  </a:lnTo>
                  <a:lnTo>
                    <a:pt x="1603938" y="806632"/>
                  </a:lnTo>
                  <a:lnTo>
                    <a:pt x="1608942" y="855146"/>
                  </a:lnTo>
                  <a:lnTo>
                    <a:pt x="1599423" y="860174"/>
                  </a:lnTo>
                  <a:lnTo>
                    <a:pt x="1599423" y="870184"/>
                  </a:lnTo>
                  <a:lnTo>
                    <a:pt x="1593930" y="889708"/>
                  </a:lnTo>
                  <a:lnTo>
                    <a:pt x="1593930" y="894192"/>
                  </a:lnTo>
                  <a:lnTo>
                    <a:pt x="1588926" y="909231"/>
                  </a:lnTo>
                  <a:lnTo>
                    <a:pt x="1588926" y="933238"/>
                  </a:lnTo>
                  <a:lnTo>
                    <a:pt x="1593930" y="942751"/>
                  </a:lnTo>
                  <a:lnTo>
                    <a:pt x="1593930" y="952263"/>
                  </a:lnTo>
                  <a:lnTo>
                    <a:pt x="1578918" y="962274"/>
                  </a:lnTo>
                  <a:lnTo>
                    <a:pt x="1574403" y="991309"/>
                  </a:lnTo>
                  <a:lnTo>
                    <a:pt x="1569399" y="1010832"/>
                  </a:lnTo>
                  <a:lnTo>
                    <a:pt x="1564908" y="1020843"/>
                  </a:lnTo>
                  <a:lnTo>
                    <a:pt x="1559392" y="1025826"/>
                  </a:lnTo>
                  <a:lnTo>
                    <a:pt x="1559392" y="1030355"/>
                  </a:lnTo>
                  <a:lnTo>
                    <a:pt x="1549873" y="1039868"/>
                  </a:lnTo>
                  <a:lnTo>
                    <a:pt x="1549873" y="1049878"/>
                  </a:lnTo>
                  <a:lnTo>
                    <a:pt x="1549873" y="1059391"/>
                  </a:lnTo>
                  <a:lnTo>
                    <a:pt x="1540377" y="1069402"/>
                  </a:lnTo>
                  <a:lnTo>
                    <a:pt x="1540377" y="1074384"/>
                  </a:lnTo>
                  <a:lnTo>
                    <a:pt x="1540377" y="1084395"/>
                  </a:lnTo>
                  <a:lnTo>
                    <a:pt x="1540377" y="1098437"/>
                  </a:lnTo>
                  <a:lnTo>
                    <a:pt x="1540377" y="1113430"/>
                  </a:lnTo>
                  <a:lnTo>
                    <a:pt x="1545381" y="1117960"/>
                  </a:lnTo>
                  <a:lnTo>
                    <a:pt x="1549873" y="1122943"/>
                  </a:lnTo>
                  <a:lnTo>
                    <a:pt x="1554877" y="1132954"/>
                  </a:lnTo>
                  <a:lnTo>
                    <a:pt x="1564908" y="1146950"/>
                  </a:lnTo>
                  <a:lnTo>
                    <a:pt x="1554877" y="1161989"/>
                  </a:lnTo>
                  <a:lnTo>
                    <a:pt x="1549873" y="1172000"/>
                  </a:lnTo>
                  <a:lnTo>
                    <a:pt x="1549873" y="1176484"/>
                  </a:lnTo>
                  <a:lnTo>
                    <a:pt x="1549873" y="1191523"/>
                  </a:lnTo>
                  <a:lnTo>
                    <a:pt x="1540377" y="1205520"/>
                  </a:lnTo>
                  <a:lnTo>
                    <a:pt x="1545381" y="1215530"/>
                  </a:lnTo>
                  <a:lnTo>
                    <a:pt x="1545381" y="1225043"/>
                  </a:lnTo>
                  <a:lnTo>
                    <a:pt x="1540377" y="1234555"/>
                  </a:lnTo>
                  <a:lnTo>
                    <a:pt x="1540377" y="1244566"/>
                  </a:lnTo>
                  <a:lnTo>
                    <a:pt x="1535373" y="1254078"/>
                  </a:lnTo>
                  <a:lnTo>
                    <a:pt x="1535373" y="1259605"/>
                  </a:lnTo>
                  <a:lnTo>
                    <a:pt x="1540377" y="1269117"/>
                  </a:lnTo>
                  <a:lnTo>
                    <a:pt x="1545381" y="1279128"/>
                  </a:lnTo>
                  <a:lnTo>
                    <a:pt x="1540377" y="1288595"/>
                  </a:lnTo>
                  <a:lnTo>
                    <a:pt x="1535373" y="1298605"/>
                  </a:lnTo>
                  <a:lnTo>
                    <a:pt x="1540377" y="1322658"/>
                  </a:lnTo>
                  <a:lnTo>
                    <a:pt x="1554877" y="1332171"/>
                  </a:lnTo>
                  <a:lnTo>
                    <a:pt x="1554877" y="1337153"/>
                  </a:lnTo>
                  <a:lnTo>
                    <a:pt x="1559392" y="1337153"/>
                  </a:lnTo>
                  <a:lnTo>
                    <a:pt x="1564908" y="1351694"/>
                  </a:lnTo>
                  <a:lnTo>
                    <a:pt x="1564908" y="1366687"/>
                  </a:lnTo>
                  <a:lnTo>
                    <a:pt x="1559392" y="1361206"/>
                  </a:lnTo>
                  <a:lnTo>
                    <a:pt x="1549873" y="1371217"/>
                  </a:lnTo>
                  <a:lnTo>
                    <a:pt x="1535373" y="1380729"/>
                  </a:lnTo>
                  <a:lnTo>
                    <a:pt x="1535373" y="1386210"/>
                  </a:lnTo>
                  <a:lnTo>
                    <a:pt x="1535373" y="1390740"/>
                  </a:lnTo>
                  <a:lnTo>
                    <a:pt x="1545381" y="1390740"/>
                  </a:lnTo>
                  <a:lnTo>
                    <a:pt x="1545381" y="1395723"/>
                  </a:lnTo>
                  <a:lnTo>
                    <a:pt x="1540377" y="1400252"/>
                  </a:lnTo>
                  <a:lnTo>
                    <a:pt x="1540377" y="1410263"/>
                  </a:lnTo>
                  <a:lnTo>
                    <a:pt x="1530369" y="1419775"/>
                  </a:lnTo>
                  <a:lnTo>
                    <a:pt x="1520850" y="1415246"/>
                  </a:lnTo>
                  <a:lnTo>
                    <a:pt x="1510842" y="1410263"/>
                  </a:lnTo>
                  <a:lnTo>
                    <a:pt x="1510842" y="1419775"/>
                  </a:lnTo>
                  <a:lnTo>
                    <a:pt x="1520850" y="1424758"/>
                  </a:lnTo>
                  <a:lnTo>
                    <a:pt x="1515358" y="1429243"/>
                  </a:lnTo>
                  <a:lnTo>
                    <a:pt x="1510842" y="1429243"/>
                  </a:lnTo>
                  <a:lnTo>
                    <a:pt x="1501323" y="1444281"/>
                  </a:lnTo>
                  <a:lnTo>
                    <a:pt x="1491316" y="1448766"/>
                  </a:lnTo>
                  <a:lnTo>
                    <a:pt x="1476304" y="1444281"/>
                  </a:lnTo>
                  <a:lnTo>
                    <a:pt x="1471812" y="1444281"/>
                  </a:lnTo>
                  <a:lnTo>
                    <a:pt x="1447282" y="1454292"/>
                  </a:lnTo>
                  <a:lnTo>
                    <a:pt x="1442278" y="1454292"/>
                  </a:lnTo>
                  <a:lnTo>
                    <a:pt x="1437763" y="1448766"/>
                  </a:lnTo>
                  <a:lnTo>
                    <a:pt x="1427755" y="1448766"/>
                  </a:lnTo>
                  <a:lnTo>
                    <a:pt x="1418236" y="1444281"/>
                  </a:lnTo>
                  <a:lnTo>
                    <a:pt x="1418236" y="1439253"/>
                  </a:lnTo>
                  <a:lnTo>
                    <a:pt x="1422751" y="1419775"/>
                  </a:lnTo>
                  <a:lnTo>
                    <a:pt x="1427755" y="1419775"/>
                  </a:lnTo>
                  <a:lnTo>
                    <a:pt x="1427755" y="1415246"/>
                  </a:lnTo>
                  <a:lnTo>
                    <a:pt x="1422751" y="1415246"/>
                  </a:lnTo>
                  <a:lnTo>
                    <a:pt x="1412743" y="1419775"/>
                  </a:lnTo>
                  <a:lnTo>
                    <a:pt x="1403224" y="1415246"/>
                  </a:lnTo>
                  <a:lnTo>
                    <a:pt x="1403224" y="1400252"/>
                  </a:lnTo>
                  <a:lnTo>
                    <a:pt x="1398732" y="1395723"/>
                  </a:lnTo>
                  <a:lnTo>
                    <a:pt x="1398732" y="1390740"/>
                  </a:lnTo>
                  <a:lnTo>
                    <a:pt x="1393216" y="1390740"/>
                  </a:lnTo>
                  <a:lnTo>
                    <a:pt x="1388725" y="1386210"/>
                  </a:lnTo>
                  <a:lnTo>
                    <a:pt x="1388725" y="1380729"/>
                  </a:lnTo>
                  <a:lnTo>
                    <a:pt x="1383721" y="1376200"/>
                  </a:lnTo>
                  <a:lnTo>
                    <a:pt x="1379206" y="1371217"/>
                  </a:lnTo>
                  <a:lnTo>
                    <a:pt x="1379206" y="1366687"/>
                  </a:lnTo>
                  <a:lnTo>
                    <a:pt x="1379206" y="1361206"/>
                  </a:lnTo>
                  <a:lnTo>
                    <a:pt x="1373690" y="1361206"/>
                  </a:lnTo>
                  <a:lnTo>
                    <a:pt x="1359190" y="1366687"/>
                  </a:lnTo>
                  <a:lnTo>
                    <a:pt x="1354675" y="1366687"/>
                  </a:lnTo>
                  <a:lnTo>
                    <a:pt x="1349182" y="1366687"/>
                  </a:lnTo>
                  <a:lnTo>
                    <a:pt x="1349182" y="1361206"/>
                  </a:lnTo>
                  <a:lnTo>
                    <a:pt x="1349182" y="1351694"/>
                  </a:lnTo>
                  <a:lnTo>
                    <a:pt x="1349182" y="1347164"/>
                  </a:lnTo>
                  <a:lnTo>
                    <a:pt x="1349182" y="1341683"/>
                  </a:lnTo>
                  <a:lnTo>
                    <a:pt x="1354675" y="1337153"/>
                  </a:lnTo>
                  <a:lnTo>
                    <a:pt x="1359190" y="1337153"/>
                  </a:lnTo>
                  <a:lnTo>
                    <a:pt x="1359190" y="1327641"/>
                  </a:lnTo>
                  <a:lnTo>
                    <a:pt x="1359190" y="1322658"/>
                  </a:lnTo>
                  <a:lnTo>
                    <a:pt x="1359190" y="1317630"/>
                  </a:lnTo>
                  <a:lnTo>
                    <a:pt x="1359190" y="1312648"/>
                  </a:lnTo>
                  <a:lnTo>
                    <a:pt x="1354675" y="1312648"/>
                  </a:lnTo>
                  <a:lnTo>
                    <a:pt x="1354675" y="1308118"/>
                  </a:lnTo>
                  <a:lnTo>
                    <a:pt x="1354675" y="1298605"/>
                  </a:lnTo>
                  <a:lnTo>
                    <a:pt x="1354675" y="1293124"/>
                  </a:lnTo>
                  <a:lnTo>
                    <a:pt x="1349182" y="1293124"/>
                  </a:lnTo>
                  <a:lnTo>
                    <a:pt x="1349182" y="1288595"/>
                  </a:lnTo>
                  <a:lnTo>
                    <a:pt x="1339663" y="1283612"/>
                  </a:lnTo>
                  <a:lnTo>
                    <a:pt x="1320136" y="1273601"/>
                  </a:lnTo>
                  <a:lnTo>
                    <a:pt x="1315645" y="1273601"/>
                  </a:lnTo>
                  <a:lnTo>
                    <a:pt x="1310129" y="1269117"/>
                  </a:lnTo>
                  <a:lnTo>
                    <a:pt x="1305637" y="1269117"/>
                  </a:lnTo>
                  <a:lnTo>
                    <a:pt x="1300633" y="1269117"/>
                  </a:lnTo>
                  <a:lnTo>
                    <a:pt x="1290625" y="1269117"/>
                  </a:lnTo>
                  <a:lnTo>
                    <a:pt x="1281239" y="1244909"/>
                  </a:lnTo>
                  <a:lnTo>
                    <a:pt x="1276082" y="1250056"/>
                  </a:lnTo>
                  <a:lnTo>
                    <a:pt x="1266598" y="1244535"/>
                  </a:lnTo>
                  <a:lnTo>
                    <a:pt x="1262103" y="1244535"/>
                  </a:lnTo>
                  <a:lnTo>
                    <a:pt x="1262103" y="1230517"/>
                  </a:lnTo>
                  <a:lnTo>
                    <a:pt x="1242591" y="1224997"/>
                  </a:lnTo>
                  <a:lnTo>
                    <a:pt x="1232564" y="1220484"/>
                  </a:lnTo>
                  <a:lnTo>
                    <a:pt x="1232564" y="1215491"/>
                  </a:lnTo>
                  <a:lnTo>
                    <a:pt x="1222586" y="1215491"/>
                  </a:lnTo>
                  <a:lnTo>
                    <a:pt x="1222586" y="1210979"/>
                  </a:lnTo>
                  <a:lnTo>
                    <a:pt x="1208063" y="1205986"/>
                  </a:lnTo>
                  <a:lnTo>
                    <a:pt x="1203074" y="1195953"/>
                  </a:lnTo>
                  <a:lnTo>
                    <a:pt x="1193047" y="1186447"/>
                  </a:lnTo>
                  <a:lnTo>
                    <a:pt x="1188552" y="1181935"/>
                  </a:lnTo>
                  <a:lnTo>
                    <a:pt x="1179068" y="1191488"/>
                  </a:lnTo>
                  <a:lnTo>
                    <a:pt x="1173535" y="1195953"/>
                  </a:lnTo>
                  <a:lnTo>
                    <a:pt x="1169040" y="1205986"/>
                  </a:lnTo>
                  <a:lnTo>
                    <a:pt x="1144540" y="1215491"/>
                  </a:lnTo>
                  <a:lnTo>
                    <a:pt x="1129523" y="1186447"/>
                  </a:lnTo>
                  <a:lnTo>
                    <a:pt x="1120039" y="1186447"/>
                  </a:lnTo>
                  <a:lnTo>
                    <a:pt x="1120039" y="1181935"/>
                  </a:lnTo>
                  <a:lnTo>
                    <a:pt x="1105517" y="1181935"/>
                  </a:lnTo>
                  <a:lnTo>
                    <a:pt x="1081016" y="1186447"/>
                  </a:lnTo>
                  <a:lnTo>
                    <a:pt x="1081016" y="1181935"/>
                  </a:lnTo>
                  <a:lnTo>
                    <a:pt x="1071532" y="1186447"/>
                  </a:lnTo>
                  <a:lnTo>
                    <a:pt x="1066000" y="1191488"/>
                  </a:lnTo>
                  <a:lnTo>
                    <a:pt x="1061505" y="1191488"/>
                  </a:lnTo>
                  <a:lnTo>
                    <a:pt x="1056516" y="1195953"/>
                  </a:lnTo>
                  <a:lnTo>
                    <a:pt x="1052021" y="1195953"/>
                  </a:lnTo>
                  <a:lnTo>
                    <a:pt x="1046488" y="1200993"/>
                  </a:lnTo>
                  <a:lnTo>
                    <a:pt x="1046488" y="1191488"/>
                  </a:lnTo>
                  <a:lnTo>
                    <a:pt x="1037004" y="1186447"/>
                  </a:lnTo>
                  <a:lnTo>
                    <a:pt x="1026977" y="1186447"/>
                  </a:lnTo>
                  <a:lnTo>
                    <a:pt x="1026977" y="1181935"/>
                  </a:lnTo>
                  <a:lnTo>
                    <a:pt x="1026977" y="1176462"/>
                  </a:lnTo>
                  <a:lnTo>
                    <a:pt x="1026977" y="1166956"/>
                  </a:lnTo>
                  <a:lnTo>
                    <a:pt x="1026977" y="1156923"/>
                  </a:lnTo>
                  <a:lnTo>
                    <a:pt x="1017493" y="1147418"/>
                  </a:lnTo>
                  <a:lnTo>
                    <a:pt x="1007465" y="1156923"/>
                  </a:lnTo>
                  <a:lnTo>
                    <a:pt x="997981" y="1156923"/>
                  </a:lnTo>
                  <a:lnTo>
                    <a:pt x="992992" y="1156923"/>
                  </a:lnTo>
                  <a:lnTo>
                    <a:pt x="973481" y="1171949"/>
                  </a:lnTo>
                  <a:lnTo>
                    <a:pt x="978470" y="1176462"/>
                  </a:lnTo>
                  <a:lnTo>
                    <a:pt x="968986" y="1191488"/>
                  </a:lnTo>
                  <a:lnTo>
                    <a:pt x="958958" y="1191488"/>
                  </a:lnTo>
                  <a:lnTo>
                    <a:pt x="958958" y="1195953"/>
                  </a:lnTo>
                  <a:lnTo>
                    <a:pt x="949474" y="1200993"/>
                  </a:lnTo>
                  <a:lnTo>
                    <a:pt x="943942" y="1200993"/>
                  </a:lnTo>
                  <a:lnTo>
                    <a:pt x="943942" y="1195953"/>
                  </a:lnTo>
                  <a:lnTo>
                    <a:pt x="953969" y="1186447"/>
                  </a:lnTo>
                  <a:lnTo>
                    <a:pt x="949474" y="1176462"/>
                  </a:lnTo>
                  <a:lnTo>
                    <a:pt x="943942" y="1176462"/>
                  </a:lnTo>
                  <a:lnTo>
                    <a:pt x="939447" y="1181935"/>
                  </a:lnTo>
                  <a:lnTo>
                    <a:pt x="939447" y="1195953"/>
                  </a:lnTo>
                  <a:lnTo>
                    <a:pt x="934458" y="1195953"/>
                  </a:lnTo>
                  <a:lnTo>
                    <a:pt x="929469" y="1205986"/>
                  </a:lnTo>
                  <a:lnTo>
                    <a:pt x="929054" y="1205780"/>
                  </a:lnTo>
                  <a:lnTo>
                    <a:pt x="929054" y="1215695"/>
                  </a:lnTo>
                  <a:lnTo>
                    <a:pt x="929054" y="1220687"/>
                  </a:lnTo>
                  <a:lnTo>
                    <a:pt x="914553" y="1220687"/>
                  </a:lnTo>
                  <a:lnTo>
                    <a:pt x="914553" y="1225187"/>
                  </a:lnTo>
                  <a:lnTo>
                    <a:pt x="909533" y="1225187"/>
                  </a:lnTo>
                  <a:lnTo>
                    <a:pt x="909533" y="1230671"/>
                  </a:lnTo>
                  <a:lnTo>
                    <a:pt x="905025" y="1235170"/>
                  </a:lnTo>
                  <a:lnTo>
                    <a:pt x="905025" y="1244732"/>
                  </a:lnTo>
                  <a:lnTo>
                    <a:pt x="909533" y="1249724"/>
                  </a:lnTo>
                  <a:lnTo>
                    <a:pt x="899540" y="1249724"/>
                  </a:lnTo>
                  <a:lnTo>
                    <a:pt x="895032" y="1249724"/>
                  </a:lnTo>
                  <a:lnTo>
                    <a:pt x="885504" y="1244732"/>
                  </a:lnTo>
                  <a:lnTo>
                    <a:pt x="880019" y="1249724"/>
                  </a:lnTo>
                  <a:lnTo>
                    <a:pt x="875511" y="1254716"/>
                  </a:lnTo>
                  <a:lnTo>
                    <a:pt x="880019" y="1264207"/>
                  </a:lnTo>
                  <a:lnTo>
                    <a:pt x="870491" y="1269199"/>
                  </a:lnTo>
                  <a:lnTo>
                    <a:pt x="865983" y="1269199"/>
                  </a:lnTo>
                  <a:lnTo>
                    <a:pt x="861010" y="1269199"/>
                  </a:lnTo>
                  <a:lnTo>
                    <a:pt x="855479" y="1269199"/>
                  </a:lnTo>
                  <a:lnTo>
                    <a:pt x="855479" y="1288675"/>
                  </a:lnTo>
                  <a:lnTo>
                    <a:pt x="855479" y="1293174"/>
                  </a:lnTo>
                  <a:lnTo>
                    <a:pt x="855479" y="1298658"/>
                  </a:lnTo>
                  <a:lnTo>
                    <a:pt x="865983" y="1298658"/>
                  </a:lnTo>
                  <a:lnTo>
                    <a:pt x="865983" y="1308150"/>
                  </a:lnTo>
                  <a:lnTo>
                    <a:pt x="861010" y="1312650"/>
                  </a:lnTo>
                  <a:lnTo>
                    <a:pt x="861010" y="1318204"/>
                  </a:lnTo>
                  <a:lnTo>
                    <a:pt x="855479" y="1327696"/>
                  </a:lnTo>
                  <a:lnTo>
                    <a:pt x="861010" y="1337679"/>
                  </a:lnTo>
                  <a:lnTo>
                    <a:pt x="850970" y="1342179"/>
                  </a:lnTo>
                  <a:lnTo>
                    <a:pt x="845951" y="1347171"/>
                  </a:lnTo>
                  <a:lnTo>
                    <a:pt x="831450" y="1347171"/>
                  </a:lnTo>
                  <a:lnTo>
                    <a:pt x="826430" y="1347171"/>
                  </a:lnTo>
                  <a:lnTo>
                    <a:pt x="816437" y="1332195"/>
                  </a:lnTo>
                  <a:lnTo>
                    <a:pt x="811929" y="1332195"/>
                  </a:lnTo>
                  <a:lnTo>
                    <a:pt x="802401" y="1351671"/>
                  </a:lnTo>
                  <a:lnTo>
                    <a:pt x="796916" y="1347171"/>
                  </a:lnTo>
                  <a:lnTo>
                    <a:pt x="792408" y="1347171"/>
                  </a:lnTo>
                  <a:lnTo>
                    <a:pt x="782415" y="1342179"/>
                  </a:lnTo>
                  <a:lnTo>
                    <a:pt x="767867" y="1351671"/>
                  </a:lnTo>
                  <a:lnTo>
                    <a:pt x="762894" y="1351671"/>
                  </a:lnTo>
                  <a:lnTo>
                    <a:pt x="758386" y="1351671"/>
                  </a:lnTo>
                  <a:lnTo>
                    <a:pt x="752855" y="1361654"/>
                  </a:lnTo>
                  <a:lnTo>
                    <a:pt x="752855" y="1366646"/>
                  </a:lnTo>
                  <a:lnTo>
                    <a:pt x="743373" y="1380637"/>
                  </a:lnTo>
                  <a:lnTo>
                    <a:pt x="743373" y="1390691"/>
                  </a:lnTo>
                  <a:lnTo>
                    <a:pt x="738865" y="1395683"/>
                  </a:lnTo>
                  <a:lnTo>
                    <a:pt x="733334" y="1395683"/>
                  </a:lnTo>
                  <a:lnTo>
                    <a:pt x="733334" y="1386192"/>
                  </a:lnTo>
                  <a:lnTo>
                    <a:pt x="719344" y="1390691"/>
                  </a:lnTo>
                  <a:lnTo>
                    <a:pt x="713813" y="1405667"/>
                  </a:lnTo>
                  <a:lnTo>
                    <a:pt x="704285" y="1405667"/>
                  </a:lnTo>
                  <a:lnTo>
                    <a:pt x="699312" y="1405667"/>
                  </a:lnTo>
                  <a:lnTo>
                    <a:pt x="699312" y="1395683"/>
                  </a:lnTo>
                  <a:lnTo>
                    <a:pt x="704285" y="1386192"/>
                  </a:lnTo>
                  <a:lnTo>
                    <a:pt x="699312" y="1386192"/>
                  </a:lnTo>
                  <a:lnTo>
                    <a:pt x="694804" y="1386192"/>
                  </a:lnTo>
                  <a:lnTo>
                    <a:pt x="684764" y="1376138"/>
                  </a:lnTo>
                  <a:lnTo>
                    <a:pt x="675283" y="1371146"/>
                  </a:lnTo>
                  <a:lnTo>
                    <a:pt x="675283" y="1366646"/>
                  </a:lnTo>
                  <a:lnTo>
                    <a:pt x="669752" y="1366646"/>
                  </a:lnTo>
                  <a:lnTo>
                    <a:pt x="669752" y="1351671"/>
                  </a:lnTo>
                  <a:lnTo>
                    <a:pt x="665243" y="1351671"/>
                  </a:lnTo>
                  <a:lnTo>
                    <a:pt x="660270" y="1366646"/>
                  </a:lnTo>
                  <a:lnTo>
                    <a:pt x="650231" y="1366646"/>
                  </a:lnTo>
                  <a:lnTo>
                    <a:pt x="625737" y="1361654"/>
                  </a:lnTo>
                  <a:lnTo>
                    <a:pt x="621229" y="1356662"/>
                  </a:lnTo>
                  <a:lnTo>
                    <a:pt x="625737" y="1351671"/>
                  </a:lnTo>
                  <a:lnTo>
                    <a:pt x="625737" y="1347171"/>
                  </a:lnTo>
                  <a:lnTo>
                    <a:pt x="616209" y="1347171"/>
                  </a:lnTo>
                  <a:lnTo>
                    <a:pt x="616209" y="1337679"/>
                  </a:lnTo>
                  <a:lnTo>
                    <a:pt x="606216" y="1342179"/>
                  </a:lnTo>
                  <a:lnTo>
                    <a:pt x="606216" y="1347171"/>
                  </a:lnTo>
                  <a:lnTo>
                    <a:pt x="592180" y="1347171"/>
                  </a:lnTo>
                  <a:lnTo>
                    <a:pt x="586695" y="1342179"/>
                  </a:lnTo>
                  <a:lnTo>
                    <a:pt x="592180" y="1337679"/>
                  </a:lnTo>
                  <a:lnTo>
                    <a:pt x="592180" y="1327696"/>
                  </a:lnTo>
                  <a:lnTo>
                    <a:pt x="586695" y="1312650"/>
                  </a:lnTo>
                  <a:lnTo>
                    <a:pt x="582187" y="1308150"/>
                  </a:lnTo>
                  <a:lnTo>
                    <a:pt x="577167" y="1308150"/>
                  </a:lnTo>
                  <a:lnTo>
                    <a:pt x="572659" y="1303158"/>
                  </a:lnTo>
                  <a:lnTo>
                    <a:pt x="582187" y="1298658"/>
                  </a:lnTo>
                  <a:lnTo>
                    <a:pt x="586695" y="1293174"/>
                  </a:lnTo>
                  <a:lnTo>
                    <a:pt x="596688" y="1288675"/>
                  </a:lnTo>
                  <a:lnTo>
                    <a:pt x="601708" y="1279183"/>
                  </a:lnTo>
                  <a:lnTo>
                    <a:pt x="596688" y="1279183"/>
                  </a:lnTo>
                  <a:lnTo>
                    <a:pt x="596688" y="1273699"/>
                  </a:lnTo>
                  <a:lnTo>
                    <a:pt x="592180" y="1273699"/>
                  </a:lnTo>
                  <a:lnTo>
                    <a:pt x="586695" y="1254716"/>
                  </a:lnTo>
                  <a:lnTo>
                    <a:pt x="577167" y="1249724"/>
                  </a:lnTo>
                  <a:lnTo>
                    <a:pt x="572659" y="1240232"/>
                  </a:lnTo>
                  <a:lnTo>
                    <a:pt x="567128" y="1225187"/>
                  </a:lnTo>
                  <a:lnTo>
                    <a:pt x="552627" y="1225187"/>
                  </a:lnTo>
                  <a:lnTo>
                    <a:pt x="547607" y="1235170"/>
                  </a:lnTo>
                  <a:lnTo>
                    <a:pt x="538125" y="1230671"/>
                  </a:lnTo>
                  <a:lnTo>
                    <a:pt x="547607" y="1215695"/>
                  </a:lnTo>
                  <a:lnTo>
                    <a:pt x="547607" y="1205711"/>
                  </a:lnTo>
                  <a:lnTo>
                    <a:pt x="542633" y="1201212"/>
                  </a:lnTo>
                  <a:lnTo>
                    <a:pt x="528597" y="1205711"/>
                  </a:lnTo>
                  <a:lnTo>
                    <a:pt x="523112" y="1201212"/>
                  </a:lnTo>
                  <a:lnTo>
                    <a:pt x="523112" y="1191720"/>
                  </a:lnTo>
                  <a:lnTo>
                    <a:pt x="528597" y="1191720"/>
                  </a:lnTo>
                  <a:lnTo>
                    <a:pt x="528597" y="1186236"/>
                  </a:lnTo>
                  <a:lnTo>
                    <a:pt x="523112" y="1181736"/>
                  </a:lnTo>
                  <a:lnTo>
                    <a:pt x="498572" y="1176744"/>
                  </a:lnTo>
                  <a:lnTo>
                    <a:pt x="488579" y="1172245"/>
                  </a:lnTo>
                  <a:lnTo>
                    <a:pt x="479051" y="1176744"/>
                  </a:lnTo>
                  <a:lnTo>
                    <a:pt x="459530" y="1172245"/>
                  </a:lnTo>
                  <a:lnTo>
                    <a:pt x="459530" y="1166690"/>
                  </a:lnTo>
                  <a:lnTo>
                    <a:pt x="445494" y="1172245"/>
                  </a:lnTo>
                  <a:lnTo>
                    <a:pt x="435501" y="1176744"/>
                  </a:lnTo>
                  <a:lnTo>
                    <a:pt x="435501" y="1181736"/>
                  </a:lnTo>
                  <a:lnTo>
                    <a:pt x="430481" y="1181736"/>
                  </a:lnTo>
                  <a:lnTo>
                    <a:pt x="440009" y="1201212"/>
                  </a:lnTo>
                  <a:lnTo>
                    <a:pt x="435501" y="1201212"/>
                  </a:lnTo>
                  <a:lnTo>
                    <a:pt x="415469" y="1201212"/>
                  </a:lnTo>
                  <a:lnTo>
                    <a:pt x="395948" y="1211195"/>
                  </a:lnTo>
                  <a:lnTo>
                    <a:pt x="391440" y="1205711"/>
                  </a:lnTo>
                  <a:lnTo>
                    <a:pt x="381958" y="1205711"/>
                  </a:lnTo>
                  <a:lnTo>
                    <a:pt x="362437" y="1211195"/>
                  </a:lnTo>
                  <a:lnTo>
                    <a:pt x="347378" y="1205711"/>
                  </a:lnTo>
                  <a:lnTo>
                    <a:pt x="347378" y="1211195"/>
                  </a:lnTo>
                  <a:lnTo>
                    <a:pt x="341894" y="1215695"/>
                  </a:lnTo>
                  <a:lnTo>
                    <a:pt x="341894" y="1230671"/>
                  </a:lnTo>
                  <a:lnTo>
                    <a:pt x="337385" y="1225187"/>
                  </a:lnTo>
                  <a:lnTo>
                    <a:pt x="327857" y="1225187"/>
                  </a:lnTo>
                  <a:lnTo>
                    <a:pt x="312845" y="1215695"/>
                  </a:lnTo>
                  <a:lnTo>
                    <a:pt x="312845" y="1205711"/>
                  </a:lnTo>
                  <a:lnTo>
                    <a:pt x="303363" y="1205711"/>
                  </a:lnTo>
                  <a:lnTo>
                    <a:pt x="308336" y="1220687"/>
                  </a:lnTo>
                  <a:lnTo>
                    <a:pt x="303363" y="1220687"/>
                  </a:lnTo>
                  <a:lnTo>
                    <a:pt x="298855" y="1215695"/>
                  </a:lnTo>
                  <a:lnTo>
                    <a:pt x="293324" y="1211195"/>
                  </a:lnTo>
                  <a:lnTo>
                    <a:pt x="283842" y="1220687"/>
                  </a:lnTo>
                  <a:lnTo>
                    <a:pt x="278312" y="1225187"/>
                  </a:lnTo>
                  <a:lnTo>
                    <a:pt x="268830" y="1225187"/>
                  </a:lnTo>
                  <a:lnTo>
                    <a:pt x="264322" y="1220687"/>
                  </a:lnTo>
                  <a:lnTo>
                    <a:pt x="254282" y="1220687"/>
                  </a:lnTo>
                  <a:lnTo>
                    <a:pt x="254282" y="1225187"/>
                  </a:lnTo>
                  <a:lnTo>
                    <a:pt x="249263" y="1230671"/>
                  </a:lnTo>
                  <a:lnTo>
                    <a:pt x="244801" y="1225187"/>
                  </a:lnTo>
                  <a:lnTo>
                    <a:pt x="239781" y="1230671"/>
                  </a:lnTo>
                  <a:lnTo>
                    <a:pt x="234761" y="1220687"/>
                  </a:lnTo>
                  <a:lnTo>
                    <a:pt x="225280" y="1225187"/>
                  </a:lnTo>
                  <a:lnTo>
                    <a:pt x="205248" y="1225187"/>
                  </a:lnTo>
                  <a:lnTo>
                    <a:pt x="205248" y="1230671"/>
                  </a:lnTo>
                  <a:lnTo>
                    <a:pt x="195208" y="1230671"/>
                  </a:lnTo>
                  <a:lnTo>
                    <a:pt x="200739" y="1205711"/>
                  </a:lnTo>
                  <a:lnTo>
                    <a:pt x="195208" y="1196220"/>
                  </a:lnTo>
                  <a:lnTo>
                    <a:pt x="195208" y="1191720"/>
                  </a:lnTo>
                  <a:lnTo>
                    <a:pt x="190700" y="1191720"/>
                  </a:lnTo>
                  <a:lnTo>
                    <a:pt x="185727" y="1201212"/>
                  </a:lnTo>
                  <a:lnTo>
                    <a:pt x="181218" y="1201212"/>
                  </a:lnTo>
                  <a:lnTo>
                    <a:pt x="175688" y="1201212"/>
                  </a:lnTo>
                  <a:lnTo>
                    <a:pt x="171179" y="1191720"/>
                  </a:lnTo>
                  <a:lnTo>
                    <a:pt x="185727" y="1186236"/>
                  </a:lnTo>
                  <a:lnTo>
                    <a:pt x="185727" y="1181736"/>
                  </a:lnTo>
                  <a:lnTo>
                    <a:pt x="175688" y="1172245"/>
                  </a:lnTo>
                  <a:lnTo>
                    <a:pt x="171179" y="1172245"/>
                  </a:lnTo>
                  <a:lnTo>
                    <a:pt x="166206" y="1166690"/>
                  </a:lnTo>
                  <a:lnTo>
                    <a:pt x="166206" y="1157199"/>
                  </a:lnTo>
                  <a:lnTo>
                    <a:pt x="161698" y="1147707"/>
                  </a:lnTo>
                  <a:lnTo>
                    <a:pt x="156678" y="1142715"/>
                  </a:lnTo>
                  <a:lnTo>
                    <a:pt x="161698" y="1137723"/>
                  </a:lnTo>
                  <a:lnTo>
                    <a:pt x="156678" y="1133224"/>
                  </a:lnTo>
                  <a:lnTo>
                    <a:pt x="146685" y="1123732"/>
                  </a:lnTo>
                  <a:lnTo>
                    <a:pt x="137157" y="1123732"/>
                  </a:lnTo>
                  <a:lnTo>
                    <a:pt x="131673" y="1113748"/>
                  </a:lnTo>
                  <a:lnTo>
                    <a:pt x="142177" y="1108757"/>
                  </a:lnTo>
                  <a:lnTo>
                    <a:pt x="137157" y="1098703"/>
                  </a:lnTo>
                  <a:lnTo>
                    <a:pt x="127164" y="1098703"/>
                  </a:lnTo>
                  <a:lnTo>
                    <a:pt x="127164" y="1104257"/>
                  </a:lnTo>
                  <a:lnTo>
                    <a:pt x="122145" y="1113748"/>
                  </a:lnTo>
                  <a:lnTo>
                    <a:pt x="117636" y="1108757"/>
                  </a:lnTo>
                  <a:lnTo>
                    <a:pt x="117636" y="1113748"/>
                  </a:lnTo>
                  <a:lnTo>
                    <a:pt x="107643" y="1113748"/>
                  </a:lnTo>
                  <a:lnTo>
                    <a:pt x="102624" y="1098703"/>
                  </a:lnTo>
                  <a:lnTo>
                    <a:pt x="98115" y="1089211"/>
                  </a:lnTo>
                  <a:lnTo>
                    <a:pt x="92584" y="1089211"/>
                  </a:lnTo>
                  <a:lnTo>
                    <a:pt x="88123" y="1089211"/>
                  </a:lnTo>
                  <a:lnTo>
                    <a:pt x="83103" y="1094203"/>
                  </a:lnTo>
                  <a:lnTo>
                    <a:pt x="73575" y="1089211"/>
                  </a:lnTo>
                  <a:lnTo>
                    <a:pt x="92584" y="1069736"/>
                  </a:lnTo>
                  <a:lnTo>
                    <a:pt x="88123" y="1065236"/>
                  </a:lnTo>
                  <a:lnTo>
                    <a:pt x="83103" y="1065236"/>
                  </a:lnTo>
                  <a:lnTo>
                    <a:pt x="88123" y="1050260"/>
                  </a:lnTo>
                  <a:lnTo>
                    <a:pt x="88123" y="1045761"/>
                  </a:lnTo>
                  <a:lnTo>
                    <a:pt x="83103" y="1040769"/>
                  </a:lnTo>
                  <a:lnTo>
                    <a:pt x="73575" y="1035777"/>
                  </a:lnTo>
                  <a:lnTo>
                    <a:pt x="73575" y="1030785"/>
                  </a:lnTo>
                  <a:lnTo>
                    <a:pt x="68555" y="1021223"/>
                  </a:lnTo>
                  <a:lnTo>
                    <a:pt x="68555" y="1016723"/>
                  </a:lnTo>
                  <a:lnTo>
                    <a:pt x="58562" y="1021223"/>
                  </a:lnTo>
                  <a:lnTo>
                    <a:pt x="58562" y="1011239"/>
                  </a:lnTo>
                  <a:lnTo>
                    <a:pt x="44061" y="991764"/>
                  </a:lnTo>
                  <a:lnTo>
                    <a:pt x="34533" y="991764"/>
                  </a:lnTo>
                  <a:lnTo>
                    <a:pt x="34533" y="987264"/>
                  </a:lnTo>
                  <a:lnTo>
                    <a:pt x="19521" y="997248"/>
                  </a:lnTo>
                  <a:lnTo>
                    <a:pt x="15012" y="991764"/>
                  </a:lnTo>
                  <a:lnTo>
                    <a:pt x="9528" y="982273"/>
                  </a:lnTo>
                  <a:lnTo>
                    <a:pt x="15012" y="972289"/>
                  </a:lnTo>
                  <a:lnTo>
                    <a:pt x="9528" y="962797"/>
                  </a:lnTo>
                  <a:lnTo>
                    <a:pt x="5019" y="962797"/>
                  </a:lnTo>
                  <a:lnTo>
                    <a:pt x="5019" y="958298"/>
                  </a:lnTo>
                  <a:lnTo>
                    <a:pt x="9528" y="948243"/>
                  </a:lnTo>
                  <a:lnTo>
                    <a:pt x="0" y="933760"/>
                  </a:lnTo>
                  <a:lnTo>
                    <a:pt x="9528" y="928768"/>
                  </a:lnTo>
                  <a:lnTo>
                    <a:pt x="19521" y="923776"/>
                  </a:lnTo>
                  <a:lnTo>
                    <a:pt x="15012" y="914285"/>
                  </a:lnTo>
                  <a:lnTo>
                    <a:pt x="9528" y="904301"/>
                  </a:lnTo>
                  <a:lnTo>
                    <a:pt x="24540" y="904301"/>
                  </a:lnTo>
                  <a:lnTo>
                    <a:pt x="34533" y="899801"/>
                  </a:lnTo>
                  <a:lnTo>
                    <a:pt x="29049" y="880256"/>
                  </a:lnTo>
                  <a:lnTo>
                    <a:pt x="39041" y="875264"/>
                  </a:lnTo>
                  <a:lnTo>
                    <a:pt x="39041" y="870764"/>
                  </a:lnTo>
                  <a:lnTo>
                    <a:pt x="48570" y="870764"/>
                  </a:lnTo>
                  <a:lnTo>
                    <a:pt x="44061" y="865280"/>
                  </a:lnTo>
                  <a:lnTo>
                    <a:pt x="63582" y="855789"/>
                  </a:lnTo>
                  <a:lnTo>
                    <a:pt x="58562" y="851289"/>
                  </a:lnTo>
                  <a:lnTo>
                    <a:pt x="48570" y="845805"/>
                  </a:lnTo>
                  <a:lnTo>
                    <a:pt x="54054" y="841305"/>
                  </a:lnTo>
                  <a:lnTo>
                    <a:pt x="39041" y="841305"/>
                  </a:lnTo>
                  <a:lnTo>
                    <a:pt x="34533" y="845805"/>
                  </a:lnTo>
                  <a:lnTo>
                    <a:pt x="24540" y="845805"/>
                  </a:lnTo>
                  <a:lnTo>
                    <a:pt x="24540" y="836313"/>
                  </a:lnTo>
                  <a:lnTo>
                    <a:pt x="24540" y="831814"/>
                  </a:lnTo>
                  <a:lnTo>
                    <a:pt x="19521" y="826822"/>
                  </a:lnTo>
                  <a:lnTo>
                    <a:pt x="29049" y="816768"/>
                  </a:lnTo>
                  <a:lnTo>
                    <a:pt x="34533" y="812338"/>
                  </a:lnTo>
                  <a:lnTo>
                    <a:pt x="29049" y="802776"/>
                  </a:lnTo>
                  <a:lnTo>
                    <a:pt x="29049" y="797292"/>
                  </a:lnTo>
                  <a:lnTo>
                    <a:pt x="29049" y="792793"/>
                  </a:lnTo>
                  <a:lnTo>
                    <a:pt x="19521" y="792793"/>
                  </a:lnTo>
                  <a:lnTo>
                    <a:pt x="15012" y="783301"/>
                  </a:lnTo>
                  <a:lnTo>
                    <a:pt x="5019" y="783301"/>
                  </a:lnTo>
                  <a:lnTo>
                    <a:pt x="9528" y="768325"/>
                  </a:lnTo>
                  <a:lnTo>
                    <a:pt x="15012" y="768325"/>
                  </a:lnTo>
                  <a:lnTo>
                    <a:pt x="19521" y="763826"/>
                  </a:lnTo>
                  <a:lnTo>
                    <a:pt x="19521" y="758342"/>
                  </a:lnTo>
                  <a:lnTo>
                    <a:pt x="15012" y="758342"/>
                  </a:lnTo>
                  <a:lnTo>
                    <a:pt x="5019" y="753842"/>
                  </a:lnTo>
                  <a:lnTo>
                    <a:pt x="9528" y="748850"/>
                  </a:lnTo>
                  <a:lnTo>
                    <a:pt x="19521" y="748850"/>
                  </a:lnTo>
                  <a:lnTo>
                    <a:pt x="29049" y="748850"/>
                  </a:lnTo>
                  <a:lnTo>
                    <a:pt x="34533" y="748850"/>
                  </a:lnTo>
                  <a:lnTo>
                    <a:pt x="34533" y="744350"/>
                  </a:lnTo>
                  <a:lnTo>
                    <a:pt x="34533" y="738796"/>
                  </a:lnTo>
                  <a:lnTo>
                    <a:pt x="34533" y="729304"/>
                  </a:lnTo>
                  <a:lnTo>
                    <a:pt x="34533" y="724805"/>
                  </a:lnTo>
                  <a:lnTo>
                    <a:pt x="34533" y="719813"/>
                  </a:lnTo>
                  <a:lnTo>
                    <a:pt x="39041" y="719813"/>
                  </a:lnTo>
                  <a:lnTo>
                    <a:pt x="48570" y="700338"/>
                  </a:lnTo>
                  <a:lnTo>
                    <a:pt x="48570" y="695838"/>
                  </a:lnTo>
                  <a:lnTo>
                    <a:pt x="68555" y="690354"/>
                  </a:lnTo>
                  <a:lnTo>
                    <a:pt x="68555" y="680862"/>
                  </a:lnTo>
                  <a:lnTo>
                    <a:pt x="73575" y="680862"/>
                  </a:lnTo>
                  <a:lnTo>
                    <a:pt x="73575" y="670808"/>
                  </a:lnTo>
                  <a:lnTo>
                    <a:pt x="83103" y="666309"/>
                  </a:lnTo>
                  <a:lnTo>
                    <a:pt x="88123" y="646833"/>
                  </a:lnTo>
                  <a:lnTo>
                    <a:pt x="98115" y="641841"/>
                  </a:lnTo>
                  <a:lnTo>
                    <a:pt x="102624" y="637342"/>
                  </a:lnTo>
                  <a:lnTo>
                    <a:pt x="98115" y="627358"/>
                  </a:lnTo>
                  <a:lnTo>
                    <a:pt x="78594" y="627358"/>
                  </a:lnTo>
                  <a:lnTo>
                    <a:pt x="68555" y="627358"/>
                  </a:lnTo>
                  <a:lnTo>
                    <a:pt x="68555" y="617866"/>
                  </a:lnTo>
                  <a:lnTo>
                    <a:pt x="73575" y="612874"/>
                  </a:lnTo>
                  <a:lnTo>
                    <a:pt x="73575" y="608375"/>
                  </a:lnTo>
                  <a:lnTo>
                    <a:pt x="78594" y="608375"/>
                  </a:lnTo>
                  <a:lnTo>
                    <a:pt x="88123" y="608375"/>
                  </a:lnTo>
                  <a:lnTo>
                    <a:pt x="88123" y="602820"/>
                  </a:lnTo>
                  <a:lnTo>
                    <a:pt x="83103" y="598321"/>
                  </a:lnTo>
                  <a:lnTo>
                    <a:pt x="83103" y="588829"/>
                  </a:lnTo>
                  <a:lnTo>
                    <a:pt x="73575" y="583345"/>
                  </a:lnTo>
                  <a:lnTo>
                    <a:pt x="83103" y="569354"/>
                  </a:lnTo>
                  <a:lnTo>
                    <a:pt x="83103" y="563870"/>
                  </a:lnTo>
                  <a:lnTo>
                    <a:pt x="102624" y="563870"/>
                  </a:lnTo>
                  <a:lnTo>
                    <a:pt x="107643" y="569354"/>
                  </a:lnTo>
                  <a:lnTo>
                    <a:pt x="112105" y="569354"/>
                  </a:lnTo>
                  <a:lnTo>
                    <a:pt x="122145" y="563870"/>
                  </a:lnTo>
                  <a:lnTo>
                    <a:pt x="127164" y="559370"/>
                  </a:lnTo>
                  <a:lnTo>
                    <a:pt x="127164" y="549879"/>
                  </a:lnTo>
                  <a:lnTo>
                    <a:pt x="122145" y="549879"/>
                  </a:lnTo>
                  <a:lnTo>
                    <a:pt x="112105" y="549879"/>
                  </a:lnTo>
                  <a:lnTo>
                    <a:pt x="107643" y="544395"/>
                  </a:lnTo>
                  <a:lnTo>
                    <a:pt x="112105" y="539895"/>
                  </a:lnTo>
                  <a:lnTo>
                    <a:pt x="107643" y="534903"/>
                  </a:lnTo>
                  <a:lnTo>
                    <a:pt x="102624" y="539895"/>
                  </a:lnTo>
                  <a:lnTo>
                    <a:pt x="98115" y="534903"/>
                  </a:lnTo>
                  <a:lnTo>
                    <a:pt x="92584" y="530403"/>
                  </a:lnTo>
                  <a:lnTo>
                    <a:pt x="98115" y="515357"/>
                  </a:lnTo>
                  <a:lnTo>
                    <a:pt x="92584" y="505866"/>
                  </a:lnTo>
                  <a:lnTo>
                    <a:pt x="92584" y="501366"/>
                  </a:lnTo>
                  <a:lnTo>
                    <a:pt x="92584" y="495882"/>
                  </a:lnTo>
                  <a:lnTo>
                    <a:pt x="92584" y="491382"/>
                  </a:lnTo>
                  <a:lnTo>
                    <a:pt x="88123" y="481891"/>
                  </a:lnTo>
                  <a:lnTo>
                    <a:pt x="88123" y="476407"/>
                  </a:lnTo>
                  <a:lnTo>
                    <a:pt x="98115" y="471907"/>
                  </a:lnTo>
                  <a:lnTo>
                    <a:pt x="102624" y="466915"/>
                  </a:lnTo>
                  <a:lnTo>
                    <a:pt x="107643" y="466915"/>
                  </a:lnTo>
                  <a:lnTo>
                    <a:pt x="112105" y="462415"/>
                  </a:lnTo>
                  <a:lnTo>
                    <a:pt x="122145" y="466915"/>
                  </a:lnTo>
                  <a:lnTo>
                    <a:pt x="122145" y="456861"/>
                  </a:lnTo>
                  <a:lnTo>
                    <a:pt x="127164" y="456861"/>
                  </a:lnTo>
                  <a:lnTo>
                    <a:pt x="131673" y="452361"/>
                  </a:lnTo>
                  <a:lnTo>
                    <a:pt x="142177" y="452361"/>
                  </a:lnTo>
                  <a:lnTo>
                    <a:pt x="151658" y="452361"/>
                  </a:lnTo>
                  <a:lnTo>
                    <a:pt x="156678" y="456861"/>
                  </a:lnTo>
                  <a:lnTo>
                    <a:pt x="161698" y="456861"/>
                  </a:lnTo>
                  <a:lnTo>
                    <a:pt x="161698" y="452361"/>
                  </a:lnTo>
                  <a:lnTo>
                    <a:pt x="161698" y="447370"/>
                  </a:lnTo>
                  <a:lnTo>
                    <a:pt x="166206" y="447370"/>
                  </a:lnTo>
                  <a:lnTo>
                    <a:pt x="166206" y="437386"/>
                  </a:lnTo>
                  <a:lnTo>
                    <a:pt x="175688" y="432886"/>
                  </a:lnTo>
                  <a:lnTo>
                    <a:pt x="181218" y="427894"/>
                  </a:lnTo>
                  <a:lnTo>
                    <a:pt x="185727" y="423395"/>
                  </a:lnTo>
                  <a:lnTo>
                    <a:pt x="190700" y="427894"/>
                  </a:lnTo>
                  <a:lnTo>
                    <a:pt x="200739" y="437386"/>
                  </a:lnTo>
                  <a:lnTo>
                    <a:pt x="210221" y="437386"/>
                  </a:lnTo>
                  <a:lnTo>
                    <a:pt x="220260" y="447370"/>
                  </a:lnTo>
                  <a:lnTo>
                    <a:pt x="229742" y="447370"/>
                  </a:lnTo>
                  <a:lnTo>
                    <a:pt x="229742" y="432886"/>
                  </a:lnTo>
                  <a:lnTo>
                    <a:pt x="234761" y="423395"/>
                  </a:lnTo>
                  <a:lnTo>
                    <a:pt x="229742" y="418403"/>
                  </a:lnTo>
                  <a:lnTo>
                    <a:pt x="229742" y="413411"/>
                  </a:lnTo>
                  <a:lnTo>
                    <a:pt x="229742" y="408419"/>
                  </a:lnTo>
                  <a:lnTo>
                    <a:pt x="234761" y="403919"/>
                  </a:lnTo>
                  <a:lnTo>
                    <a:pt x="234761" y="394428"/>
                  </a:lnTo>
                  <a:lnTo>
                    <a:pt x="229742" y="388873"/>
                  </a:lnTo>
                  <a:lnTo>
                    <a:pt x="229742" y="379382"/>
                  </a:lnTo>
                  <a:lnTo>
                    <a:pt x="229742" y="374882"/>
                  </a:lnTo>
                  <a:lnTo>
                    <a:pt x="229742" y="369398"/>
                  </a:lnTo>
                  <a:lnTo>
                    <a:pt x="234761" y="364898"/>
                  </a:lnTo>
                  <a:lnTo>
                    <a:pt x="234761" y="359906"/>
                  </a:lnTo>
                  <a:lnTo>
                    <a:pt x="239781" y="359906"/>
                  </a:lnTo>
                  <a:lnTo>
                    <a:pt x="239781" y="349923"/>
                  </a:lnTo>
                  <a:lnTo>
                    <a:pt x="234761" y="349923"/>
                  </a:lnTo>
                  <a:lnTo>
                    <a:pt x="229742" y="345423"/>
                  </a:lnTo>
                  <a:lnTo>
                    <a:pt x="239781" y="335931"/>
                  </a:lnTo>
                  <a:lnTo>
                    <a:pt x="234761" y="330447"/>
                  </a:lnTo>
                  <a:lnTo>
                    <a:pt x="234761" y="320956"/>
                  </a:lnTo>
                  <a:lnTo>
                    <a:pt x="225280" y="311394"/>
                  </a:lnTo>
                  <a:lnTo>
                    <a:pt x="220260" y="306402"/>
                  </a:lnTo>
                  <a:lnTo>
                    <a:pt x="229742" y="296911"/>
                  </a:lnTo>
                  <a:lnTo>
                    <a:pt x="239781" y="301410"/>
                  </a:lnTo>
                  <a:lnTo>
                    <a:pt x="244801" y="301410"/>
                  </a:lnTo>
                  <a:lnTo>
                    <a:pt x="254282" y="301410"/>
                  </a:lnTo>
                  <a:lnTo>
                    <a:pt x="254282" y="296911"/>
                  </a:lnTo>
                  <a:lnTo>
                    <a:pt x="254282" y="291919"/>
                  </a:lnTo>
                  <a:lnTo>
                    <a:pt x="258791" y="277435"/>
                  </a:lnTo>
                  <a:lnTo>
                    <a:pt x="264322" y="277435"/>
                  </a:lnTo>
                  <a:lnTo>
                    <a:pt x="264322" y="267944"/>
                  </a:lnTo>
                  <a:lnTo>
                    <a:pt x="268830" y="267944"/>
                  </a:lnTo>
                  <a:lnTo>
                    <a:pt x="273803" y="262459"/>
                  </a:lnTo>
                  <a:lnTo>
                    <a:pt x="278312" y="262459"/>
                  </a:lnTo>
                  <a:lnTo>
                    <a:pt x="278312" y="252968"/>
                  </a:lnTo>
                  <a:lnTo>
                    <a:pt x="283842" y="252968"/>
                  </a:lnTo>
                  <a:lnTo>
                    <a:pt x="293324" y="248468"/>
                  </a:lnTo>
                  <a:lnTo>
                    <a:pt x="293324" y="242914"/>
                  </a:lnTo>
                  <a:lnTo>
                    <a:pt x="293324" y="233422"/>
                  </a:lnTo>
                  <a:lnTo>
                    <a:pt x="298855" y="228923"/>
                  </a:lnTo>
                  <a:lnTo>
                    <a:pt x="293324" y="223439"/>
                  </a:lnTo>
                  <a:lnTo>
                    <a:pt x="283842" y="223439"/>
                  </a:lnTo>
                  <a:lnTo>
                    <a:pt x="283842" y="218939"/>
                  </a:lnTo>
                  <a:lnTo>
                    <a:pt x="293324" y="209447"/>
                  </a:lnTo>
                  <a:lnTo>
                    <a:pt x="288816" y="204455"/>
                  </a:lnTo>
                  <a:lnTo>
                    <a:pt x="293324" y="189972"/>
                  </a:lnTo>
                  <a:lnTo>
                    <a:pt x="293324" y="180480"/>
                  </a:lnTo>
                  <a:lnTo>
                    <a:pt x="298855" y="180480"/>
                  </a:lnTo>
                  <a:lnTo>
                    <a:pt x="298855" y="170426"/>
                  </a:lnTo>
                  <a:lnTo>
                    <a:pt x="298855" y="150951"/>
                  </a:lnTo>
                  <a:lnTo>
                    <a:pt x="293324" y="150951"/>
                  </a:lnTo>
                  <a:lnTo>
                    <a:pt x="293324" y="145959"/>
                  </a:lnTo>
                  <a:lnTo>
                    <a:pt x="288816" y="145959"/>
                  </a:lnTo>
                  <a:lnTo>
                    <a:pt x="293324" y="121984"/>
                  </a:lnTo>
                  <a:lnTo>
                    <a:pt x="288816" y="121984"/>
                  </a:lnTo>
                  <a:lnTo>
                    <a:pt x="293324" y="116500"/>
                  </a:lnTo>
                  <a:lnTo>
                    <a:pt x="317865" y="116500"/>
                  </a:lnTo>
                  <a:lnTo>
                    <a:pt x="332366" y="121984"/>
                  </a:lnTo>
                  <a:lnTo>
                    <a:pt x="341894" y="121984"/>
                  </a:lnTo>
                  <a:lnTo>
                    <a:pt x="351887" y="126484"/>
                  </a:lnTo>
                  <a:lnTo>
                    <a:pt x="366899" y="131476"/>
                  </a:lnTo>
                  <a:lnTo>
                    <a:pt x="391440" y="121984"/>
                  </a:lnTo>
                  <a:lnTo>
                    <a:pt x="395948" y="112000"/>
                  </a:lnTo>
                  <a:lnTo>
                    <a:pt x="410960" y="112000"/>
                  </a:lnTo>
                  <a:lnTo>
                    <a:pt x="410960" y="107009"/>
                  </a:lnTo>
                  <a:lnTo>
                    <a:pt x="415469" y="107009"/>
                  </a:lnTo>
                  <a:lnTo>
                    <a:pt x="450002" y="97447"/>
                  </a:lnTo>
                  <a:lnTo>
                    <a:pt x="450002" y="87463"/>
                  </a:lnTo>
                  <a:lnTo>
                    <a:pt x="450002" y="77971"/>
                  </a:lnTo>
                  <a:lnTo>
                    <a:pt x="455022" y="58496"/>
                  </a:lnTo>
                  <a:lnTo>
                    <a:pt x="450002" y="58496"/>
                  </a:lnTo>
                  <a:lnTo>
                    <a:pt x="455022" y="39021"/>
                  </a:lnTo>
                  <a:lnTo>
                    <a:pt x="459530" y="39021"/>
                  </a:lnTo>
                  <a:lnTo>
                    <a:pt x="469523" y="34521"/>
                  </a:lnTo>
                  <a:lnTo>
                    <a:pt x="474543" y="24467"/>
                  </a:lnTo>
                  <a:lnTo>
                    <a:pt x="474543" y="14976"/>
                  </a:lnTo>
                  <a:lnTo>
                    <a:pt x="484071" y="14976"/>
                  </a:lnTo>
                  <a:close/>
                </a:path>
              </a:pathLst>
            </a:custGeom>
            <a:solidFill>
              <a:srgbClr val="E11A81">
                <a:lumMod val="20000"/>
                <a:lumOff val="80000"/>
              </a:srgbClr>
            </a:solidFill>
            <a:ln w="6350" cap="flat" cmpd="sng" algn="ctr">
              <a:solidFill>
                <a:sysClr val="window" lastClr="FFFFFF"/>
              </a:solidFill>
              <a:prstDash val="solid"/>
              <a:miter lim="800000"/>
            </a:ln>
            <a:effectLst/>
          </p:spPr>
          <p:txBody>
            <a:bodyPr rot="0" spcFirstLastPara="0" vert="horz" wrap="square" lIns="58652" tIns="29326" rIns="58652" bIns="2932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586496">
                <a:defRPr/>
              </a:pPr>
              <a:endParaRPr lang="fr-FR" sz="1400">
                <a:solidFill>
                  <a:srgbClr val="FFFFFF"/>
                </a:solidFill>
                <a:latin typeface="Helvetica Neue"/>
              </a:endParaRPr>
            </a:p>
          </p:txBody>
        </p:sp>
        <p:sp>
          <p:nvSpPr>
            <p:cNvPr id="52" name="Forme libre 12">
              <a:extLst>
                <a:ext uri="{FF2B5EF4-FFF2-40B4-BE49-F238E27FC236}">
                  <a16:creationId xmlns:a16="http://schemas.microsoft.com/office/drawing/2014/main" id="{127DB567-5DA1-4B37-9A26-52E33B52B390}"/>
                </a:ext>
              </a:extLst>
            </p:cNvPr>
            <p:cNvSpPr/>
            <p:nvPr/>
          </p:nvSpPr>
          <p:spPr>
            <a:xfrm>
              <a:off x="3333017" y="3982114"/>
              <a:ext cx="185290" cy="141122"/>
            </a:xfrm>
            <a:custGeom>
              <a:avLst/>
              <a:gdLst>
                <a:gd name="connsiteX0" fmla="*/ 1212011 w 1334797"/>
                <a:gd name="connsiteY0" fmla="*/ 0 h 1031903"/>
                <a:gd name="connsiteX1" fmla="*/ 1212011 w 1334797"/>
                <a:gd name="connsiteY1" fmla="*/ 4517 h 1031903"/>
                <a:gd name="connsiteX2" fmla="*/ 1217022 w 1334797"/>
                <a:gd name="connsiteY2" fmla="*/ 4517 h 1031903"/>
                <a:gd name="connsiteX3" fmla="*/ 1217022 w 1334797"/>
                <a:gd name="connsiteY3" fmla="*/ 19523 h 1031903"/>
                <a:gd name="connsiteX4" fmla="*/ 1221535 w 1334797"/>
                <a:gd name="connsiteY4" fmla="*/ 19523 h 1031903"/>
                <a:gd name="connsiteX5" fmla="*/ 1226546 w 1334797"/>
                <a:gd name="connsiteY5" fmla="*/ 29055 h 1031903"/>
                <a:gd name="connsiteX6" fmla="*/ 1231557 w 1334797"/>
                <a:gd name="connsiteY6" fmla="*/ 29055 h 1031903"/>
                <a:gd name="connsiteX7" fmla="*/ 1236568 w 1334797"/>
                <a:gd name="connsiteY7" fmla="*/ 33572 h 1031903"/>
                <a:gd name="connsiteX8" fmla="*/ 1236568 w 1334797"/>
                <a:gd name="connsiteY8" fmla="*/ 39084 h 1031903"/>
                <a:gd name="connsiteX9" fmla="*/ 1241579 w 1334797"/>
                <a:gd name="connsiteY9" fmla="*/ 43601 h 1031903"/>
                <a:gd name="connsiteX10" fmla="*/ 1251602 w 1334797"/>
                <a:gd name="connsiteY10" fmla="*/ 53095 h 1031903"/>
                <a:gd name="connsiteX11" fmla="*/ 1256115 w 1334797"/>
                <a:gd name="connsiteY11" fmla="*/ 53095 h 1031903"/>
                <a:gd name="connsiteX12" fmla="*/ 1265639 w 1334797"/>
                <a:gd name="connsiteY12" fmla="*/ 72656 h 1031903"/>
                <a:gd name="connsiteX13" fmla="*/ 1280672 w 1334797"/>
                <a:gd name="connsiteY13" fmla="*/ 78168 h 1031903"/>
                <a:gd name="connsiteX14" fmla="*/ 1290694 w 1334797"/>
                <a:gd name="connsiteY14" fmla="*/ 82686 h 1031903"/>
                <a:gd name="connsiteX15" fmla="*/ 1290694 w 1334797"/>
                <a:gd name="connsiteY15" fmla="*/ 87700 h 1031903"/>
                <a:gd name="connsiteX16" fmla="*/ 1295207 w 1334797"/>
                <a:gd name="connsiteY16" fmla="*/ 87700 h 1031903"/>
                <a:gd name="connsiteX17" fmla="*/ 1300218 w 1334797"/>
                <a:gd name="connsiteY17" fmla="*/ 92179 h 1031903"/>
                <a:gd name="connsiteX18" fmla="*/ 1300218 w 1334797"/>
                <a:gd name="connsiteY18" fmla="*/ 97691 h 1031903"/>
                <a:gd name="connsiteX19" fmla="*/ 1304731 w 1334797"/>
                <a:gd name="connsiteY19" fmla="*/ 102208 h 1031903"/>
                <a:gd name="connsiteX20" fmla="*/ 1304731 w 1334797"/>
                <a:gd name="connsiteY20" fmla="*/ 107223 h 1031903"/>
                <a:gd name="connsiteX21" fmla="*/ 1304731 w 1334797"/>
                <a:gd name="connsiteY21" fmla="*/ 111740 h 1031903"/>
                <a:gd name="connsiteX22" fmla="*/ 1304731 w 1334797"/>
                <a:gd name="connsiteY22" fmla="*/ 121770 h 1031903"/>
                <a:gd name="connsiteX23" fmla="*/ 1309742 w 1334797"/>
                <a:gd name="connsiteY23" fmla="*/ 126784 h 1031903"/>
                <a:gd name="connsiteX24" fmla="*/ 1309742 w 1334797"/>
                <a:gd name="connsiteY24" fmla="*/ 146307 h 1031903"/>
                <a:gd name="connsiteX25" fmla="*/ 1315251 w 1334797"/>
                <a:gd name="connsiteY25" fmla="*/ 150824 h 1031903"/>
                <a:gd name="connsiteX26" fmla="*/ 1319764 w 1334797"/>
                <a:gd name="connsiteY26" fmla="*/ 155839 h 1031903"/>
                <a:gd name="connsiteX27" fmla="*/ 1319764 w 1334797"/>
                <a:gd name="connsiteY27" fmla="*/ 160318 h 1031903"/>
                <a:gd name="connsiteX28" fmla="*/ 1329288 w 1334797"/>
                <a:gd name="connsiteY28" fmla="*/ 170347 h 1031903"/>
                <a:gd name="connsiteX29" fmla="*/ 1329288 w 1334797"/>
                <a:gd name="connsiteY29" fmla="*/ 175362 h 1031903"/>
                <a:gd name="connsiteX30" fmla="*/ 1319764 w 1334797"/>
                <a:gd name="connsiteY30" fmla="*/ 175362 h 1031903"/>
                <a:gd name="connsiteX31" fmla="*/ 1319764 w 1334797"/>
                <a:gd name="connsiteY31" fmla="*/ 170347 h 1031903"/>
                <a:gd name="connsiteX32" fmla="*/ 1315251 w 1334797"/>
                <a:gd name="connsiteY32" fmla="*/ 175362 h 1031903"/>
                <a:gd name="connsiteX33" fmla="*/ 1315251 w 1334797"/>
                <a:gd name="connsiteY33" fmla="*/ 185392 h 1031903"/>
                <a:gd name="connsiteX34" fmla="*/ 1304731 w 1334797"/>
                <a:gd name="connsiteY34" fmla="*/ 189909 h 1031903"/>
                <a:gd name="connsiteX35" fmla="*/ 1304731 w 1334797"/>
                <a:gd name="connsiteY35" fmla="*/ 199402 h 1031903"/>
                <a:gd name="connsiteX36" fmla="*/ 1295207 w 1334797"/>
                <a:gd name="connsiteY36" fmla="*/ 209432 h 1031903"/>
                <a:gd name="connsiteX37" fmla="*/ 1300218 w 1334797"/>
                <a:gd name="connsiteY37" fmla="*/ 214446 h 1031903"/>
                <a:gd name="connsiteX38" fmla="*/ 1315251 w 1334797"/>
                <a:gd name="connsiteY38" fmla="*/ 204915 h 1031903"/>
                <a:gd name="connsiteX39" fmla="*/ 1315251 w 1334797"/>
                <a:gd name="connsiteY39" fmla="*/ 214446 h 1031903"/>
                <a:gd name="connsiteX40" fmla="*/ 1304731 w 1334797"/>
                <a:gd name="connsiteY40" fmla="*/ 218963 h 1031903"/>
                <a:gd name="connsiteX41" fmla="*/ 1304731 w 1334797"/>
                <a:gd name="connsiteY41" fmla="*/ 224476 h 1031903"/>
                <a:gd name="connsiteX42" fmla="*/ 1300218 w 1334797"/>
                <a:gd name="connsiteY42" fmla="*/ 234008 h 1031903"/>
                <a:gd name="connsiteX43" fmla="*/ 1300218 w 1334797"/>
                <a:gd name="connsiteY43" fmla="*/ 238486 h 1031903"/>
                <a:gd name="connsiteX44" fmla="*/ 1304731 w 1334797"/>
                <a:gd name="connsiteY44" fmla="*/ 243501 h 1031903"/>
                <a:gd name="connsiteX45" fmla="*/ 1304731 w 1334797"/>
                <a:gd name="connsiteY45" fmla="*/ 248018 h 1031903"/>
                <a:gd name="connsiteX46" fmla="*/ 1295207 w 1334797"/>
                <a:gd name="connsiteY46" fmla="*/ 258048 h 1031903"/>
                <a:gd name="connsiteX47" fmla="*/ 1304731 w 1334797"/>
                <a:gd name="connsiteY47" fmla="*/ 267579 h 1031903"/>
                <a:gd name="connsiteX48" fmla="*/ 1295207 w 1334797"/>
                <a:gd name="connsiteY48" fmla="*/ 267579 h 1031903"/>
                <a:gd name="connsiteX49" fmla="*/ 1295207 w 1334797"/>
                <a:gd name="connsiteY49" fmla="*/ 273092 h 1031903"/>
                <a:gd name="connsiteX50" fmla="*/ 1304731 w 1334797"/>
                <a:gd name="connsiteY50" fmla="*/ 273092 h 1031903"/>
                <a:gd name="connsiteX51" fmla="*/ 1304731 w 1334797"/>
                <a:gd name="connsiteY51" fmla="*/ 277571 h 1031903"/>
                <a:gd name="connsiteX52" fmla="*/ 1309742 w 1334797"/>
                <a:gd name="connsiteY52" fmla="*/ 282585 h 1031903"/>
                <a:gd name="connsiteX53" fmla="*/ 1304731 w 1334797"/>
                <a:gd name="connsiteY53" fmla="*/ 287102 h 1031903"/>
                <a:gd name="connsiteX54" fmla="*/ 1315251 w 1334797"/>
                <a:gd name="connsiteY54" fmla="*/ 292615 h 1031903"/>
                <a:gd name="connsiteX55" fmla="*/ 1309742 w 1334797"/>
                <a:gd name="connsiteY55" fmla="*/ 306625 h 1031903"/>
                <a:gd name="connsiteX56" fmla="*/ 1304731 w 1334797"/>
                <a:gd name="connsiteY56" fmla="*/ 306625 h 1031903"/>
                <a:gd name="connsiteX57" fmla="*/ 1304731 w 1334797"/>
                <a:gd name="connsiteY57" fmla="*/ 312138 h 1031903"/>
                <a:gd name="connsiteX58" fmla="*/ 1309742 w 1334797"/>
                <a:gd name="connsiteY58" fmla="*/ 312138 h 1031903"/>
                <a:gd name="connsiteX59" fmla="*/ 1315251 w 1334797"/>
                <a:gd name="connsiteY59" fmla="*/ 316655 h 1031903"/>
                <a:gd name="connsiteX60" fmla="*/ 1319764 w 1334797"/>
                <a:gd name="connsiteY60" fmla="*/ 316655 h 1031903"/>
                <a:gd name="connsiteX61" fmla="*/ 1315251 w 1334797"/>
                <a:gd name="connsiteY61" fmla="*/ 312138 h 1031903"/>
                <a:gd name="connsiteX62" fmla="*/ 1319764 w 1334797"/>
                <a:gd name="connsiteY62" fmla="*/ 306625 h 1031903"/>
                <a:gd name="connsiteX63" fmla="*/ 1329288 w 1334797"/>
                <a:gd name="connsiteY63" fmla="*/ 312138 h 1031903"/>
                <a:gd name="connsiteX64" fmla="*/ 1329288 w 1334797"/>
                <a:gd name="connsiteY64" fmla="*/ 321669 h 1031903"/>
                <a:gd name="connsiteX65" fmla="*/ 1324775 w 1334797"/>
                <a:gd name="connsiteY65" fmla="*/ 321669 h 1031903"/>
                <a:gd name="connsiteX66" fmla="*/ 1324775 w 1334797"/>
                <a:gd name="connsiteY66" fmla="*/ 331699 h 1031903"/>
                <a:gd name="connsiteX67" fmla="*/ 1315251 w 1334797"/>
                <a:gd name="connsiteY67" fmla="*/ 336216 h 1031903"/>
                <a:gd name="connsiteX68" fmla="*/ 1315251 w 1334797"/>
                <a:gd name="connsiteY68" fmla="*/ 341231 h 1031903"/>
                <a:gd name="connsiteX69" fmla="*/ 1309742 w 1334797"/>
                <a:gd name="connsiteY69" fmla="*/ 345709 h 1031903"/>
                <a:gd name="connsiteX70" fmla="*/ 1300218 w 1334797"/>
                <a:gd name="connsiteY70" fmla="*/ 365271 h 1031903"/>
                <a:gd name="connsiteX71" fmla="*/ 1309742 w 1334797"/>
                <a:gd name="connsiteY71" fmla="*/ 365271 h 1031903"/>
                <a:gd name="connsiteX72" fmla="*/ 1304731 w 1334797"/>
                <a:gd name="connsiteY72" fmla="*/ 370285 h 1031903"/>
                <a:gd name="connsiteX73" fmla="*/ 1319764 w 1334797"/>
                <a:gd name="connsiteY73" fmla="*/ 384794 h 1031903"/>
                <a:gd name="connsiteX74" fmla="*/ 1319764 w 1334797"/>
                <a:gd name="connsiteY74" fmla="*/ 389808 h 1031903"/>
                <a:gd name="connsiteX75" fmla="*/ 1319764 w 1334797"/>
                <a:gd name="connsiteY75" fmla="*/ 394325 h 1031903"/>
                <a:gd name="connsiteX76" fmla="*/ 1324775 w 1334797"/>
                <a:gd name="connsiteY76" fmla="*/ 404355 h 1031903"/>
                <a:gd name="connsiteX77" fmla="*/ 1324775 w 1334797"/>
                <a:gd name="connsiteY77" fmla="*/ 409370 h 1031903"/>
                <a:gd name="connsiteX78" fmla="*/ 1324775 w 1334797"/>
                <a:gd name="connsiteY78" fmla="*/ 428893 h 1031903"/>
                <a:gd name="connsiteX79" fmla="*/ 1329288 w 1334797"/>
                <a:gd name="connsiteY79" fmla="*/ 428893 h 1031903"/>
                <a:gd name="connsiteX80" fmla="*/ 1334797 w 1334797"/>
                <a:gd name="connsiteY80" fmla="*/ 438922 h 1031903"/>
                <a:gd name="connsiteX81" fmla="*/ 1329288 w 1334797"/>
                <a:gd name="connsiteY81" fmla="*/ 452933 h 1031903"/>
                <a:gd name="connsiteX82" fmla="*/ 1319764 w 1334797"/>
                <a:gd name="connsiteY82" fmla="*/ 448454 h 1031903"/>
                <a:gd name="connsiteX83" fmla="*/ 1315251 w 1334797"/>
                <a:gd name="connsiteY83" fmla="*/ 443439 h 1031903"/>
                <a:gd name="connsiteX84" fmla="*/ 1300218 w 1334797"/>
                <a:gd name="connsiteY84" fmla="*/ 443439 h 1031903"/>
                <a:gd name="connsiteX85" fmla="*/ 1300218 w 1334797"/>
                <a:gd name="connsiteY85" fmla="*/ 452933 h 1031903"/>
                <a:gd name="connsiteX86" fmla="*/ 1295207 w 1334797"/>
                <a:gd name="connsiteY86" fmla="*/ 457947 h 1031903"/>
                <a:gd name="connsiteX87" fmla="*/ 1300218 w 1334797"/>
                <a:gd name="connsiteY87" fmla="*/ 457947 h 1031903"/>
                <a:gd name="connsiteX88" fmla="*/ 1300218 w 1334797"/>
                <a:gd name="connsiteY88" fmla="*/ 467977 h 1031903"/>
                <a:gd name="connsiteX89" fmla="*/ 1285185 w 1334797"/>
                <a:gd name="connsiteY89" fmla="*/ 472494 h 1031903"/>
                <a:gd name="connsiteX90" fmla="*/ 1285185 w 1334797"/>
                <a:gd name="connsiteY90" fmla="*/ 487538 h 1031903"/>
                <a:gd name="connsiteX91" fmla="*/ 1285185 w 1334797"/>
                <a:gd name="connsiteY91" fmla="*/ 492017 h 1031903"/>
                <a:gd name="connsiteX92" fmla="*/ 1285185 w 1334797"/>
                <a:gd name="connsiteY92" fmla="*/ 501549 h 1031903"/>
                <a:gd name="connsiteX93" fmla="*/ 1280672 w 1334797"/>
                <a:gd name="connsiteY93" fmla="*/ 511578 h 1031903"/>
                <a:gd name="connsiteX94" fmla="*/ 1280672 w 1334797"/>
                <a:gd name="connsiteY94" fmla="*/ 516593 h 1031903"/>
                <a:gd name="connsiteX95" fmla="*/ 1271148 w 1334797"/>
                <a:gd name="connsiteY95" fmla="*/ 531101 h 1031903"/>
                <a:gd name="connsiteX96" fmla="*/ 1265639 w 1334797"/>
                <a:gd name="connsiteY96" fmla="*/ 536116 h 1031903"/>
                <a:gd name="connsiteX97" fmla="*/ 1265639 w 1334797"/>
                <a:gd name="connsiteY97" fmla="*/ 540633 h 1031903"/>
                <a:gd name="connsiteX98" fmla="*/ 1265639 w 1334797"/>
                <a:gd name="connsiteY98" fmla="*/ 546145 h 1031903"/>
                <a:gd name="connsiteX99" fmla="*/ 1256115 w 1334797"/>
                <a:gd name="connsiteY99" fmla="*/ 540633 h 1031903"/>
                <a:gd name="connsiteX100" fmla="*/ 1251602 w 1334797"/>
                <a:gd name="connsiteY100" fmla="*/ 546145 h 1031903"/>
                <a:gd name="connsiteX101" fmla="*/ 1241579 w 1334797"/>
                <a:gd name="connsiteY101" fmla="*/ 550662 h 1031903"/>
                <a:gd name="connsiteX102" fmla="*/ 1231557 w 1334797"/>
                <a:gd name="connsiteY102" fmla="*/ 550662 h 1031903"/>
                <a:gd name="connsiteX103" fmla="*/ 1226546 w 1334797"/>
                <a:gd name="connsiteY103" fmla="*/ 546145 h 1031903"/>
                <a:gd name="connsiteX104" fmla="*/ 1226546 w 1334797"/>
                <a:gd name="connsiteY104" fmla="*/ 555677 h 1031903"/>
                <a:gd name="connsiteX105" fmla="*/ 1221535 w 1334797"/>
                <a:gd name="connsiteY105" fmla="*/ 555677 h 1031903"/>
                <a:gd name="connsiteX106" fmla="*/ 1217022 w 1334797"/>
                <a:gd name="connsiteY106" fmla="*/ 555677 h 1031903"/>
                <a:gd name="connsiteX107" fmla="*/ 1212011 w 1334797"/>
                <a:gd name="connsiteY107" fmla="*/ 555677 h 1031903"/>
                <a:gd name="connsiteX108" fmla="*/ 1207498 w 1334797"/>
                <a:gd name="connsiteY108" fmla="*/ 560194 h 1031903"/>
                <a:gd name="connsiteX109" fmla="*/ 1201989 w 1334797"/>
                <a:gd name="connsiteY109" fmla="*/ 560194 h 1031903"/>
                <a:gd name="connsiteX110" fmla="*/ 1207498 w 1334797"/>
                <a:gd name="connsiteY110" fmla="*/ 575200 h 1031903"/>
                <a:gd name="connsiteX111" fmla="*/ 1212011 w 1334797"/>
                <a:gd name="connsiteY111" fmla="*/ 575200 h 1031903"/>
                <a:gd name="connsiteX112" fmla="*/ 1217022 w 1334797"/>
                <a:gd name="connsiteY112" fmla="*/ 579717 h 1031903"/>
                <a:gd name="connsiteX113" fmla="*/ 1217022 w 1334797"/>
                <a:gd name="connsiteY113" fmla="*/ 584732 h 1031903"/>
                <a:gd name="connsiteX114" fmla="*/ 1212011 w 1334797"/>
                <a:gd name="connsiteY114" fmla="*/ 594761 h 1031903"/>
                <a:gd name="connsiteX115" fmla="*/ 1212011 w 1334797"/>
                <a:gd name="connsiteY115" fmla="*/ 599240 h 1031903"/>
                <a:gd name="connsiteX116" fmla="*/ 1226546 w 1334797"/>
                <a:gd name="connsiteY116" fmla="*/ 594761 h 1031903"/>
                <a:gd name="connsiteX117" fmla="*/ 1231557 w 1334797"/>
                <a:gd name="connsiteY117" fmla="*/ 599240 h 1031903"/>
                <a:gd name="connsiteX118" fmla="*/ 1221535 w 1334797"/>
                <a:gd name="connsiteY118" fmla="*/ 604255 h 1031903"/>
                <a:gd name="connsiteX119" fmla="*/ 1226546 w 1334797"/>
                <a:gd name="connsiteY119" fmla="*/ 614284 h 1031903"/>
                <a:gd name="connsiteX120" fmla="*/ 1226546 w 1334797"/>
                <a:gd name="connsiteY120" fmla="*/ 618801 h 1031903"/>
                <a:gd name="connsiteX121" fmla="*/ 1221535 w 1334797"/>
                <a:gd name="connsiteY121" fmla="*/ 623816 h 1031903"/>
                <a:gd name="connsiteX122" fmla="*/ 1207498 w 1334797"/>
                <a:gd name="connsiteY122" fmla="*/ 623816 h 1031903"/>
                <a:gd name="connsiteX123" fmla="*/ 1207498 w 1334797"/>
                <a:gd name="connsiteY123" fmla="*/ 628333 h 1031903"/>
                <a:gd name="connsiteX124" fmla="*/ 1207498 w 1334797"/>
                <a:gd name="connsiteY124" fmla="*/ 638324 h 1031903"/>
                <a:gd name="connsiteX125" fmla="*/ 1207498 w 1334797"/>
                <a:gd name="connsiteY125" fmla="*/ 643339 h 1031903"/>
                <a:gd name="connsiteX126" fmla="*/ 1212011 w 1334797"/>
                <a:gd name="connsiteY126" fmla="*/ 643339 h 1031903"/>
                <a:gd name="connsiteX127" fmla="*/ 1212011 w 1334797"/>
                <a:gd name="connsiteY127" fmla="*/ 653368 h 1031903"/>
                <a:gd name="connsiteX128" fmla="*/ 1207498 w 1334797"/>
                <a:gd name="connsiteY128" fmla="*/ 657885 h 1031903"/>
                <a:gd name="connsiteX129" fmla="*/ 1201989 w 1334797"/>
                <a:gd name="connsiteY129" fmla="*/ 657885 h 1031903"/>
                <a:gd name="connsiteX130" fmla="*/ 1197476 w 1334797"/>
                <a:gd name="connsiteY130" fmla="*/ 662900 h 1031903"/>
                <a:gd name="connsiteX131" fmla="*/ 1187952 w 1334797"/>
                <a:gd name="connsiteY131" fmla="*/ 662900 h 1031903"/>
                <a:gd name="connsiteX132" fmla="*/ 1182443 w 1334797"/>
                <a:gd name="connsiteY132" fmla="*/ 672929 h 1031903"/>
                <a:gd name="connsiteX133" fmla="*/ 1172919 w 1334797"/>
                <a:gd name="connsiteY133" fmla="*/ 677408 h 1031903"/>
                <a:gd name="connsiteX134" fmla="*/ 1172919 w 1334797"/>
                <a:gd name="connsiteY134" fmla="*/ 686940 h 1031903"/>
                <a:gd name="connsiteX135" fmla="*/ 1172919 w 1334797"/>
                <a:gd name="connsiteY135" fmla="*/ 691955 h 1031903"/>
                <a:gd name="connsiteX136" fmla="*/ 1177930 w 1334797"/>
                <a:gd name="connsiteY136" fmla="*/ 696970 h 1031903"/>
                <a:gd name="connsiteX137" fmla="*/ 1172919 w 1334797"/>
                <a:gd name="connsiteY137" fmla="*/ 706463 h 1031903"/>
                <a:gd name="connsiteX138" fmla="*/ 1168406 w 1334797"/>
                <a:gd name="connsiteY138" fmla="*/ 706463 h 1031903"/>
                <a:gd name="connsiteX139" fmla="*/ 1162897 w 1334797"/>
                <a:gd name="connsiteY139" fmla="*/ 715995 h 1031903"/>
                <a:gd name="connsiteX140" fmla="*/ 1153373 w 1334797"/>
                <a:gd name="connsiteY140" fmla="*/ 715995 h 1031903"/>
                <a:gd name="connsiteX141" fmla="*/ 1138309 w 1334797"/>
                <a:gd name="connsiteY141" fmla="*/ 715995 h 1031903"/>
                <a:gd name="connsiteX142" fmla="*/ 1138309 w 1334797"/>
                <a:gd name="connsiteY142" fmla="*/ 721507 h 1031903"/>
                <a:gd name="connsiteX143" fmla="*/ 1128816 w 1334797"/>
                <a:gd name="connsiteY143" fmla="*/ 711478 h 1031903"/>
                <a:gd name="connsiteX144" fmla="*/ 1124303 w 1334797"/>
                <a:gd name="connsiteY144" fmla="*/ 711478 h 1031903"/>
                <a:gd name="connsiteX145" fmla="*/ 1118762 w 1334797"/>
                <a:gd name="connsiteY145" fmla="*/ 715995 h 1031903"/>
                <a:gd name="connsiteX146" fmla="*/ 1109269 w 1334797"/>
                <a:gd name="connsiteY146" fmla="*/ 711478 h 1031903"/>
                <a:gd name="connsiteX147" fmla="*/ 1099216 w 1334797"/>
                <a:gd name="connsiteY147" fmla="*/ 711478 h 1031903"/>
                <a:gd name="connsiteX148" fmla="*/ 1094734 w 1334797"/>
                <a:gd name="connsiteY148" fmla="*/ 701984 h 1031903"/>
                <a:gd name="connsiteX149" fmla="*/ 1084681 w 1334797"/>
                <a:gd name="connsiteY149" fmla="*/ 701984 h 1031903"/>
                <a:gd name="connsiteX150" fmla="*/ 1084681 w 1334797"/>
                <a:gd name="connsiteY150" fmla="*/ 711478 h 1031903"/>
                <a:gd name="connsiteX151" fmla="*/ 1079670 w 1334797"/>
                <a:gd name="connsiteY151" fmla="*/ 721507 h 1031903"/>
                <a:gd name="connsiteX152" fmla="*/ 1074659 w 1334797"/>
                <a:gd name="connsiteY152" fmla="*/ 715995 h 1031903"/>
                <a:gd name="connsiteX153" fmla="*/ 1065135 w 1334797"/>
                <a:gd name="connsiteY153" fmla="*/ 721507 h 1031903"/>
                <a:gd name="connsiteX154" fmla="*/ 1060653 w 1334797"/>
                <a:gd name="connsiteY154" fmla="*/ 715995 h 1031903"/>
                <a:gd name="connsiteX155" fmla="*/ 1055113 w 1334797"/>
                <a:gd name="connsiteY155" fmla="*/ 731039 h 1031903"/>
                <a:gd name="connsiteX156" fmla="*/ 1050600 w 1334797"/>
                <a:gd name="connsiteY156" fmla="*/ 731039 h 1031903"/>
                <a:gd name="connsiteX157" fmla="*/ 1035567 w 1334797"/>
                <a:gd name="connsiteY157" fmla="*/ 735556 h 1031903"/>
                <a:gd name="connsiteX158" fmla="*/ 1031054 w 1334797"/>
                <a:gd name="connsiteY158" fmla="*/ 731039 h 1031903"/>
                <a:gd name="connsiteX159" fmla="*/ 1011010 w 1334797"/>
                <a:gd name="connsiteY159" fmla="*/ 745547 h 1031903"/>
                <a:gd name="connsiteX160" fmla="*/ 1001486 w 1334797"/>
                <a:gd name="connsiteY160" fmla="*/ 741068 h 1031903"/>
                <a:gd name="connsiteX161" fmla="*/ 996972 w 1334797"/>
                <a:gd name="connsiteY161" fmla="*/ 741068 h 1031903"/>
                <a:gd name="connsiteX162" fmla="*/ 991463 w 1334797"/>
                <a:gd name="connsiteY162" fmla="*/ 750562 h 1031903"/>
                <a:gd name="connsiteX163" fmla="*/ 986950 w 1334797"/>
                <a:gd name="connsiteY163" fmla="*/ 760591 h 1031903"/>
                <a:gd name="connsiteX164" fmla="*/ 977426 w 1334797"/>
                <a:gd name="connsiteY164" fmla="*/ 760591 h 1031903"/>
                <a:gd name="connsiteX165" fmla="*/ 972614 w 1334797"/>
                <a:gd name="connsiteY165" fmla="*/ 764537 h 1031903"/>
                <a:gd name="connsiteX166" fmla="*/ 977336 w 1334797"/>
                <a:gd name="connsiteY166" fmla="*/ 773921 h 1031903"/>
                <a:gd name="connsiteX167" fmla="*/ 977336 w 1334797"/>
                <a:gd name="connsiteY167" fmla="*/ 783391 h 1031903"/>
                <a:gd name="connsiteX168" fmla="*/ 972305 w 1334797"/>
                <a:gd name="connsiteY168" fmla="*/ 798411 h 1031903"/>
                <a:gd name="connsiteX169" fmla="*/ 982316 w 1334797"/>
                <a:gd name="connsiteY169" fmla="*/ 798411 h 1031903"/>
                <a:gd name="connsiteX170" fmla="*/ 982316 w 1334797"/>
                <a:gd name="connsiteY170" fmla="*/ 812418 h 1031903"/>
                <a:gd name="connsiteX171" fmla="*/ 991814 w 1334797"/>
                <a:gd name="connsiteY171" fmla="*/ 817924 h 1031903"/>
                <a:gd name="connsiteX172" fmla="*/ 1001313 w 1334797"/>
                <a:gd name="connsiteY172" fmla="*/ 817924 h 1031903"/>
                <a:gd name="connsiteX173" fmla="*/ 1001313 w 1334797"/>
                <a:gd name="connsiteY173" fmla="*/ 822417 h 1031903"/>
                <a:gd name="connsiteX174" fmla="*/ 1011324 w 1334797"/>
                <a:gd name="connsiteY174" fmla="*/ 827394 h 1031903"/>
                <a:gd name="connsiteX175" fmla="*/ 1016304 w 1334797"/>
                <a:gd name="connsiteY175" fmla="*/ 831887 h 1031903"/>
                <a:gd name="connsiteX176" fmla="*/ 1011324 w 1334797"/>
                <a:gd name="connsiteY176" fmla="*/ 837393 h 1031903"/>
                <a:gd name="connsiteX177" fmla="*/ 1021849 w 1334797"/>
                <a:gd name="connsiteY177" fmla="*/ 841885 h 1031903"/>
                <a:gd name="connsiteX178" fmla="*/ 1026316 w 1334797"/>
                <a:gd name="connsiteY178" fmla="*/ 846907 h 1031903"/>
                <a:gd name="connsiteX179" fmla="*/ 1016304 w 1334797"/>
                <a:gd name="connsiteY179" fmla="*/ 856905 h 1031903"/>
                <a:gd name="connsiteX180" fmla="*/ 1021849 w 1334797"/>
                <a:gd name="connsiteY180" fmla="*/ 861398 h 1031903"/>
                <a:gd name="connsiteX181" fmla="*/ 1021849 w 1334797"/>
                <a:gd name="connsiteY181" fmla="*/ 866419 h 1031903"/>
                <a:gd name="connsiteX182" fmla="*/ 1016304 w 1334797"/>
                <a:gd name="connsiteY182" fmla="*/ 870912 h 1031903"/>
                <a:gd name="connsiteX183" fmla="*/ 1016304 w 1334797"/>
                <a:gd name="connsiteY183" fmla="*/ 880911 h 1031903"/>
                <a:gd name="connsiteX184" fmla="*/ 1026316 w 1334797"/>
                <a:gd name="connsiteY184" fmla="*/ 890381 h 1031903"/>
                <a:gd name="connsiteX185" fmla="*/ 1016304 w 1334797"/>
                <a:gd name="connsiteY185" fmla="*/ 905401 h 1031903"/>
                <a:gd name="connsiteX186" fmla="*/ 1016304 w 1334797"/>
                <a:gd name="connsiteY186" fmla="*/ 914915 h 1031903"/>
                <a:gd name="connsiteX187" fmla="*/ 1011324 w 1334797"/>
                <a:gd name="connsiteY187" fmla="*/ 919407 h 1031903"/>
                <a:gd name="connsiteX188" fmla="*/ 1001313 w 1334797"/>
                <a:gd name="connsiteY188" fmla="*/ 929406 h 1031903"/>
                <a:gd name="connsiteX189" fmla="*/ 996794 w 1334797"/>
                <a:gd name="connsiteY189" fmla="*/ 929406 h 1031903"/>
                <a:gd name="connsiteX190" fmla="*/ 991814 w 1334797"/>
                <a:gd name="connsiteY190" fmla="*/ 934383 h 1031903"/>
                <a:gd name="connsiteX191" fmla="*/ 987296 w 1334797"/>
                <a:gd name="connsiteY191" fmla="*/ 934383 h 1031903"/>
                <a:gd name="connsiteX192" fmla="*/ 987296 w 1334797"/>
                <a:gd name="connsiteY192" fmla="*/ 938876 h 1031903"/>
                <a:gd name="connsiteX193" fmla="*/ 977336 w 1334797"/>
                <a:gd name="connsiteY193" fmla="*/ 938876 h 1031903"/>
                <a:gd name="connsiteX194" fmla="*/ 972305 w 1334797"/>
                <a:gd name="connsiteY194" fmla="*/ 944382 h 1031903"/>
                <a:gd name="connsiteX195" fmla="*/ 967787 w 1334797"/>
                <a:gd name="connsiteY195" fmla="*/ 938876 h 1031903"/>
                <a:gd name="connsiteX196" fmla="*/ 958288 w 1334797"/>
                <a:gd name="connsiteY196" fmla="*/ 944382 h 1031903"/>
                <a:gd name="connsiteX197" fmla="*/ 952795 w 1334797"/>
                <a:gd name="connsiteY197" fmla="*/ 948875 h 1031903"/>
                <a:gd name="connsiteX198" fmla="*/ 948328 w 1334797"/>
                <a:gd name="connsiteY198" fmla="*/ 963895 h 1031903"/>
                <a:gd name="connsiteX199" fmla="*/ 952795 w 1334797"/>
                <a:gd name="connsiteY199" fmla="*/ 963895 h 1031903"/>
                <a:gd name="connsiteX200" fmla="*/ 962806 w 1334797"/>
                <a:gd name="connsiteY200" fmla="*/ 973409 h 1031903"/>
                <a:gd name="connsiteX201" fmla="*/ 958288 w 1334797"/>
                <a:gd name="connsiteY201" fmla="*/ 977901 h 1031903"/>
                <a:gd name="connsiteX202" fmla="*/ 958288 w 1334797"/>
                <a:gd name="connsiteY202" fmla="*/ 982879 h 1031903"/>
                <a:gd name="connsiteX203" fmla="*/ 962806 w 1334797"/>
                <a:gd name="connsiteY203" fmla="*/ 997370 h 1031903"/>
                <a:gd name="connsiteX204" fmla="*/ 967787 w 1334797"/>
                <a:gd name="connsiteY204" fmla="*/ 1006884 h 1031903"/>
                <a:gd name="connsiteX205" fmla="*/ 967787 w 1334797"/>
                <a:gd name="connsiteY205" fmla="*/ 1012390 h 1031903"/>
                <a:gd name="connsiteX206" fmla="*/ 962806 w 1334797"/>
                <a:gd name="connsiteY206" fmla="*/ 1021904 h 1031903"/>
                <a:gd name="connsiteX207" fmla="*/ 958288 w 1334797"/>
                <a:gd name="connsiteY207" fmla="*/ 1021904 h 1031903"/>
                <a:gd name="connsiteX208" fmla="*/ 952795 w 1334797"/>
                <a:gd name="connsiteY208" fmla="*/ 1026397 h 1031903"/>
                <a:gd name="connsiteX209" fmla="*/ 943297 w 1334797"/>
                <a:gd name="connsiteY209" fmla="*/ 1031903 h 1031903"/>
                <a:gd name="connsiteX210" fmla="*/ 937803 w 1334797"/>
                <a:gd name="connsiteY210" fmla="*/ 1026397 h 1031903"/>
                <a:gd name="connsiteX211" fmla="*/ 933285 w 1334797"/>
                <a:gd name="connsiteY211" fmla="*/ 1021904 h 1031903"/>
                <a:gd name="connsiteX212" fmla="*/ 933285 w 1334797"/>
                <a:gd name="connsiteY212" fmla="*/ 1016883 h 1031903"/>
                <a:gd name="connsiteX213" fmla="*/ 928305 w 1334797"/>
                <a:gd name="connsiteY213" fmla="*/ 1016883 h 1031903"/>
                <a:gd name="connsiteX214" fmla="*/ 928305 w 1334797"/>
                <a:gd name="connsiteY214" fmla="*/ 1006884 h 1031903"/>
                <a:gd name="connsiteX215" fmla="*/ 923787 w 1334797"/>
                <a:gd name="connsiteY215" fmla="*/ 1002391 h 1031903"/>
                <a:gd name="connsiteX216" fmla="*/ 918293 w 1334797"/>
                <a:gd name="connsiteY216" fmla="*/ 997370 h 1031903"/>
                <a:gd name="connsiteX217" fmla="*/ 918293 w 1334797"/>
                <a:gd name="connsiteY217" fmla="*/ 987900 h 1031903"/>
                <a:gd name="connsiteX218" fmla="*/ 908795 w 1334797"/>
                <a:gd name="connsiteY218" fmla="*/ 982879 h 1031903"/>
                <a:gd name="connsiteX219" fmla="*/ 899297 w 1334797"/>
                <a:gd name="connsiteY219" fmla="*/ 987900 h 1031903"/>
                <a:gd name="connsiteX220" fmla="*/ 904277 w 1334797"/>
                <a:gd name="connsiteY220" fmla="*/ 1002391 h 1031903"/>
                <a:gd name="connsiteX221" fmla="*/ 899297 w 1334797"/>
                <a:gd name="connsiteY221" fmla="*/ 1002391 h 1031903"/>
                <a:gd name="connsiteX222" fmla="*/ 899297 w 1334797"/>
                <a:gd name="connsiteY222" fmla="*/ 997370 h 1031903"/>
                <a:gd name="connsiteX223" fmla="*/ 884767 w 1334797"/>
                <a:gd name="connsiteY223" fmla="*/ 992877 h 1031903"/>
                <a:gd name="connsiteX224" fmla="*/ 879787 w 1334797"/>
                <a:gd name="connsiteY224" fmla="*/ 992877 h 1031903"/>
                <a:gd name="connsiteX225" fmla="*/ 864796 w 1334797"/>
                <a:gd name="connsiteY225" fmla="*/ 992877 h 1031903"/>
                <a:gd name="connsiteX226" fmla="*/ 864796 w 1334797"/>
                <a:gd name="connsiteY226" fmla="*/ 982879 h 1031903"/>
                <a:gd name="connsiteX227" fmla="*/ 854784 w 1334797"/>
                <a:gd name="connsiteY227" fmla="*/ 982879 h 1031903"/>
                <a:gd name="connsiteX228" fmla="*/ 850266 w 1334797"/>
                <a:gd name="connsiteY228" fmla="*/ 968387 h 1031903"/>
                <a:gd name="connsiteX229" fmla="*/ 854784 w 1334797"/>
                <a:gd name="connsiteY229" fmla="*/ 968387 h 1031903"/>
                <a:gd name="connsiteX230" fmla="*/ 850266 w 1334797"/>
                <a:gd name="connsiteY230" fmla="*/ 958389 h 1031903"/>
                <a:gd name="connsiteX231" fmla="*/ 845286 w 1334797"/>
                <a:gd name="connsiteY231" fmla="*/ 963895 h 1031903"/>
                <a:gd name="connsiteX232" fmla="*/ 840768 w 1334797"/>
                <a:gd name="connsiteY232" fmla="*/ 958389 h 1031903"/>
                <a:gd name="connsiteX233" fmla="*/ 830756 w 1334797"/>
                <a:gd name="connsiteY233" fmla="*/ 958389 h 1031903"/>
                <a:gd name="connsiteX234" fmla="*/ 825776 w 1334797"/>
                <a:gd name="connsiteY234" fmla="*/ 953896 h 1031903"/>
                <a:gd name="connsiteX235" fmla="*/ 821258 w 1334797"/>
                <a:gd name="connsiteY235" fmla="*/ 953896 h 1031903"/>
                <a:gd name="connsiteX236" fmla="*/ 816278 w 1334797"/>
                <a:gd name="connsiteY236" fmla="*/ 953896 h 1031903"/>
                <a:gd name="connsiteX237" fmla="*/ 811246 w 1334797"/>
                <a:gd name="connsiteY237" fmla="*/ 938876 h 1031903"/>
                <a:gd name="connsiteX238" fmla="*/ 811246 w 1334797"/>
                <a:gd name="connsiteY238" fmla="*/ 934383 h 1031903"/>
                <a:gd name="connsiteX239" fmla="*/ 811246 w 1334797"/>
                <a:gd name="connsiteY239" fmla="*/ 924913 h 1031903"/>
                <a:gd name="connsiteX240" fmla="*/ 811246 w 1334797"/>
                <a:gd name="connsiteY240" fmla="*/ 914915 h 1031903"/>
                <a:gd name="connsiteX241" fmla="*/ 806266 w 1334797"/>
                <a:gd name="connsiteY241" fmla="*/ 914915 h 1031903"/>
                <a:gd name="connsiteX242" fmla="*/ 811246 w 1334797"/>
                <a:gd name="connsiteY242" fmla="*/ 909893 h 1031903"/>
                <a:gd name="connsiteX243" fmla="*/ 806266 w 1334797"/>
                <a:gd name="connsiteY243" fmla="*/ 900379 h 1031903"/>
                <a:gd name="connsiteX244" fmla="*/ 811246 w 1334797"/>
                <a:gd name="connsiteY244" fmla="*/ 900379 h 1031903"/>
                <a:gd name="connsiteX245" fmla="*/ 811246 w 1334797"/>
                <a:gd name="connsiteY245" fmla="*/ 890381 h 1031903"/>
                <a:gd name="connsiteX246" fmla="*/ 806266 w 1334797"/>
                <a:gd name="connsiteY246" fmla="*/ 885888 h 1031903"/>
                <a:gd name="connsiteX247" fmla="*/ 806266 w 1334797"/>
                <a:gd name="connsiteY247" fmla="*/ 876418 h 1031903"/>
                <a:gd name="connsiteX248" fmla="*/ 801235 w 1334797"/>
                <a:gd name="connsiteY248" fmla="*/ 876418 h 1031903"/>
                <a:gd name="connsiteX249" fmla="*/ 796768 w 1334797"/>
                <a:gd name="connsiteY249" fmla="*/ 870912 h 1031903"/>
                <a:gd name="connsiteX250" fmla="*/ 791275 w 1334797"/>
                <a:gd name="connsiteY250" fmla="*/ 866419 h 1031903"/>
                <a:gd name="connsiteX251" fmla="*/ 777258 w 1334797"/>
                <a:gd name="connsiteY251" fmla="*/ 861398 h 1031903"/>
                <a:gd name="connsiteX252" fmla="*/ 767247 w 1334797"/>
                <a:gd name="connsiteY252" fmla="*/ 861398 h 1031903"/>
                <a:gd name="connsiteX253" fmla="*/ 767247 w 1334797"/>
                <a:gd name="connsiteY253" fmla="*/ 866419 h 1031903"/>
                <a:gd name="connsiteX254" fmla="*/ 757749 w 1334797"/>
                <a:gd name="connsiteY254" fmla="*/ 866419 h 1031903"/>
                <a:gd name="connsiteX255" fmla="*/ 752255 w 1334797"/>
                <a:gd name="connsiteY255" fmla="*/ 866419 h 1031903"/>
                <a:gd name="connsiteX256" fmla="*/ 742757 w 1334797"/>
                <a:gd name="connsiteY256" fmla="*/ 870912 h 1031903"/>
                <a:gd name="connsiteX257" fmla="*/ 738239 w 1334797"/>
                <a:gd name="connsiteY257" fmla="*/ 870912 h 1031903"/>
                <a:gd name="connsiteX258" fmla="*/ 738239 w 1334797"/>
                <a:gd name="connsiteY258" fmla="*/ 876418 h 1031903"/>
                <a:gd name="connsiteX259" fmla="*/ 733259 w 1334797"/>
                <a:gd name="connsiteY259" fmla="*/ 876418 h 1031903"/>
                <a:gd name="connsiteX260" fmla="*/ 727714 w 1334797"/>
                <a:gd name="connsiteY260" fmla="*/ 870912 h 1031903"/>
                <a:gd name="connsiteX261" fmla="*/ 727714 w 1334797"/>
                <a:gd name="connsiteY261" fmla="*/ 876418 h 1031903"/>
                <a:gd name="connsiteX262" fmla="*/ 727714 w 1334797"/>
                <a:gd name="connsiteY262" fmla="*/ 880911 h 1031903"/>
                <a:gd name="connsiteX263" fmla="*/ 727714 w 1334797"/>
                <a:gd name="connsiteY263" fmla="*/ 885888 h 1031903"/>
                <a:gd name="connsiteX264" fmla="*/ 718216 w 1334797"/>
                <a:gd name="connsiteY264" fmla="*/ 885888 h 1031903"/>
                <a:gd name="connsiteX265" fmla="*/ 713749 w 1334797"/>
                <a:gd name="connsiteY265" fmla="*/ 890381 h 1031903"/>
                <a:gd name="connsiteX266" fmla="*/ 703737 w 1334797"/>
                <a:gd name="connsiteY266" fmla="*/ 900379 h 1031903"/>
                <a:gd name="connsiteX267" fmla="*/ 694239 w 1334797"/>
                <a:gd name="connsiteY267" fmla="*/ 900379 h 1031903"/>
                <a:gd name="connsiteX268" fmla="*/ 694239 w 1334797"/>
                <a:gd name="connsiteY268" fmla="*/ 914915 h 1031903"/>
                <a:gd name="connsiteX269" fmla="*/ 684227 w 1334797"/>
                <a:gd name="connsiteY269" fmla="*/ 914915 h 1031903"/>
                <a:gd name="connsiteX270" fmla="*/ 679196 w 1334797"/>
                <a:gd name="connsiteY270" fmla="*/ 914915 h 1031903"/>
                <a:gd name="connsiteX271" fmla="*/ 674729 w 1334797"/>
                <a:gd name="connsiteY271" fmla="*/ 905401 h 1031903"/>
                <a:gd name="connsiteX272" fmla="*/ 664718 w 1334797"/>
                <a:gd name="connsiteY272" fmla="*/ 909893 h 1031903"/>
                <a:gd name="connsiteX273" fmla="*/ 664718 w 1334797"/>
                <a:gd name="connsiteY273" fmla="*/ 914915 h 1031903"/>
                <a:gd name="connsiteX274" fmla="*/ 654706 w 1334797"/>
                <a:gd name="connsiteY274" fmla="*/ 914915 h 1031903"/>
                <a:gd name="connsiteX275" fmla="*/ 649726 w 1334797"/>
                <a:gd name="connsiteY275" fmla="*/ 914915 h 1031903"/>
                <a:gd name="connsiteX276" fmla="*/ 654706 w 1334797"/>
                <a:gd name="connsiteY276" fmla="*/ 905401 h 1031903"/>
                <a:gd name="connsiteX277" fmla="*/ 654706 w 1334797"/>
                <a:gd name="connsiteY277" fmla="*/ 885888 h 1031903"/>
                <a:gd name="connsiteX278" fmla="*/ 654706 w 1334797"/>
                <a:gd name="connsiteY278" fmla="*/ 870912 h 1031903"/>
                <a:gd name="connsiteX279" fmla="*/ 649726 w 1334797"/>
                <a:gd name="connsiteY279" fmla="*/ 870912 h 1031903"/>
                <a:gd name="connsiteX280" fmla="*/ 640228 w 1334797"/>
                <a:gd name="connsiteY280" fmla="*/ 876418 h 1031903"/>
                <a:gd name="connsiteX281" fmla="*/ 635196 w 1334797"/>
                <a:gd name="connsiteY281" fmla="*/ 876418 h 1031903"/>
                <a:gd name="connsiteX282" fmla="*/ 620718 w 1334797"/>
                <a:gd name="connsiteY282" fmla="*/ 870912 h 1031903"/>
                <a:gd name="connsiteX283" fmla="*/ 615686 w 1334797"/>
                <a:gd name="connsiteY283" fmla="*/ 861398 h 1031903"/>
                <a:gd name="connsiteX284" fmla="*/ 615686 w 1334797"/>
                <a:gd name="connsiteY284" fmla="*/ 851399 h 1031903"/>
                <a:gd name="connsiteX285" fmla="*/ 611220 w 1334797"/>
                <a:gd name="connsiteY285" fmla="*/ 846907 h 1031903"/>
                <a:gd name="connsiteX286" fmla="*/ 611220 w 1334797"/>
                <a:gd name="connsiteY286" fmla="*/ 841885 h 1031903"/>
                <a:gd name="connsiteX287" fmla="*/ 620718 w 1334797"/>
                <a:gd name="connsiteY287" fmla="*/ 831887 h 1031903"/>
                <a:gd name="connsiteX288" fmla="*/ 605675 w 1334797"/>
                <a:gd name="connsiteY288" fmla="*/ 817924 h 1031903"/>
                <a:gd name="connsiteX289" fmla="*/ 586165 w 1334797"/>
                <a:gd name="connsiteY289" fmla="*/ 812418 h 1031903"/>
                <a:gd name="connsiteX290" fmla="*/ 581185 w 1334797"/>
                <a:gd name="connsiteY290" fmla="*/ 817924 h 1031903"/>
                <a:gd name="connsiteX291" fmla="*/ 586165 w 1334797"/>
                <a:gd name="connsiteY291" fmla="*/ 827394 h 1031903"/>
                <a:gd name="connsiteX292" fmla="*/ 576667 w 1334797"/>
                <a:gd name="connsiteY292" fmla="*/ 841885 h 1031903"/>
                <a:gd name="connsiteX293" fmla="*/ 571687 w 1334797"/>
                <a:gd name="connsiteY293" fmla="*/ 841885 h 1031903"/>
                <a:gd name="connsiteX294" fmla="*/ 571687 w 1334797"/>
                <a:gd name="connsiteY294" fmla="*/ 837393 h 1031903"/>
                <a:gd name="connsiteX295" fmla="*/ 561675 w 1334797"/>
                <a:gd name="connsiteY295" fmla="*/ 837393 h 1031903"/>
                <a:gd name="connsiteX296" fmla="*/ 557157 w 1334797"/>
                <a:gd name="connsiteY296" fmla="*/ 831887 h 1031903"/>
                <a:gd name="connsiteX297" fmla="*/ 552177 w 1334797"/>
                <a:gd name="connsiteY297" fmla="*/ 841885 h 1031903"/>
                <a:gd name="connsiteX298" fmla="*/ 547659 w 1334797"/>
                <a:gd name="connsiteY298" fmla="*/ 841885 h 1031903"/>
                <a:gd name="connsiteX299" fmla="*/ 542165 w 1334797"/>
                <a:gd name="connsiteY299" fmla="*/ 846907 h 1031903"/>
                <a:gd name="connsiteX300" fmla="*/ 547659 w 1334797"/>
                <a:gd name="connsiteY300" fmla="*/ 846907 h 1031903"/>
                <a:gd name="connsiteX301" fmla="*/ 542165 w 1334797"/>
                <a:gd name="connsiteY301" fmla="*/ 851399 h 1031903"/>
                <a:gd name="connsiteX302" fmla="*/ 537647 w 1334797"/>
                <a:gd name="connsiteY302" fmla="*/ 846907 h 1031903"/>
                <a:gd name="connsiteX303" fmla="*/ 532667 w 1334797"/>
                <a:gd name="connsiteY303" fmla="*/ 846907 h 1031903"/>
                <a:gd name="connsiteX304" fmla="*/ 528149 w 1334797"/>
                <a:gd name="connsiteY304" fmla="*/ 837393 h 1031903"/>
                <a:gd name="connsiteX305" fmla="*/ 518189 w 1334797"/>
                <a:gd name="connsiteY305" fmla="*/ 841885 h 1031903"/>
                <a:gd name="connsiteX306" fmla="*/ 507664 w 1334797"/>
                <a:gd name="connsiteY306" fmla="*/ 837393 h 1031903"/>
                <a:gd name="connsiteX307" fmla="*/ 498166 w 1334797"/>
                <a:gd name="connsiteY307" fmla="*/ 841885 h 1031903"/>
                <a:gd name="connsiteX308" fmla="*/ 488668 w 1334797"/>
                <a:gd name="connsiteY308" fmla="*/ 841885 h 1031903"/>
                <a:gd name="connsiteX309" fmla="*/ 478656 w 1334797"/>
                <a:gd name="connsiteY309" fmla="*/ 846907 h 1031903"/>
                <a:gd name="connsiteX310" fmla="*/ 474138 w 1334797"/>
                <a:gd name="connsiteY310" fmla="*/ 856905 h 1031903"/>
                <a:gd name="connsiteX311" fmla="*/ 469158 w 1334797"/>
                <a:gd name="connsiteY311" fmla="*/ 856905 h 1031903"/>
                <a:gd name="connsiteX312" fmla="*/ 464640 w 1334797"/>
                <a:gd name="connsiteY312" fmla="*/ 856905 h 1031903"/>
                <a:gd name="connsiteX313" fmla="*/ 454628 w 1334797"/>
                <a:gd name="connsiteY313" fmla="*/ 856905 h 1031903"/>
                <a:gd name="connsiteX314" fmla="*/ 434656 w 1334797"/>
                <a:gd name="connsiteY314" fmla="*/ 870912 h 1031903"/>
                <a:gd name="connsiteX315" fmla="*/ 434656 w 1334797"/>
                <a:gd name="connsiteY315" fmla="*/ 866419 h 1031903"/>
                <a:gd name="connsiteX316" fmla="*/ 430138 w 1334797"/>
                <a:gd name="connsiteY316" fmla="*/ 851399 h 1031903"/>
                <a:gd name="connsiteX317" fmla="*/ 430138 w 1334797"/>
                <a:gd name="connsiteY317" fmla="*/ 846907 h 1031903"/>
                <a:gd name="connsiteX318" fmla="*/ 424645 w 1334797"/>
                <a:gd name="connsiteY318" fmla="*/ 856905 h 1031903"/>
                <a:gd name="connsiteX319" fmla="*/ 410629 w 1334797"/>
                <a:gd name="connsiteY319" fmla="*/ 856905 h 1031903"/>
                <a:gd name="connsiteX320" fmla="*/ 405649 w 1334797"/>
                <a:gd name="connsiteY320" fmla="*/ 856905 h 1031903"/>
                <a:gd name="connsiteX321" fmla="*/ 405649 w 1334797"/>
                <a:gd name="connsiteY321" fmla="*/ 861398 h 1031903"/>
                <a:gd name="connsiteX322" fmla="*/ 410629 w 1334797"/>
                <a:gd name="connsiteY322" fmla="*/ 861398 h 1031903"/>
                <a:gd name="connsiteX323" fmla="*/ 410629 w 1334797"/>
                <a:gd name="connsiteY323" fmla="*/ 866419 h 1031903"/>
                <a:gd name="connsiteX324" fmla="*/ 395637 w 1334797"/>
                <a:gd name="connsiteY324" fmla="*/ 870912 h 1031903"/>
                <a:gd name="connsiteX325" fmla="*/ 386139 w 1334797"/>
                <a:gd name="connsiteY325" fmla="*/ 870912 h 1031903"/>
                <a:gd name="connsiteX326" fmla="*/ 391119 w 1334797"/>
                <a:gd name="connsiteY326" fmla="*/ 856905 h 1031903"/>
                <a:gd name="connsiteX327" fmla="*/ 376127 w 1334797"/>
                <a:gd name="connsiteY327" fmla="*/ 861398 h 1031903"/>
                <a:gd name="connsiteX328" fmla="*/ 376127 w 1334797"/>
                <a:gd name="connsiteY328" fmla="*/ 856905 h 1031903"/>
                <a:gd name="connsiteX329" fmla="*/ 371609 w 1334797"/>
                <a:gd name="connsiteY329" fmla="*/ 851399 h 1031903"/>
                <a:gd name="connsiteX330" fmla="*/ 371609 w 1334797"/>
                <a:gd name="connsiteY330" fmla="*/ 846907 h 1031903"/>
                <a:gd name="connsiteX331" fmla="*/ 361136 w 1334797"/>
                <a:gd name="connsiteY331" fmla="*/ 837393 h 1031903"/>
                <a:gd name="connsiteX332" fmla="*/ 347119 w 1334797"/>
                <a:gd name="connsiteY332" fmla="*/ 841885 h 1031903"/>
                <a:gd name="connsiteX333" fmla="*/ 337108 w 1334797"/>
                <a:gd name="connsiteY333" fmla="*/ 831887 h 1031903"/>
                <a:gd name="connsiteX334" fmla="*/ 332128 w 1334797"/>
                <a:gd name="connsiteY334" fmla="*/ 827394 h 1031903"/>
                <a:gd name="connsiteX335" fmla="*/ 327610 w 1334797"/>
                <a:gd name="connsiteY335" fmla="*/ 827394 h 1031903"/>
                <a:gd name="connsiteX336" fmla="*/ 322578 w 1334797"/>
                <a:gd name="connsiteY336" fmla="*/ 837393 h 1031903"/>
                <a:gd name="connsiteX337" fmla="*/ 308100 w 1334797"/>
                <a:gd name="connsiteY337" fmla="*/ 841885 h 1031903"/>
                <a:gd name="connsiteX338" fmla="*/ 288077 w 1334797"/>
                <a:gd name="connsiteY338" fmla="*/ 827394 h 1031903"/>
                <a:gd name="connsiteX339" fmla="*/ 283610 w 1334797"/>
                <a:gd name="connsiteY339" fmla="*/ 831887 h 1031903"/>
                <a:gd name="connsiteX340" fmla="*/ 273598 w 1334797"/>
                <a:gd name="connsiteY340" fmla="*/ 827394 h 1031903"/>
                <a:gd name="connsiteX341" fmla="*/ 268567 w 1334797"/>
                <a:gd name="connsiteY341" fmla="*/ 822417 h 1031903"/>
                <a:gd name="connsiteX342" fmla="*/ 258607 w 1334797"/>
                <a:gd name="connsiteY342" fmla="*/ 822417 h 1031903"/>
                <a:gd name="connsiteX343" fmla="*/ 254089 w 1334797"/>
                <a:gd name="connsiteY343" fmla="*/ 822417 h 1031903"/>
                <a:gd name="connsiteX344" fmla="*/ 249057 w 1334797"/>
                <a:gd name="connsiteY344" fmla="*/ 817924 h 1031903"/>
                <a:gd name="connsiteX345" fmla="*/ 244591 w 1334797"/>
                <a:gd name="connsiteY345" fmla="*/ 817924 h 1031903"/>
                <a:gd name="connsiteX346" fmla="*/ 234579 w 1334797"/>
                <a:gd name="connsiteY346" fmla="*/ 812418 h 1031903"/>
                <a:gd name="connsiteX347" fmla="*/ 229599 w 1334797"/>
                <a:gd name="connsiteY347" fmla="*/ 812418 h 1031903"/>
                <a:gd name="connsiteX348" fmla="*/ 220049 w 1334797"/>
                <a:gd name="connsiteY348" fmla="*/ 807925 h 1031903"/>
                <a:gd name="connsiteX349" fmla="*/ 210089 w 1334797"/>
                <a:gd name="connsiteY349" fmla="*/ 812418 h 1031903"/>
                <a:gd name="connsiteX350" fmla="*/ 210089 w 1334797"/>
                <a:gd name="connsiteY350" fmla="*/ 817924 h 1031903"/>
                <a:gd name="connsiteX351" fmla="*/ 210089 w 1334797"/>
                <a:gd name="connsiteY351" fmla="*/ 827394 h 1031903"/>
                <a:gd name="connsiteX352" fmla="*/ 205058 w 1334797"/>
                <a:gd name="connsiteY352" fmla="*/ 827394 h 1031903"/>
                <a:gd name="connsiteX353" fmla="*/ 200540 w 1334797"/>
                <a:gd name="connsiteY353" fmla="*/ 831887 h 1031903"/>
                <a:gd name="connsiteX354" fmla="*/ 190579 w 1334797"/>
                <a:gd name="connsiteY354" fmla="*/ 831887 h 1031903"/>
                <a:gd name="connsiteX355" fmla="*/ 190579 w 1334797"/>
                <a:gd name="connsiteY355" fmla="*/ 837393 h 1031903"/>
                <a:gd name="connsiteX356" fmla="*/ 185548 w 1334797"/>
                <a:gd name="connsiteY356" fmla="*/ 837393 h 1031903"/>
                <a:gd name="connsiteX357" fmla="*/ 181081 w 1334797"/>
                <a:gd name="connsiteY357" fmla="*/ 841885 h 1031903"/>
                <a:gd name="connsiteX358" fmla="*/ 181081 w 1334797"/>
                <a:gd name="connsiteY358" fmla="*/ 846907 h 1031903"/>
                <a:gd name="connsiteX359" fmla="*/ 171070 w 1334797"/>
                <a:gd name="connsiteY359" fmla="*/ 851399 h 1031903"/>
                <a:gd name="connsiteX360" fmla="*/ 166038 w 1334797"/>
                <a:gd name="connsiteY360" fmla="*/ 851399 h 1031903"/>
                <a:gd name="connsiteX361" fmla="*/ 151560 w 1334797"/>
                <a:gd name="connsiteY361" fmla="*/ 851399 h 1031903"/>
                <a:gd name="connsiteX362" fmla="*/ 151560 w 1334797"/>
                <a:gd name="connsiteY362" fmla="*/ 841885 h 1031903"/>
                <a:gd name="connsiteX363" fmla="*/ 146528 w 1334797"/>
                <a:gd name="connsiteY363" fmla="*/ 837393 h 1031903"/>
                <a:gd name="connsiteX364" fmla="*/ 137030 w 1334797"/>
                <a:gd name="connsiteY364" fmla="*/ 837393 h 1031903"/>
                <a:gd name="connsiteX365" fmla="*/ 131537 w 1334797"/>
                <a:gd name="connsiteY365" fmla="*/ 837393 h 1031903"/>
                <a:gd name="connsiteX366" fmla="*/ 127019 w 1334797"/>
                <a:gd name="connsiteY366" fmla="*/ 822417 h 1031903"/>
                <a:gd name="connsiteX367" fmla="*/ 122038 w 1334797"/>
                <a:gd name="connsiteY367" fmla="*/ 812418 h 1031903"/>
                <a:gd name="connsiteX368" fmla="*/ 117520 w 1334797"/>
                <a:gd name="connsiteY368" fmla="*/ 802904 h 1031903"/>
                <a:gd name="connsiteX369" fmla="*/ 117520 w 1334797"/>
                <a:gd name="connsiteY369" fmla="*/ 793390 h 1031903"/>
                <a:gd name="connsiteX370" fmla="*/ 122038 w 1334797"/>
                <a:gd name="connsiteY370" fmla="*/ 793390 h 1031903"/>
                <a:gd name="connsiteX371" fmla="*/ 117520 w 1334797"/>
                <a:gd name="connsiteY371" fmla="*/ 783391 h 1031903"/>
                <a:gd name="connsiteX372" fmla="*/ 112027 w 1334797"/>
                <a:gd name="connsiteY372" fmla="*/ 783391 h 1031903"/>
                <a:gd name="connsiteX373" fmla="*/ 112027 w 1334797"/>
                <a:gd name="connsiteY373" fmla="*/ 773921 h 1031903"/>
                <a:gd name="connsiteX374" fmla="*/ 107509 w 1334797"/>
                <a:gd name="connsiteY374" fmla="*/ 769429 h 1031903"/>
                <a:gd name="connsiteX375" fmla="*/ 102529 w 1334797"/>
                <a:gd name="connsiteY375" fmla="*/ 763923 h 1031903"/>
                <a:gd name="connsiteX376" fmla="*/ 102529 w 1334797"/>
                <a:gd name="connsiteY376" fmla="*/ 754409 h 1031903"/>
                <a:gd name="connsiteX377" fmla="*/ 112027 w 1334797"/>
                <a:gd name="connsiteY377" fmla="*/ 754409 h 1031903"/>
                <a:gd name="connsiteX378" fmla="*/ 122038 w 1334797"/>
                <a:gd name="connsiteY378" fmla="*/ 754409 h 1031903"/>
                <a:gd name="connsiteX379" fmla="*/ 122038 w 1334797"/>
                <a:gd name="connsiteY379" fmla="*/ 749916 h 1031903"/>
                <a:gd name="connsiteX380" fmla="*/ 127019 w 1334797"/>
                <a:gd name="connsiteY380" fmla="*/ 754409 h 1031903"/>
                <a:gd name="connsiteX381" fmla="*/ 131537 w 1334797"/>
                <a:gd name="connsiteY381" fmla="*/ 759386 h 1031903"/>
                <a:gd name="connsiteX382" fmla="*/ 137030 w 1334797"/>
                <a:gd name="connsiteY382" fmla="*/ 759386 h 1031903"/>
                <a:gd name="connsiteX383" fmla="*/ 141548 w 1334797"/>
                <a:gd name="connsiteY383" fmla="*/ 754409 h 1031903"/>
                <a:gd name="connsiteX384" fmla="*/ 146528 w 1334797"/>
                <a:gd name="connsiteY384" fmla="*/ 759386 h 1031903"/>
                <a:gd name="connsiteX385" fmla="*/ 146528 w 1334797"/>
                <a:gd name="connsiteY385" fmla="*/ 754409 h 1031903"/>
                <a:gd name="connsiteX386" fmla="*/ 161571 w 1334797"/>
                <a:gd name="connsiteY386" fmla="*/ 754409 h 1031903"/>
                <a:gd name="connsiteX387" fmla="*/ 175536 w 1334797"/>
                <a:gd name="connsiteY387" fmla="*/ 754409 h 1031903"/>
                <a:gd name="connsiteX388" fmla="*/ 181081 w 1334797"/>
                <a:gd name="connsiteY388" fmla="*/ 759386 h 1031903"/>
                <a:gd name="connsiteX389" fmla="*/ 181081 w 1334797"/>
                <a:gd name="connsiteY389" fmla="*/ 749916 h 1031903"/>
                <a:gd name="connsiteX390" fmla="*/ 166038 w 1334797"/>
                <a:gd name="connsiteY390" fmla="*/ 744410 h 1031903"/>
                <a:gd name="connsiteX391" fmla="*/ 166038 w 1334797"/>
                <a:gd name="connsiteY391" fmla="*/ 734896 h 1031903"/>
                <a:gd name="connsiteX392" fmla="*/ 156540 w 1334797"/>
                <a:gd name="connsiteY392" fmla="*/ 739917 h 1031903"/>
                <a:gd name="connsiteX393" fmla="*/ 156540 w 1334797"/>
                <a:gd name="connsiteY393" fmla="*/ 744410 h 1031903"/>
                <a:gd name="connsiteX394" fmla="*/ 146528 w 1334797"/>
                <a:gd name="connsiteY394" fmla="*/ 744410 h 1031903"/>
                <a:gd name="connsiteX395" fmla="*/ 151560 w 1334797"/>
                <a:gd name="connsiteY395" fmla="*/ 734896 h 1031903"/>
                <a:gd name="connsiteX396" fmla="*/ 146528 w 1334797"/>
                <a:gd name="connsiteY396" fmla="*/ 734896 h 1031903"/>
                <a:gd name="connsiteX397" fmla="*/ 137030 w 1334797"/>
                <a:gd name="connsiteY397" fmla="*/ 730403 h 1031903"/>
                <a:gd name="connsiteX398" fmla="*/ 131537 w 1334797"/>
                <a:gd name="connsiteY398" fmla="*/ 730403 h 1031903"/>
                <a:gd name="connsiteX399" fmla="*/ 131537 w 1334797"/>
                <a:gd name="connsiteY399" fmla="*/ 724897 h 1031903"/>
                <a:gd name="connsiteX400" fmla="*/ 127019 w 1334797"/>
                <a:gd name="connsiteY400" fmla="*/ 710891 h 1031903"/>
                <a:gd name="connsiteX401" fmla="*/ 122038 w 1334797"/>
                <a:gd name="connsiteY401" fmla="*/ 700892 h 1031903"/>
                <a:gd name="connsiteX402" fmla="*/ 117520 w 1334797"/>
                <a:gd name="connsiteY402" fmla="*/ 695915 h 1031903"/>
                <a:gd name="connsiteX403" fmla="*/ 107509 w 1334797"/>
                <a:gd name="connsiteY403" fmla="*/ 691422 h 1031903"/>
                <a:gd name="connsiteX404" fmla="*/ 107509 w 1334797"/>
                <a:gd name="connsiteY404" fmla="*/ 666932 h 1031903"/>
                <a:gd name="connsiteX405" fmla="*/ 107509 w 1334797"/>
                <a:gd name="connsiteY405" fmla="*/ 652397 h 1031903"/>
                <a:gd name="connsiteX406" fmla="*/ 102529 w 1334797"/>
                <a:gd name="connsiteY406" fmla="*/ 642927 h 1031903"/>
                <a:gd name="connsiteX407" fmla="*/ 98011 w 1334797"/>
                <a:gd name="connsiteY407" fmla="*/ 642927 h 1031903"/>
                <a:gd name="connsiteX408" fmla="*/ 107509 w 1334797"/>
                <a:gd name="connsiteY408" fmla="*/ 637421 h 1031903"/>
                <a:gd name="connsiteX409" fmla="*/ 107509 w 1334797"/>
                <a:gd name="connsiteY409" fmla="*/ 627907 h 1031903"/>
                <a:gd name="connsiteX410" fmla="*/ 112027 w 1334797"/>
                <a:gd name="connsiteY410" fmla="*/ 618437 h 1031903"/>
                <a:gd name="connsiteX411" fmla="*/ 112027 w 1334797"/>
                <a:gd name="connsiteY411" fmla="*/ 613415 h 1031903"/>
                <a:gd name="connsiteX412" fmla="*/ 112027 w 1334797"/>
                <a:gd name="connsiteY412" fmla="*/ 603901 h 1031903"/>
                <a:gd name="connsiteX413" fmla="*/ 117520 w 1334797"/>
                <a:gd name="connsiteY413" fmla="*/ 594431 h 1031903"/>
                <a:gd name="connsiteX414" fmla="*/ 117520 w 1334797"/>
                <a:gd name="connsiteY414" fmla="*/ 588925 h 1031903"/>
                <a:gd name="connsiteX415" fmla="*/ 117520 w 1334797"/>
                <a:gd name="connsiteY415" fmla="*/ 584433 h 1031903"/>
                <a:gd name="connsiteX416" fmla="*/ 117520 w 1334797"/>
                <a:gd name="connsiteY416" fmla="*/ 579411 h 1031903"/>
                <a:gd name="connsiteX417" fmla="*/ 117520 w 1334797"/>
                <a:gd name="connsiteY417" fmla="*/ 569413 h 1031903"/>
                <a:gd name="connsiteX418" fmla="*/ 117520 w 1334797"/>
                <a:gd name="connsiteY418" fmla="*/ 564920 h 1031903"/>
                <a:gd name="connsiteX419" fmla="*/ 122038 w 1334797"/>
                <a:gd name="connsiteY419" fmla="*/ 555406 h 1031903"/>
                <a:gd name="connsiteX420" fmla="*/ 122038 w 1334797"/>
                <a:gd name="connsiteY420" fmla="*/ 549944 h 1031903"/>
                <a:gd name="connsiteX421" fmla="*/ 117520 w 1334797"/>
                <a:gd name="connsiteY421" fmla="*/ 549944 h 1031903"/>
                <a:gd name="connsiteX422" fmla="*/ 112027 w 1334797"/>
                <a:gd name="connsiteY422" fmla="*/ 555406 h 1031903"/>
                <a:gd name="connsiteX423" fmla="*/ 112027 w 1334797"/>
                <a:gd name="connsiteY423" fmla="*/ 549944 h 1031903"/>
                <a:gd name="connsiteX424" fmla="*/ 107509 w 1334797"/>
                <a:gd name="connsiteY424" fmla="*/ 530431 h 1031903"/>
                <a:gd name="connsiteX425" fmla="*/ 107509 w 1334797"/>
                <a:gd name="connsiteY425" fmla="*/ 520917 h 1031903"/>
                <a:gd name="connsiteX426" fmla="*/ 102529 w 1334797"/>
                <a:gd name="connsiteY426" fmla="*/ 506911 h 1031903"/>
                <a:gd name="connsiteX427" fmla="*/ 107509 w 1334797"/>
                <a:gd name="connsiteY427" fmla="*/ 491935 h 1031903"/>
                <a:gd name="connsiteX428" fmla="*/ 112027 w 1334797"/>
                <a:gd name="connsiteY428" fmla="*/ 481936 h 1031903"/>
                <a:gd name="connsiteX429" fmla="*/ 112027 w 1334797"/>
                <a:gd name="connsiteY429" fmla="*/ 472422 h 1031903"/>
                <a:gd name="connsiteX430" fmla="*/ 107509 w 1334797"/>
                <a:gd name="connsiteY430" fmla="*/ 448417 h 1031903"/>
                <a:gd name="connsiteX431" fmla="*/ 107509 w 1334797"/>
                <a:gd name="connsiteY431" fmla="*/ 442911 h 1031903"/>
                <a:gd name="connsiteX432" fmla="*/ 107509 w 1334797"/>
                <a:gd name="connsiteY432" fmla="*/ 438418 h 1031903"/>
                <a:gd name="connsiteX433" fmla="*/ 102529 w 1334797"/>
                <a:gd name="connsiteY433" fmla="*/ 438418 h 1031903"/>
                <a:gd name="connsiteX434" fmla="*/ 92517 w 1334797"/>
                <a:gd name="connsiteY434" fmla="*/ 423927 h 1031903"/>
                <a:gd name="connsiteX435" fmla="*/ 88050 w 1334797"/>
                <a:gd name="connsiteY435" fmla="*/ 409435 h 1031903"/>
                <a:gd name="connsiteX436" fmla="*/ 88050 w 1334797"/>
                <a:gd name="connsiteY436" fmla="*/ 404414 h 1031903"/>
                <a:gd name="connsiteX437" fmla="*/ 83019 w 1334797"/>
                <a:gd name="connsiteY437" fmla="*/ 394415 h 1031903"/>
                <a:gd name="connsiteX438" fmla="*/ 83019 w 1334797"/>
                <a:gd name="connsiteY438" fmla="*/ 389923 h 1031903"/>
                <a:gd name="connsiteX439" fmla="*/ 78501 w 1334797"/>
                <a:gd name="connsiteY439" fmla="*/ 384945 h 1031903"/>
                <a:gd name="connsiteX440" fmla="*/ 73521 w 1334797"/>
                <a:gd name="connsiteY440" fmla="*/ 374947 h 1031903"/>
                <a:gd name="connsiteX441" fmla="*/ 68027 w 1334797"/>
                <a:gd name="connsiteY441" fmla="*/ 370454 h 1031903"/>
                <a:gd name="connsiteX442" fmla="*/ 63509 w 1334797"/>
                <a:gd name="connsiteY442" fmla="*/ 360940 h 1031903"/>
                <a:gd name="connsiteX443" fmla="*/ 63509 w 1334797"/>
                <a:gd name="connsiteY443" fmla="*/ 355434 h 1031903"/>
                <a:gd name="connsiteX444" fmla="*/ 58529 w 1334797"/>
                <a:gd name="connsiteY444" fmla="*/ 350941 h 1031903"/>
                <a:gd name="connsiteX445" fmla="*/ 48518 w 1334797"/>
                <a:gd name="connsiteY445" fmla="*/ 345920 h 1031903"/>
                <a:gd name="connsiteX446" fmla="*/ 39019 w 1334797"/>
                <a:gd name="connsiteY446" fmla="*/ 345920 h 1031903"/>
                <a:gd name="connsiteX447" fmla="*/ 39019 w 1334797"/>
                <a:gd name="connsiteY447" fmla="*/ 341427 h 1031903"/>
                <a:gd name="connsiteX448" fmla="*/ 39019 w 1334797"/>
                <a:gd name="connsiteY448" fmla="*/ 331429 h 1031903"/>
                <a:gd name="connsiteX449" fmla="*/ 39019 w 1334797"/>
                <a:gd name="connsiteY449" fmla="*/ 321959 h 1031903"/>
                <a:gd name="connsiteX450" fmla="*/ 39019 w 1334797"/>
                <a:gd name="connsiteY450" fmla="*/ 312445 h 1031903"/>
                <a:gd name="connsiteX451" fmla="*/ 34501 w 1334797"/>
                <a:gd name="connsiteY451" fmla="*/ 292932 h 1031903"/>
                <a:gd name="connsiteX452" fmla="*/ 29008 w 1334797"/>
                <a:gd name="connsiteY452" fmla="*/ 292932 h 1031903"/>
                <a:gd name="connsiteX453" fmla="*/ 34501 w 1334797"/>
                <a:gd name="connsiteY453" fmla="*/ 277956 h 1031903"/>
                <a:gd name="connsiteX454" fmla="*/ 29008 w 1334797"/>
                <a:gd name="connsiteY454" fmla="*/ 267957 h 1031903"/>
                <a:gd name="connsiteX455" fmla="*/ 19510 w 1334797"/>
                <a:gd name="connsiteY455" fmla="*/ 263465 h 1031903"/>
                <a:gd name="connsiteX456" fmla="*/ 19510 w 1334797"/>
                <a:gd name="connsiteY456" fmla="*/ 258443 h 1031903"/>
                <a:gd name="connsiteX457" fmla="*/ 24490 w 1334797"/>
                <a:gd name="connsiteY457" fmla="*/ 248445 h 1031903"/>
                <a:gd name="connsiteX458" fmla="*/ 29008 w 1334797"/>
                <a:gd name="connsiteY458" fmla="*/ 243952 h 1031903"/>
                <a:gd name="connsiteX459" fmla="*/ 34501 w 1334797"/>
                <a:gd name="connsiteY459" fmla="*/ 238931 h 1031903"/>
                <a:gd name="connsiteX460" fmla="*/ 34501 w 1334797"/>
                <a:gd name="connsiteY460" fmla="*/ 229461 h 1031903"/>
                <a:gd name="connsiteX461" fmla="*/ 34501 w 1334797"/>
                <a:gd name="connsiteY461" fmla="*/ 219462 h 1031903"/>
                <a:gd name="connsiteX462" fmla="*/ 34501 w 1334797"/>
                <a:gd name="connsiteY462" fmla="*/ 214969 h 1031903"/>
                <a:gd name="connsiteX463" fmla="*/ 34501 w 1334797"/>
                <a:gd name="connsiteY463" fmla="*/ 199949 h 1031903"/>
                <a:gd name="connsiteX464" fmla="*/ 29008 w 1334797"/>
                <a:gd name="connsiteY464" fmla="*/ 195457 h 1031903"/>
                <a:gd name="connsiteX465" fmla="*/ 24490 w 1334797"/>
                <a:gd name="connsiteY465" fmla="*/ 190435 h 1031903"/>
                <a:gd name="connsiteX466" fmla="*/ 19510 w 1334797"/>
                <a:gd name="connsiteY466" fmla="*/ 185943 h 1031903"/>
                <a:gd name="connsiteX467" fmla="*/ 0 w 1334797"/>
                <a:gd name="connsiteY467" fmla="*/ 180437 h 1031903"/>
                <a:gd name="connsiteX468" fmla="*/ 4980 w 1334797"/>
                <a:gd name="connsiteY468" fmla="*/ 170967 h 1031903"/>
                <a:gd name="connsiteX469" fmla="*/ 0 w 1334797"/>
                <a:gd name="connsiteY469" fmla="*/ 160968 h 1031903"/>
                <a:gd name="connsiteX470" fmla="*/ 4980 w 1334797"/>
                <a:gd name="connsiteY470" fmla="*/ 151454 h 1031903"/>
                <a:gd name="connsiteX471" fmla="*/ 9498 w 1334797"/>
                <a:gd name="connsiteY471" fmla="*/ 151454 h 1031903"/>
                <a:gd name="connsiteX472" fmla="*/ 14992 w 1334797"/>
                <a:gd name="connsiteY472" fmla="*/ 151454 h 1031903"/>
                <a:gd name="connsiteX473" fmla="*/ 19510 w 1334797"/>
                <a:gd name="connsiteY473" fmla="*/ 160968 h 1031903"/>
                <a:gd name="connsiteX474" fmla="*/ 24490 w 1334797"/>
                <a:gd name="connsiteY474" fmla="*/ 160968 h 1031903"/>
                <a:gd name="connsiteX475" fmla="*/ 34501 w 1334797"/>
                <a:gd name="connsiteY475" fmla="*/ 156475 h 1031903"/>
                <a:gd name="connsiteX476" fmla="*/ 34501 w 1334797"/>
                <a:gd name="connsiteY476" fmla="*/ 160968 h 1031903"/>
                <a:gd name="connsiteX477" fmla="*/ 39019 w 1334797"/>
                <a:gd name="connsiteY477" fmla="*/ 160968 h 1031903"/>
                <a:gd name="connsiteX478" fmla="*/ 43999 w 1334797"/>
                <a:gd name="connsiteY478" fmla="*/ 170967 h 1031903"/>
                <a:gd name="connsiteX479" fmla="*/ 48518 w 1334797"/>
                <a:gd name="connsiteY479" fmla="*/ 175944 h 1031903"/>
                <a:gd name="connsiteX480" fmla="*/ 63509 w 1334797"/>
                <a:gd name="connsiteY480" fmla="*/ 180437 h 1031903"/>
                <a:gd name="connsiteX481" fmla="*/ 83019 w 1334797"/>
                <a:gd name="connsiteY481" fmla="*/ 180437 h 1031903"/>
                <a:gd name="connsiteX482" fmla="*/ 88050 w 1334797"/>
                <a:gd name="connsiteY482" fmla="*/ 185943 h 1031903"/>
                <a:gd name="connsiteX483" fmla="*/ 92517 w 1334797"/>
                <a:gd name="connsiteY483" fmla="*/ 185943 h 1031903"/>
                <a:gd name="connsiteX484" fmla="*/ 92517 w 1334797"/>
                <a:gd name="connsiteY484" fmla="*/ 190435 h 1031903"/>
                <a:gd name="connsiteX485" fmla="*/ 98011 w 1334797"/>
                <a:gd name="connsiteY485" fmla="*/ 195457 h 1031903"/>
                <a:gd name="connsiteX486" fmla="*/ 107509 w 1334797"/>
                <a:gd name="connsiteY486" fmla="*/ 195457 h 1031903"/>
                <a:gd name="connsiteX487" fmla="*/ 112027 w 1334797"/>
                <a:gd name="connsiteY487" fmla="*/ 195457 h 1031903"/>
                <a:gd name="connsiteX488" fmla="*/ 117520 w 1334797"/>
                <a:gd name="connsiteY488" fmla="*/ 199949 h 1031903"/>
                <a:gd name="connsiteX489" fmla="*/ 122038 w 1334797"/>
                <a:gd name="connsiteY489" fmla="*/ 199949 h 1031903"/>
                <a:gd name="connsiteX490" fmla="*/ 131537 w 1334797"/>
                <a:gd name="connsiteY490" fmla="*/ 195457 h 1031903"/>
                <a:gd name="connsiteX491" fmla="*/ 141548 w 1334797"/>
                <a:gd name="connsiteY491" fmla="*/ 195457 h 1031903"/>
                <a:gd name="connsiteX492" fmla="*/ 146528 w 1334797"/>
                <a:gd name="connsiteY492" fmla="*/ 195457 h 1031903"/>
                <a:gd name="connsiteX493" fmla="*/ 156540 w 1334797"/>
                <a:gd name="connsiteY493" fmla="*/ 195457 h 1031903"/>
                <a:gd name="connsiteX494" fmla="*/ 166038 w 1334797"/>
                <a:gd name="connsiteY494" fmla="*/ 190435 h 1031903"/>
                <a:gd name="connsiteX495" fmla="*/ 171070 w 1334797"/>
                <a:gd name="connsiteY495" fmla="*/ 175944 h 1031903"/>
                <a:gd name="connsiteX496" fmla="*/ 175536 w 1334797"/>
                <a:gd name="connsiteY496" fmla="*/ 180437 h 1031903"/>
                <a:gd name="connsiteX497" fmla="*/ 185548 w 1334797"/>
                <a:gd name="connsiteY497" fmla="*/ 175944 h 1031903"/>
                <a:gd name="connsiteX498" fmla="*/ 190579 w 1334797"/>
                <a:gd name="connsiteY498" fmla="*/ 170967 h 1031903"/>
                <a:gd name="connsiteX499" fmla="*/ 205058 w 1334797"/>
                <a:gd name="connsiteY499" fmla="*/ 170967 h 1031903"/>
                <a:gd name="connsiteX500" fmla="*/ 214556 w 1334797"/>
                <a:gd name="connsiteY500" fmla="*/ 175944 h 1031903"/>
                <a:gd name="connsiteX501" fmla="*/ 220049 w 1334797"/>
                <a:gd name="connsiteY501" fmla="*/ 175944 h 1031903"/>
                <a:gd name="connsiteX502" fmla="*/ 229599 w 1334797"/>
                <a:gd name="connsiteY502" fmla="*/ 180437 h 1031903"/>
                <a:gd name="connsiteX503" fmla="*/ 244591 w 1334797"/>
                <a:gd name="connsiteY503" fmla="*/ 180437 h 1031903"/>
                <a:gd name="connsiteX504" fmla="*/ 244591 w 1334797"/>
                <a:gd name="connsiteY504" fmla="*/ 190435 h 1031903"/>
                <a:gd name="connsiteX505" fmla="*/ 249057 w 1334797"/>
                <a:gd name="connsiteY505" fmla="*/ 199949 h 1031903"/>
                <a:gd name="connsiteX506" fmla="*/ 249057 w 1334797"/>
                <a:gd name="connsiteY506" fmla="*/ 205455 h 1031903"/>
                <a:gd name="connsiteX507" fmla="*/ 249057 w 1334797"/>
                <a:gd name="connsiteY507" fmla="*/ 209948 h 1031903"/>
                <a:gd name="connsiteX508" fmla="*/ 254089 w 1334797"/>
                <a:gd name="connsiteY508" fmla="*/ 214969 h 1031903"/>
                <a:gd name="connsiteX509" fmla="*/ 254089 w 1334797"/>
                <a:gd name="connsiteY509" fmla="*/ 229461 h 1031903"/>
                <a:gd name="connsiteX510" fmla="*/ 244591 w 1334797"/>
                <a:gd name="connsiteY510" fmla="*/ 224968 h 1031903"/>
                <a:gd name="connsiteX511" fmla="*/ 239559 w 1334797"/>
                <a:gd name="connsiteY511" fmla="*/ 234438 h 1031903"/>
                <a:gd name="connsiteX512" fmla="*/ 239559 w 1334797"/>
                <a:gd name="connsiteY512" fmla="*/ 238931 h 1031903"/>
                <a:gd name="connsiteX513" fmla="*/ 234579 w 1334797"/>
                <a:gd name="connsiteY513" fmla="*/ 238931 h 1031903"/>
                <a:gd name="connsiteX514" fmla="*/ 225081 w 1334797"/>
                <a:gd name="connsiteY514" fmla="*/ 243952 h 1031903"/>
                <a:gd name="connsiteX515" fmla="*/ 225081 w 1334797"/>
                <a:gd name="connsiteY515" fmla="*/ 253951 h 1031903"/>
                <a:gd name="connsiteX516" fmla="*/ 225081 w 1334797"/>
                <a:gd name="connsiteY516" fmla="*/ 258443 h 1031903"/>
                <a:gd name="connsiteX517" fmla="*/ 225081 w 1334797"/>
                <a:gd name="connsiteY517" fmla="*/ 267957 h 1031903"/>
                <a:gd name="connsiteX518" fmla="*/ 229599 w 1334797"/>
                <a:gd name="connsiteY518" fmla="*/ 273463 h 1031903"/>
                <a:gd name="connsiteX519" fmla="*/ 234579 w 1334797"/>
                <a:gd name="connsiteY519" fmla="*/ 282933 h 1031903"/>
                <a:gd name="connsiteX520" fmla="*/ 234579 w 1334797"/>
                <a:gd name="connsiteY520" fmla="*/ 287426 h 1031903"/>
                <a:gd name="connsiteX521" fmla="*/ 244591 w 1334797"/>
                <a:gd name="connsiteY521" fmla="*/ 297425 h 1031903"/>
                <a:gd name="connsiteX522" fmla="*/ 249057 w 1334797"/>
                <a:gd name="connsiteY522" fmla="*/ 302446 h 1031903"/>
                <a:gd name="connsiteX523" fmla="*/ 249057 w 1334797"/>
                <a:gd name="connsiteY523" fmla="*/ 306939 h 1031903"/>
                <a:gd name="connsiteX524" fmla="*/ 254089 w 1334797"/>
                <a:gd name="connsiteY524" fmla="*/ 312445 h 1031903"/>
                <a:gd name="connsiteX525" fmla="*/ 258607 w 1334797"/>
                <a:gd name="connsiteY525" fmla="*/ 316937 h 1031903"/>
                <a:gd name="connsiteX526" fmla="*/ 264100 w 1334797"/>
                <a:gd name="connsiteY526" fmla="*/ 326451 h 1031903"/>
                <a:gd name="connsiteX527" fmla="*/ 268567 w 1334797"/>
                <a:gd name="connsiteY527" fmla="*/ 331429 h 1031903"/>
                <a:gd name="connsiteX528" fmla="*/ 268567 w 1334797"/>
                <a:gd name="connsiteY528" fmla="*/ 341427 h 1031903"/>
                <a:gd name="connsiteX529" fmla="*/ 264100 w 1334797"/>
                <a:gd name="connsiteY529" fmla="*/ 360940 h 1031903"/>
                <a:gd name="connsiteX530" fmla="*/ 264100 w 1334797"/>
                <a:gd name="connsiteY530" fmla="*/ 365433 h 1031903"/>
                <a:gd name="connsiteX531" fmla="*/ 268567 w 1334797"/>
                <a:gd name="connsiteY531" fmla="*/ 365433 h 1031903"/>
                <a:gd name="connsiteX532" fmla="*/ 278065 w 1334797"/>
                <a:gd name="connsiteY532" fmla="*/ 365433 h 1031903"/>
                <a:gd name="connsiteX533" fmla="*/ 273598 w 1334797"/>
                <a:gd name="connsiteY533" fmla="*/ 370454 h 1031903"/>
                <a:gd name="connsiteX534" fmla="*/ 278065 w 1334797"/>
                <a:gd name="connsiteY534" fmla="*/ 374947 h 1031903"/>
                <a:gd name="connsiteX535" fmla="*/ 278065 w 1334797"/>
                <a:gd name="connsiteY535" fmla="*/ 380453 h 1031903"/>
                <a:gd name="connsiteX536" fmla="*/ 288077 w 1334797"/>
                <a:gd name="connsiteY536" fmla="*/ 380453 h 1031903"/>
                <a:gd name="connsiteX537" fmla="*/ 293108 w 1334797"/>
                <a:gd name="connsiteY537" fmla="*/ 370454 h 1031903"/>
                <a:gd name="connsiteX538" fmla="*/ 288077 w 1334797"/>
                <a:gd name="connsiteY538" fmla="*/ 365433 h 1031903"/>
                <a:gd name="connsiteX539" fmla="*/ 298602 w 1334797"/>
                <a:gd name="connsiteY539" fmla="*/ 355434 h 1031903"/>
                <a:gd name="connsiteX540" fmla="*/ 298602 w 1334797"/>
                <a:gd name="connsiteY540" fmla="*/ 350941 h 1031903"/>
                <a:gd name="connsiteX541" fmla="*/ 308100 w 1334797"/>
                <a:gd name="connsiteY541" fmla="*/ 350941 h 1031903"/>
                <a:gd name="connsiteX542" fmla="*/ 317598 w 1334797"/>
                <a:gd name="connsiteY542" fmla="*/ 350941 h 1031903"/>
                <a:gd name="connsiteX543" fmla="*/ 322578 w 1334797"/>
                <a:gd name="connsiteY543" fmla="*/ 345920 h 1031903"/>
                <a:gd name="connsiteX544" fmla="*/ 337108 w 1334797"/>
                <a:gd name="connsiteY544" fmla="*/ 345920 h 1031903"/>
                <a:gd name="connsiteX545" fmla="*/ 341626 w 1334797"/>
                <a:gd name="connsiteY545" fmla="*/ 345920 h 1031903"/>
                <a:gd name="connsiteX546" fmla="*/ 356618 w 1334797"/>
                <a:gd name="connsiteY546" fmla="*/ 350941 h 1031903"/>
                <a:gd name="connsiteX547" fmla="*/ 361136 w 1334797"/>
                <a:gd name="connsiteY547" fmla="*/ 355434 h 1031903"/>
                <a:gd name="connsiteX548" fmla="*/ 371609 w 1334797"/>
                <a:gd name="connsiteY548" fmla="*/ 365433 h 1031903"/>
                <a:gd name="connsiteX549" fmla="*/ 381621 w 1334797"/>
                <a:gd name="connsiteY549" fmla="*/ 365433 h 1031903"/>
                <a:gd name="connsiteX550" fmla="*/ 391119 w 1334797"/>
                <a:gd name="connsiteY550" fmla="*/ 370454 h 1031903"/>
                <a:gd name="connsiteX551" fmla="*/ 405649 w 1334797"/>
                <a:gd name="connsiteY551" fmla="*/ 374947 h 1031903"/>
                <a:gd name="connsiteX552" fmla="*/ 420127 w 1334797"/>
                <a:gd name="connsiteY552" fmla="*/ 374947 h 1031903"/>
                <a:gd name="connsiteX553" fmla="*/ 430138 w 1334797"/>
                <a:gd name="connsiteY553" fmla="*/ 380453 h 1031903"/>
                <a:gd name="connsiteX554" fmla="*/ 449648 w 1334797"/>
                <a:gd name="connsiteY554" fmla="*/ 380453 h 1031903"/>
                <a:gd name="connsiteX555" fmla="*/ 459146 w 1334797"/>
                <a:gd name="connsiteY555" fmla="*/ 380453 h 1031903"/>
                <a:gd name="connsiteX556" fmla="*/ 464640 w 1334797"/>
                <a:gd name="connsiteY556" fmla="*/ 380453 h 1031903"/>
                <a:gd name="connsiteX557" fmla="*/ 464640 w 1334797"/>
                <a:gd name="connsiteY557" fmla="*/ 384945 h 1031903"/>
                <a:gd name="connsiteX558" fmla="*/ 469158 w 1334797"/>
                <a:gd name="connsiteY558" fmla="*/ 384945 h 1031903"/>
                <a:gd name="connsiteX559" fmla="*/ 474138 w 1334797"/>
                <a:gd name="connsiteY559" fmla="*/ 384945 h 1031903"/>
                <a:gd name="connsiteX560" fmla="*/ 483636 w 1334797"/>
                <a:gd name="connsiteY560" fmla="*/ 380453 h 1031903"/>
                <a:gd name="connsiteX561" fmla="*/ 488668 w 1334797"/>
                <a:gd name="connsiteY561" fmla="*/ 380453 h 1031903"/>
                <a:gd name="connsiteX562" fmla="*/ 507664 w 1334797"/>
                <a:gd name="connsiteY562" fmla="*/ 384945 h 1031903"/>
                <a:gd name="connsiteX563" fmla="*/ 518189 w 1334797"/>
                <a:gd name="connsiteY563" fmla="*/ 384945 h 1031903"/>
                <a:gd name="connsiteX564" fmla="*/ 522656 w 1334797"/>
                <a:gd name="connsiteY564" fmla="*/ 384945 h 1031903"/>
                <a:gd name="connsiteX565" fmla="*/ 532667 w 1334797"/>
                <a:gd name="connsiteY565" fmla="*/ 389923 h 1031903"/>
                <a:gd name="connsiteX566" fmla="*/ 542165 w 1334797"/>
                <a:gd name="connsiteY566" fmla="*/ 389923 h 1031903"/>
                <a:gd name="connsiteX567" fmla="*/ 552177 w 1334797"/>
                <a:gd name="connsiteY567" fmla="*/ 389923 h 1031903"/>
                <a:gd name="connsiteX568" fmla="*/ 552177 w 1334797"/>
                <a:gd name="connsiteY568" fmla="*/ 394415 h 1031903"/>
                <a:gd name="connsiteX569" fmla="*/ 557157 w 1334797"/>
                <a:gd name="connsiteY569" fmla="*/ 394415 h 1031903"/>
                <a:gd name="connsiteX570" fmla="*/ 566707 w 1334797"/>
                <a:gd name="connsiteY570" fmla="*/ 399921 h 1031903"/>
                <a:gd name="connsiteX571" fmla="*/ 576667 w 1334797"/>
                <a:gd name="connsiteY571" fmla="*/ 409435 h 1031903"/>
                <a:gd name="connsiteX572" fmla="*/ 586165 w 1334797"/>
                <a:gd name="connsiteY572" fmla="*/ 413928 h 1031903"/>
                <a:gd name="connsiteX573" fmla="*/ 605675 w 1334797"/>
                <a:gd name="connsiteY573" fmla="*/ 418949 h 1031903"/>
                <a:gd name="connsiteX574" fmla="*/ 625185 w 1334797"/>
                <a:gd name="connsiteY574" fmla="*/ 418949 h 1031903"/>
                <a:gd name="connsiteX575" fmla="*/ 635196 w 1334797"/>
                <a:gd name="connsiteY575" fmla="*/ 418949 h 1031903"/>
                <a:gd name="connsiteX576" fmla="*/ 654706 w 1334797"/>
                <a:gd name="connsiteY576" fmla="*/ 413928 h 1031903"/>
                <a:gd name="connsiteX577" fmla="*/ 664718 w 1334797"/>
                <a:gd name="connsiteY577" fmla="*/ 409435 h 1031903"/>
                <a:gd name="connsiteX578" fmla="*/ 669236 w 1334797"/>
                <a:gd name="connsiteY578" fmla="*/ 404414 h 1031903"/>
                <a:gd name="connsiteX579" fmla="*/ 674729 w 1334797"/>
                <a:gd name="connsiteY579" fmla="*/ 404414 h 1031903"/>
                <a:gd name="connsiteX580" fmla="*/ 679196 w 1334797"/>
                <a:gd name="connsiteY580" fmla="*/ 399921 h 1031903"/>
                <a:gd name="connsiteX581" fmla="*/ 694239 w 1334797"/>
                <a:gd name="connsiteY581" fmla="*/ 394415 h 1031903"/>
                <a:gd name="connsiteX582" fmla="*/ 698706 w 1334797"/>
                <a:gd name="connsiteY582" fmla="*/ 389923 h 1031903"/>
                <a:gd name="connsiteX583" fmla="*/ 708204 w 1334797"/>
                <a:gd name="connsiteY583" fmla="*/ 384945 h 1031903"/>
                <a:gd name="connsiteX584" fmla="*/ 718216 w 1334797"/>
                <a:gd name="connsiteY584" fmla="*/ 374947 h 1031903"/>
                <a:gd name="connsiteX585" fmla="*/ 718216 w 1334797"/>
                <a:gd name="connsiteY585" fmla="*/ 370454 h 1031903"/>
                <a:gd name="connsiteX586" fmla="*/ 727714 w 1334797"/>
                <a:gd name="connsiteY586" fmla="*/ 365433 h 1031903"/>
                <a:gd name="connsiteX587" fmla="*/ 738239 w 1334797"/>
                <a:gd name="connsiteY587" fmla="*/ 355434 h 1031903"/>
                <a:gd name="connsiteX588" fmla="*/ 742757 w 1334797"/>
                <a:gd name="connsiteY588" fmla="*/ 355434 h 1031903"/>
                <a:gd name="connsiteX589" fmla="*/ 757749 w 1334797"/>
                <a:gd name="connsiteY589" fmla="*/ 350941 h 1031903"/>
                <a:gd name="connsiteX590" fmla="*/ 767247 w 1334797"/>
                <a:gd name="connsiteY590" fmla="*/ 345920 h 1031903"/>
                <a:gd name="connsiteX591" fmla="*/ 781725 w 1334797"/>
                <a:gd name="connsiteY591" fmla="*/ 345920 h 1031903"/>
                <a:gd name="connsiteX592" fmla="*/ 791275 w 1334797"/>
                <a:gd name="connsiteY592" fmla="*/ 341427 h 1031903"/>
                <a:gd name="connsiteX593" fmla="*/ 796002 w 1334797"/>
                <a:gd name="connsiteY593" fmla="*/ 341427 h 1031903"/>
                <a:gd name="connsiteX594" fmla="*/ 796002 w 1334797"/>
                <a:gd name="connsiteY594" fmla="*/ 341231 h 1031903"/>
                <a:gd name="connsiteX595" fmla="*/ 800515 w 1334797"/>
                <a:gd name="connsiteY595" fmla="*/ 341231 h 1031903"/>
                <a:gd name="connsiteX596" fmla="*/ 811035 w 1334797"/>
                <a:gd name="connsiteY596" fmla="*/ 341231 h 1031903"/>
                <a:gd name="connsiteX597" fmla="*/ 820559 w 1334797"/>
                <a:gd name="connsiteY597" fmla="*/ 336216 h 1031903"/>
                <a:gd name="connsiteX598" fmla="*/ 825072 w 1334797"/>
                <a:gd name="connsiteY598" fmla="*/ 336216 h 1031903"/>
                <a:gd name="connsiteX599" fmla="*/ 825072 w 1334797"/>
                <a:gd name="connsiteY599" fmla="*/ 331699 h 1031903"/>
                <a:gd name="connsiteX600" fmla="*/ 800515 w 1334797"/>
                <a:gd name="connsiteY600" fmla="*/ 331699 h 1031903"/>
                <a:gd name="connsiteX601" fmla="*/ 785980 w 1334797"/>
                <a:gd name="connsiteY601" fmla="*/ 331699 h 1031903"/>
                <a:gd name="connsiteX602" fmla="*/ 780969 w 1334797"/>
                <a:gd name="connsiteY602" fmla="*/ 331699 h 1031903"/>
                <a:gd name="connsiteX603" fmla="*/ 776456 w 1334797"/>
                <a:gd name="connsiteY603" fmla="*/ 331699 h 1031903"/>
                <a:gd name="connsiteX604" fmla="*/ 761423 w 1334797"/>
                <a:gd name="connsiteY604" fmla="*/ 321669 h 1031903"/>
                <a:gd name="connsiteX605" fmla="*/ 732352 w 1334797"/>
                <a:gd name="connsiteY605" fmla="*/ 321669 h 1031903"/>
                <a:gd name="connsiteX606" fmla="*/ 722330 w 1334797"/>
                <a:gd name="connsiteY606" fmla="*/ 316655 h 1031903"/>
                <a:gd name="connsiteX607" fmla="*/ 722330 w 1334797"/>
                <a:gd name="connsiteY607" fmla="*/ 312138 h 1031903"/>
                <a:gd name="connsiteX608" fmla="*/ 722330 w 1334797"/>
                <a:gd name="connsiteY608" fmla="*/ 306625 h 1031903"/>
                <a:gd name="connsiteX609" fmla="*/ 712806 w 1334797"/>
                <a:gd name="connsiteY609" fmla="*/ 297132 h 1031903"/>
                <a:gd name="connsiteX610" fmla="*/ 712806 w 1334797"/>
                <a:gd name="connsiteY610" fmla="*/ 292615 h 1031903"/>
                <a:gd name="connsiteX611" fmla="*/ 717319 w 1334797"/>
                <a:gd name="connsiteY611" fmla="*/ 282585 h 1031903"/>
                <a:gd name="connsiteX612" fmla="*/ 732352 w 1334797"/>
                <a:gd name="connsiteY612" fmla="*/ 253530 h 1031903"/>
                <a:gd name="connsiteX613" fmla="*/ 737363 w 1334797"/>
                <a:gd name="connsiteY613" fmla="*/ 243501 h 1031903"/>
                <a:gd name="connsiteX614" fmla="*/ 741876 w 1334797"/>
                <a:gd name="connsiteY614" fmla="*/ 234008 h 1031903"/>
                <a:gd name="connsiteX615" fmla="*/ 751899 w 1334797"/>
                <a:gd name="connsiteY615" fmla="*/ 214446 h 1031903"/>
                <a:gd name="connsiteX616" fmla="*/ 751899 w 1334797"/>
                <a:gd name="connsiteY616" fmla="*/ 199402 h 1031903"/>
                <a:gd name="connsiteX617" fmla="*/ 756910 w 1334797"/>
                <a:gd name="connsiteY617" fmla="*/ 199402 h 1031903"/>
                <a:gd name="connsiteX618" fmla="*/ 756910 w 1334797"/>
                <a:gd name="connsiteY618" fmla="*/ 194923 h 1031903"/>
                <a:gd name="connsiteX619" fmla="*/ 766932 w 1334797"/>
                <a:gd name="connsiteY619" fmla="*/ 189909 h 1031903"/>
                <a:gd name="connsiteX620" fmla="*/ 771445 w 1334797"/>
                <a:gd name="connsiteY620" fmla="*/ 189909 h 1031903"/>
                <a:gd name="connsiteX621" fmla="*/ 785980 w 1334797"/>
                <a:gd name="connsiteY621" fmla="*/ 179879 h 1031903"/>
                <a:gd name="connsiteX622" fmla="*/ 790991 w 1334797"/>
                <a:gd name="connsiteY622" fmla="*/ 179879 h 1031903"/>
                <a:gd name="connsiteX623" fmla="*/ 796002 w 1334797"/>
                <a:gd name="connsiteY623" fmla="*/ 175362 h 1031903"/>
                <a:gd name="connsiteX624" fmla="*/ 800515 w 1334797"/>
                <a:gd name="connsiteY624" fmla="*/ 175362 h 1031903"/>
                <a:gd name="connsiteX625" fmla="*/ 811035 w 1334797"/>
                <a:gd name="connsiteY625" fmla="*/ 175362 h 1031903"/>
                <a:gd name="connsiteX626" fmla="*/ 815548 w 1334797"/>
                <a:gd name="connsiteY626" fmla="*/ 170347 h 1031903"/>
                <a:gd name="connsiteX627" fmla="*/ 815548 w 1334797"/>
                <a:gd name="connsiteY627" fmla="*/ 165830 h 1031903"/>
                <a:gd name="connsiteX628" fmla="*/ 820559 w 1334797"/>
                <a:gd name="connsiteY628" fmla="*/ 165830 h 1031903"/>
                <a:gd name="connsiteX629" fmla="*/ 825072 w 1334797"/>
                <a:gd name="connsiteY629" fmla="*/ 160318 h 1031903"/>
                <a:gd name="connsiteX630" fmla="*/ 835094 w 1334797"/>
                <a:gd name="connsiteY630" fmla="*/ 160318 h 1031903"/>
                <a:gd name="connsiteX631" fmla="*/ 835094 w 1334797"/>
                <a:gd name="connsiteY631" fmla="*/ 155839 h 1031903"/>
                <a:gd name="connsiteX632" fmla="*/ 844618 w 1334797"/>
                <a:gd name="connsiteY632" fmla="*/ 150824 h 1031903"/>
                <a:gd name="connsiteX633" fmla="*/ 864164 w 1334797"/>
                <a:gd name="connsiteY633" fmla="*/ 140795 h 1031903"/>
                <a:gd name="connsiteX634" fmla="*/ 879198 w 1334797"/>
                <a:gd name="connsiteY634" fmla="*/ 131263 h 1031903"/>
                <a:gd name="connsiteX635" fmla="*/ 884209 w 1334797"/>
                <a:gd name="connsiteY635" fmla="*/ 131263 h 1031903"/>
                <a:gd name="connsiteX636" fmla="*/ 894231 w 1334797"/>
                <a:gd name="connsiteY636" fmla="*/ 121770 h 1031903"/>
                <a:gd name="connsiteX637" fmla="*/ 898744 w 1334797"/>
                <a:gd name="connsiteY637" fmla="*/ 116755 h 1031903"/>
                <a:gd name="connsiteX638" fmla="*/ 908268 w 1334797"/>
                <a:gd name="connsiteY638" fmla="*/ 111740 h 1031903"/>
                <a:gd name="connsiteX639" fmla="*/ 923301 w 1334797"/>
                <a:gd name="connsiteY639" fmla="*/ 111740 h 1031903"/>
                <a:gd name="connsiteX640" fmla="*/ 927814 w 1334797"/>
                <a:gd name="connsiteY640" fmla="*/ 107223 h 1031903"/>
                <a:gd name="connsiteX641" fmla="*/ 932825 w 1334797"/>
                <a:gd name="connsiteY641" fmla="*/ 107223 h 1031903"/>
                <a:gd name="connsiteX642" fmla="*/ 947858 w 1334797"/>
                <a:gd name="connsiteY642" fmla="*/ 102208 h 1031903"/>
                <a:gd name="connsiteX643" fmla="*/ 962393 w 1334797"/>
                <a:gd name="connsiteY643" fmla="*/ 107223 h 1031903"/>
                <a:gd name="connsiteX644" fmla="*/ 967404 w 1334797"/>
                <a:gd name="connsiteY644" fmla="*/ 107223 h 1031903"/>
                <a:gd name="connsiteX645" fmla="*/ 981939 w 1334797"/>
                <a:gd name="connsiteY645" fmla="*/ 102208 h 1031903"/>
                <a:gd name="connsiteX646" fmla="*/ 991463 w 1334797"/>
                <a:gd name="connsiteY646" fmla="*/ 97691 h 1031903"/>
                <a:gd name="connsiteX647" fmla="*/ 996972 w 1334797"/>
                <a:gd name="connsiteY647" fmla="*/ 92179 h 1031903"/>
                <a:gd name="connsiteX648" fmla="*/ 1016021 w 1334797"/>
                <a:gd name="connsiteY648" fmla="*/ 92179 h 1031903"/>
                <a:gd name="connsiteX649" fmla="*/ 1026043 w 1334797"/>
                <a:gd name="connsiteY649" fmla="*/ 87700 h 1031903"/>
                <a:gd name="connsiteX650" fmla="*/ 1031054 w 1334797"/>
                <a:gd name="connsiteY650" fmla="*/ 82686 h 1031903"/>
                <a:gd name="connsiteX651" fmla="*/ 1035567 w 1334797"/>
                <a:gd name="connsiteY651" fmla="*/ 82686 h 1031903"/>
                <a:gd name="connsiteX652" fmla="*/ 1041107 w 1334797"/>
                <a:gd name="connsiteY652" fmla="*/ 82686 h 1031903"/>
                <a:gd name="connsiteX653" fmla="*/ 1060653 w 1334797"/>
                <a:gd name="connsiteY653" fmla="*/ 82686 h 1031903"/>
                <a:gd name="connsiteX654" fmla="*/ 1070146 w 1334797"/>
                <a:gd name="connsiteY654" fmla="*/ 78168 h 1031903"/>
                <a:gd name="connsiteX655" fmla="*/ 1094734 w 1334797"/>
                <a:gd name="connsiteY655" fmla="*/ 72656 h 1031903"/>
                <a:gd name="connsiteX656" fmla="*/ 1099216 w 1334797"/>
                <a:gd name="connsiteY656" fmla="*/ 68139 h 1031903"/>
                <a:gd name="connsiteX657" fmla="*/ 1104756 w 1334797"/>
                <a:gd name="connsiteY657" fmla="*/ 63124 h 1031903"/>
                <a:gd name="connsiteX658" fmla="*/ 1109269 w 1334797"/>
                <a:gd name="connsiteY658" fmla="*/ 63124 h 1031903"/>
                <a:gd name="connsiteX659" fmla="*/ 1114281 w 1334797"/>
                <a:gd name="connsiteY659" fmla="*/ 63124 h 1031903"/>
                <a:gd name="connsiteX660" fmla="*/ 1118762 w 1334797"/>
                <a:gd name="connsiteY660" fmla="*/ 58607 h 1031903"/>
                <a:gd name="connsiteX661" fmla="*/ 1128816 w 1334797"/>
                <a:gd name="connsiteY661" fmla="*/ 48616 h 1031903"/>
                <a:gd name="connsiteX662" fmla="*/ 1133827 w 1334797"/>
                <a:gd name="connsiteY662" fmla="*/ 43601 h 1031903"/>
                <a:gd name="connsiteX663" fmla="*/ 1143849 w 1334797"/>
                <a:gd name="connsiteY663" fmla="*/ 39084 h 1031903"/>
                <a:gd name="connsiteX664" fmla="*/ 1148362 w 1334797"/>
                <a:gd name="connsiteY664" fmla="*/ 33572 h 1031903"/>
                <a:gd name="connsiteX665" fmla="*/ 1153373 w 1334797"/>
                <a:gd name="connsiteY665" fmla="*/ 29055 h 1031903"/>
                <a:gd name="connsiteX666" fmla="*/ 1172919 w 1334797"/>
                <a:gd name="connsiteY666" fmla="*/ 14547 h 1031903"/>
                <a:gd name="connsiteX667" fmla="*/ 1182443 w 1334797"/>
                <a:gd name="connsiteY667" fmla="*/ 4517 h 1031903"/>
                <a:gd name="connsiteX668" fmla="*/ 1187952 w 1334797"/>
                <a:gd name="connsiteY668" fmla="*/ 4517 h 1031903"/>
                <a:gd name="connsiteX669" fmla="*/ 1197476 w 1334797"/>
                <a:gd name="connsiteY669" fmla="*/ 9532 h 1031903"/>
                <a:gd name="connsiteX670" fmla="*/ 1201989 w 1334797"/>
                <a:gd name="connsiteY670" fmla="*/ 4517 h 103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Lst>
              <a:rect l="l" t="t" r="r" b="b"/>
              <a:pathLst>
                <a:path w="1334797" h="1031903">
                  <a:moveTo>
                    <a:pt x="1212011" y="0"/>
                  </a:moveTo>
                  <a:lnTo>
                    <a:pt x="1212011" y="4517"/>
                  </a:lnTo>
                  <a:lnTo>
                    <a:pt x="1217022" y="4517"/>
                  </a:lnTo>
                  <a:lnTo>
                    <a:pt x="1217022" y="19523"/>
                  </a:lnTo>
                  <a:lnTo>
                    <a:pt x="1221535" y="19523"/>
                  </a:lnTo>
                  <a:lnTo>
                    <a:pt x="1226546" y="29055"/>
                  </a:lnTo>
                  <a:lnTo>
                    <a:pt x="1231557" y="29055"/>
                  </a:lnTo>
                  <a:lnTo>
                    <a:pt x="1236568" y="33572"/>
                  </a:lnTo>
                  <a:lnTo>
                    <a:pt x="1236568" y="39084"/>
                  </a:lnTo>
                  <a:lnTo>
                    <a:pt x="1241579" y="43601"/>
                  </a:lnTo>
                  <a:lnTo>
                    <a:pt x="1251602" y="53095"/>
                  </a:lnTo>
                  <a:lnTo>
                    <a:pt x="1256115" y="53095"/>
                  </a:lnTo>
                  <a:lnTo>
                    <a:pt x="1265639" y="72656"/>
                  </a:lnTo>
                  <a:lnTo>
                    <a:pt x="1280672" y="78168"/>
                  </a:lnTo>
                  <a:lnTo>
                    <a:pt x="1290694" y="82686"/>
                  </a:lnTo>
                  <a:lnTo>
                    <a:pt x="1290694" y="87700"/>
                  </a:lnTo>
                  <a:lnTo>
                    <a:pt x="1295207" y="87700"/>
                  </a:lnTo>
                  <a:lnTo>
                    <a:pt x="1300218" y="92179"/>
                  </a:lnTo>
                  <a:lnTo>
                    <a:pt x="1300218" y="97691"/>
                  </a:lnTo>
                  <a:lnTo>
                    <a:pt x="1304731" y="102208"/>
                  </a:lnTo>
                  <a:lnTo>
                    <a:pt x="1304731" y="107223"/>
                  </a:lnTo>
                  <a:lnTo>
                    <a:pt x="1304731" y="111740"/>
                  </a:lnTo>
                  <a:lnTo>
                    <a:pt x="1304731" y="121770"/>
                  </a:lnTo>
                  <a:lnTo>
                    <a:pt x="1309742" y="126784"/>
                  </a:lnTo>
                  <a:lnTo>
                    <a:pt x="1309742" y="146307"/>
                  </a:lnTo>
                  <a:lnTo>
                    <a:pt x="1315251" y="150824"/>
                  </a:lnTo>
                  <a:lnTo>
                    <a:pt x="1319764" y="155839"/>
                  </a:lnTo>
                  <a:lnTo>
                    <a:pt x="1319764" y="160318"/>
                  </a:lnTo>
                  <a:lnTo>
                    <a:pt x="1329288" y="170347"/>
                  </a:lnTo>
                  <a:lnTo>
                    <a:pt x="1329288" y="175362"/>
                  </a:lnTo>
                  <a:lnTo>
                    <a:pt x="1319764" y="175362"/>
                  </a:lnTo>
                  <a:lnTo>
                    <a:pt x="1319764" y="170347"/>
                  </a:lnTo>
                  <a:lnTo>
                    <a:pt x="1315251" y="175362"/>
                  </a:lnTo>
                  <a:lnTo>
                    <a:pt x="1315251" y="185392"/>
                  </a:lnTo>
                  <a:lnTo>
                    <a:pt x="1304731" y="189909"/>
                  </a:lnTo>
                  <a:lnTo>
                    <a:pt x="1304731" y="199402"/>
                  </a:lnTo>
                  <a:lnTo>
                    <a:pt x="1295207" y="209432"/>
                  </a:lnTo>
                  <a:lnTo>
                    <a:pt x="1300218" y="214446"/>
                  </a:lnTo>
                  <a:lnTo>
                    <a:pt x="1315251" y="204915"/>
                  </a:lnTo>
                  <a:lnTo>
                    <a:pt x="1315251" y="214446"/>
                  </a:lnTo>
                  <a:lnTo>
                    <a:pt x="1304731" y="218963"/>
                  </a:lnTo>
                  <a:lnTo>
                    <a:pt x="1304731" y="224476"/>
                  </a:lnTo>
                  <a:lnTo>
                    <a:pt x="1300218" y="234008"/>
                  </a:lnTo>
                  <a:lnTo>
                    <a:pt x="1300218" y="238486"/>
                  </a:lnTo>
                  <a:lnTo>
                    <a:pt x="1304731" y="243501"/>
                  </a:lnTo>
                  <a:lnTo>
                    <a:pt x="1304731" y="248018"/>
                  </a:lnTo>
                  <a:lnTo>
                    <a:pt x="1295207" y="258048"/>
                  </a:lnTo>
                  <a:lnTo>
                    <a:pt x="1304731" y="267579"/>
                  </a:lnTo>
                  <a:lnTo>
                    <a:pt x="1295207" y="267579"/>
                  </a:lnTo>
                  <a:lnTo>
                    <a:pt x="1295207" y="273092"/>
                  </a:lnTo>
                  <a:lnTo>
                    <a:pt x="1304731" y="273092"/>
                  </a:lnTo>
                  <a:lnTo>
                    <a:pt x="1304731" y="277571"/>
                  </a:lnTo>
                  <a:lnTo>
                    <a:pt x="1309742" y="282585"/>
                  </a:lnTo>
                  <a:lnTo>
                    <a:pt x="1304731" y="287102"/>
                  </a:lnTo>
                  <a:lnTo>
                    <a:pt x="1315251" y="292615"/>
                  </a:lnTo>
                  <a:lnTo>
                    <a:pt x="1309742" y="306625"/>
                  </a:lnTo>
                  <a:lnTo>
                    <a:pt x="1304731" y="306625"/>
                  </a:lnTo>
                  <a:lnTo>
                    <a:pt x="1304731" y="312138"/>
                  </a:lnTo>
                  <a:lnTo>
                    <a:pt x="1309742" y="312138"/>
                  </a:lnTo>
                  <a:lnTo>
                    <a:pt x="1315251" y="316655"/>
                  </a:lnTo>
                  <a:lnTo>
                    <a:pt x="1319764" y="316655"/>
                  </a:lnTo>
                  <a:lnTo>
                    <a:pt x="1315251" y="312138"/>
                  </a:lnTo>
                  <a:lnTo>
                    <a:pt x="1319764" y="306625"/>
                  </a:lnTo>
                  <a:lnTo>
                    <a:pt x="1329288" y="312138"/>
                  </a:lnTo>
                  <a:lnTo>
                    <a:pt x="1329288" y="321669"/>
                  </a:lnTo>
                  <a:lnTo>
                    <a:pt x="1324775" y="321669"/>
                  </a:lnTo>
                  <a:lnTo>
                    <a:pt x="1324775" y="331699"/>
                  </a:lnTo>
                  <a:lnTo>
                    <a:pt x="1315251" y="336216"/>
                  </a:lnTo>
                  <a:lnTo>
                    <a:pt x="1315251" y="341231"/>
                  </a:lnTo>
                  <a:lnTo>
                    <a:pt x="1309742" y="345709"/>
                  </a:lnTo>
                  <a:lnTo>
                    <a:pt x="1300218" y="365271"/>
                  </a:lnTo>
                  <a:lnTo>
                    <a:pt x="1309742" y="365271"/>
                  </a:lnTo>
                  <a:lnTo>
                    <a:pt x="1304731" y="370285"/>
                  </a:lnTo>
                  <a:lnTo>
                    <a:pt x="1319764" y="384794"/>
                  </a:lnTo>
                  <a:lnTo>
                    <a:pt x="1319764" y="389808"/>
                  </a:lnTo>
                  <a:lnTo>
                    <a:pt x="1319764" y="394325"/>
                  </a:lnTo>
                  <a:lnTo>
                    <a:pt x="1324775" y="404355"/>
                  </a:lnTo>
                  <a:lnTo>
                    <a:pt x="1324775" y="409370"/>
                  </a:lnTo>
                  <a:lnTo>
                    <a:pt x="1324775" y="428893"/>
                  </a:lnTo>
                  <a:lnTo>
                    <a:pt x="1329288" y="428893"/>
                  </a:lnTo>
                  <a:lnTo>
                    <a:pt x="1334797" y="438922"/>
                  </a:lnTo>
                  <a:lnTo>
                    <a:pt x="1329288" y="452933"/>
                  </a:lnTo>
                  <a:lnTo>
                    <a:pt x="1319764" y="448454"/>
                  </a:lnTo>
                  <a:lnTo>
                    <a:pt x="1315251" y="443439"/>
                  </a:lnTo>
                  <a:lnTo>
                    <a:pt x="1300218" y="443439"/>
                  </a:lnTo>
                  <a:lnTo>
                    <a:pt x="1300218" y="452933"/>
                  </a:lnTo>
                  <a:lnTo>
                    <a:pt x="1295207" y="457947"/>
                  </a:lnTo>
                  <a:lnTo>
                    <a:pt x="1300218" y="457947"/>
                  </a:lnTo>
                  <a:lnTo>
                    <a:pt x="1300218" y="467977"/>
                  </a:lnTo>
                  <a:lnTo>
                    <a:pt x="1285185" y="472494"/>
                  </a:lnTo>
                  <a:lnTo>
                    <a:pt x="1285185" y="487538"/>
                  </a:lnTo>
                  <a:lnTo>
                    <a:pt x="1285185" y="492017"/>
                  </a:lnTo>
                  <a:lnTo>
                    <a:pt x="1285185" y="501549"/>
                  </a:lnTo>
                  <a:lnTo>
                    <a:pt x="1280672" y="511578"/>
                  </a:lnTo>
                  <a:lnTo>
                    <a:pt x="1280672" y="516593"/>
                  </a:lnTo>
                  <a:lnTo>
                    <a:pt x="1271148" y="531101"/>
                  </a:lnTo>
                  <a:lnTo>
                    <a:pt x="1265639" y="536116"/>
                  </a:lnTo>
                  <a:lnTo>
                    <a:pt x="1265639" y="540633"/>
                  </a:lnTo>
                  <a:lnTo>
                    <a:pt x="1265639" y="546145"/>
                  </a:lnTo>
                  <a:lnTo>
                    <a:pt x="1256115" y="540633"/>
                  </a:lnTo>
                  <a:lnTo>
                    <a:pt x="1251602" y="546145"/>
                  </a:lnTo>
                  <a:lnTo>
                    <a:pt x="1241579" y="550662"/>
                  </a:lnTo>
                  <a:lnTo>
                    <a:pt x="1231557" y="550662"/>
                  </a:lnTo>
                  <a:lnTo>
                    <a:pt x="1226546" y="546145"/>
                  </a:lnTo>
                  <a:lnTo>
                    <a:pt x="1226546" y="555677"/>
                  </a:lnTo>
                  <a:lnTo>
                    <a:pt x="1221535" y="555677"/>
                  </a:lnTo>
                  <a:lnTo>
                    <a:pt x="1217022" y="555677"/>
                  </a:lnTo>
                  <a:lnTo>
                    <a:pt x="1212011" y="555677"/>
                  </a:lnTo>
                  <a:lnTo>
                    <a:pt x="1207498" y="560194"/>
                  </a:lnTo>
                  <a:lnTo>
                    <a:pt x="1201989" y="560194"/>
                  </a:lnTo>
                  <a:lnTo>
                    <a:pt x="1207498" y="575200"/>
                  </a:lnTo>
                  <a:lnTo>
                    <a:pt x="1212011" y="575200"/>
                  </a:lnTo>
                  <a:lnTo>
                    <a:pt x="1217022" y="579717"/>
                  </a:lnTo>
                  <a:lnTo>
                    <a:pt x="1217022" y="584732"/>
                  </a:lnTo>
                  <a:lnTo>
                    <a:pt x="1212011" y="594761"/>
                  </a:lnTo>
                  <a:lnTo>
                    <a:pt x="1212011" y="599240"/>
                  </a:lnTo>
                  <a:lnTo>
                    <a:pt x="1226546" y="594761"/>
                  </a:lnTo>
                  <a:lnTo>
                    <a:pt x="1231557" y="599240"/>
                  </a:lnTo>
                  <a:lnTo>
                    <a:pt x="1221535" y="604255"/>
                  </a:lnTo>
                  <a:lnTo>
                    <a:pt x="1226546" y="614284"/>
                  </a:lnTo>
                  <a:lnTo>
                    <a:pt x="1226546" y="618801"/>
                  </a:lnTo>
                  <a:lnTo>
                    <a:pt x="1221535" y="623816"/>
                  </a:lnTo>
                  <a:lnTo>
                    <a:pt x="1207498" y="623816"/>
                  </a:lnTo>
                  <a:lnTo>
                    <a:pt x="1207498" y="628333"/>
                  </a:lnTo>
                  <a:lnTo>
                    <a:pt x="1207498" y="638324"/>
                  </a:lnTo>
                  <a:lnTo>
                    <a:pt x="1207498" y="643339"/>
                  </a:lnTo>
                  <a:lnTo>
                    <a:pt x="1212011" y="643339"/>
                  </a:lnTo>
                  <a:lnTo>
                    <a:pt x="1212011" y="653368"/>
                  </a:lnTo>
                  <a:lnTo>
                    <a:pt x="1207498" y="657885"/>
                  </a:lnTo>
                  <a:lnTo>
                    <a:pt x="1201989" y="657885"/>
                  </a:lnTo>
                  <a:lnTo>
                    <a:pt x="1197476" y="662900"/>
                  </a:lnTo>
                  <a:lnTo>
                    <a:pt x="1187952" y="662900"/>
                  </a:lnTo>
                  <a:lnTo>
                    <a:pt x="1182443" y="672929"/>
                  </a:lnTo>
                  <a:lnTo>
                    <a:pt x="1172919" y="677408"/>
                  </a:lnTo>
                  <a:lnTo>
                    <a:pt x="1172919" y="686940"/>
                  </a:lnTo>
                  <a:lnTo>
                    <a:pt x="1172919" y="691955"/>
                  </a:lnTo>
                  <a:lnTo>
                    <a:pt x="1177930" y="696970"/>
                  </a:lnTo>
                  <a:lnTo>
                    <a:pt x="1172919" y="706463"/>
                  </a:lnTo>
                  <a:lnTo>
                    <a:pt x="1168406" y="706463"/>
                  </a:lnTo>
                  <a:lnTo>
                    <a:pt x="1162897" y="715995"/>
                  </a:lnTo>
                  <a:lnTo>
                    <a:pt x="1153373" y="715995"/>
                  </a:lnTo>
                  <a:lnTo>
                    <a:pt x="1138309" y="715995"/>
                  </a:lnTo>
                  <a:lnTo>
                    <a:pt x="1138309" y="721507"/>
                  </a:lnTo>
                  <a:lnTo>
                    <a:pt x="1128816" y="711478"/>
                  </a:lnTo>
                  <a:lnTo>
                    <a:pt x="1124303" y="711478"/>
                  </a:lnTo>
                  <a:lnTo>
                    <a:pt x="1118762" y="715995"/>
                  </a:lnTo>
                  <a:lnTo>
                    <a:pt x="1109269" y="711478"/>
                  </a:lnTo>
                  <a:lnTo>
                    <a:pt x="1099216" y="711478"/>
                  </a:lnTo>
                  <a:lnTo>
                    <a:pt x="1094734" y="701984"/>
                  </a:lnTo>
                  <a:lnTo>
                    <a:pt x="1084681" y="701984"/>
                  </a:lnTo>
                  <a:lnTo>
                    <a:pt x="1084681" y="711478"/>
                  </a:lnTo>
                  <a:lnTo>
                    <a:pt x="1079670" y="721507"/>
                  </a:lnTo>
                  <a:lnTo>
                    <a:pt x="1074659" y="715995"/>
                  </a:lnTo>
                  <a:lnTo>
                    <a:pt x="1065135" y="721507"/>
                  </a:lnTo>
                  <a:lnTo>
                    <a:pt x="1060653" y="715995"/>
                  </a:lnTo>
                  <a:lnTo>
                    <a:pt x="1055113" y="731039"/>
                  </a:lnTo>
                  <a:lnTo>
                    <a:pt x="1050600" y="731039"/>
                  </a:lnTo>
                  <a:lnTo>
                    <a:pt x="1035567" y="735556"/>
                  </a:lnTo>
                  <a:lnTo>
                    <a:pt x="1031054" y="731039"/>
                  </a:lnTo>
                  <a:lnTo>
                    <a:pt x="1011010" y="745547"/>
                  </a:lnTo>
                  <a:lnTo>
                    <a:pt x="1001486" y="741068"/>
                  </a:lnTo>
                  <a:lnTo>
                    <a:pt x="996972" y="741068"/>
                  </a:lnTo>
                  <a:lnTo>
                    <a:pt x="991463" y="750562"/>
                  </a:lnTo>
                  <a:lnTo>
                    <a:pt x="986950" y="760591"/>
                  </a:lnTo>
                  <a:lnTo>
                    <a:pt x="977426" y="760591"/>
                  </a:lnTo>
                  <a:lnTo>
                    <a:pt x="972614" y="764537"/>
                  </a:lnTo>
                  <a:lnTo>
                    <a:pt x="977336" y="773921"/>
                  </a:lnTo>
                  <a:lnTo>
                    <a:pt x="977336" y="783391"/>
                  </a:lnTo>
                  <a:lnTo>
                    <a:pt x="972305" y="798411"/>
                  </a:lnTo>
                  <a:lnTo>
                    <a:pt x="982316" y="798411"/>
                  </a:lnTo>
                  <a:lnTo>
                    <a:pt x="982316" y="812418"/>
                  </a:lnTo>
                  <a:lnTo>
                    <a:pt x="991814" y="817924"/>
                  </a:lnTo>
                  <a:lnTo>
                    <a:pt x="1001313" y="817924"/>
                  </a:lnTo>
                  <a:lnTo>
                    <a:pt x="1001313" y="822417"/>
                  </a:lnTo>
                  <a:lnTo>
                    <a:pt x="1011324" y="827394"/>
                  </a:lnTo>
                  <a:lnTo>
                    <a:pt x="1016304" y="831887"/>
                  </a:lnTo>
                  <a:lnTo>
                    <a:pt x="1011324" y="837393"/>
                  </a:lnTo>
                  <a:lnTo>
                    <a:pt x="1021849" y="841885"/>
                  </a:lnTo>
                  <a:lnTo>
                    <a:pt x="1026316" y="846907"/>
                  </a:lnTo>
                  <a:lnTo>
                    <a:pt x="1016304" y="856905"/>
                  </a:lnTo>
                  <a:lnTo>
                    <a:pt x="1021849" y="861398"/>
                  </a:lnTo>
                  <a:lnTo>
                    <a:pt x="1021849" y="866419"/>
                  </a:lnTo>
                  <a:lnTo>
                    <a:pt x="1016304" y="870912"/>
                  </a:lnTo>
                  <a:lnTo>
                    <a:pt x="1016304" y="880911"/>
                  </a:lnTo>
                  <a:lnTo>
                    <a:pt x="1026316" y="890381"/>
                  </a:lnTo>
                  <a:lnTo>
                    <a:pt x="1016304" y="905401"/>
                  </a:lnTo>
                  <a:lnTo>
                    <a:pt x="1016304" y="914915"/>
                  </a:lnTo>
                  <a:lnTo>
                    <a:pt x="1011324" y="919407"/>
                  </a:lnTo>
                  <a:lnTo>
                    <a:pt x="1001313" y="929406"/>
                  </a:lnTo>
                  <a:lnTo>
                    <a:pt x="996794" y="929406"/>
                  </a:lnTo>
                  <a:lnTo>
                    <a:pt x="991814" y="934383"/>
                  </a:lnTo>
                  <a:lnTo>
                    <a:pt x="987296" y="934383"/>
                  </a:lnTo>
                  <a:lnTo>
                    <a:pt x="987296" y="938876"/>
                  </a:lnTo>
                  <a:lnTo>
                    <a:pt x="977336" y="938876"/>
                  </a:lnTo>
                  <a:lnTo>
                    <a:pt x="972305" y="944382"/>
                  </a:lnTo>
                  <a:lnTo>
                    <a:pt x="967787" y="938876"/>
                  </a:lnTo>
                  <a:lnTo>
                    <a:pt x="958288" y="944382"/>
                  </a:lnTo>
                  <a:lnTo>
                    <a:pt x="952795" y="948875"/>
                  </a:lnTo>
                  <a:lnTo>
                    <a:pt x="948328" y="963895"/>
                  </a:lnTo>
                  <a:lnTo>
                    <a:pt x="952795" y="963895"/>
                  </a:lnTo>
                  <a:lnTo>
                    <a:pt x="962806" y="973409"/>
                  </a:lnTo>
                  <a:lnTo>
                    <a:pt x="958288" y="977901"/>
                  </a:lnTo>
                  <a:lnTo>
                    <a:pt x="958288" y="982879"/>
                  </a:lnTo>
                  <a:lnTo>
                    <a:pt x="962806" y="997370"/>
                  </a:lnTo>
                  <a:lnTo>
                    <a:pt x="967787" y="1006884"/>
                  </a:lnTo>
                  <a:lnTo>
                    <a:pt x="967787" y="1012390"/>
                  </a:lnTo>
                  <a:lnTo>
                    <a:pt x="962806" y="1021904"/>
                  </a:lnTo>
                  <a:lnTo>
                    <a:pt x="958288" y="1021904"/>
                  </a:lnTo>
                  <a:lnTo>
                    <a:pt x="952795" y="1026397"/>
                  </a:lnTo>
                  <a:lnTo>
                    <a:pt x="943297" y="1031903"/>
                  </a:lnTo>
                  <a:lnTo>
                    <a:pt x="937803" y="1026397"/>
                  </a:lnTo>
                  <a:lnTo>
                    <a:pt x="933285" y="1021904"/>
                  </a:lnTo>
                  <a:lnTo>
                    <a:pt x="933285" y="1016883"/>
                  </a:lnTo>
                  <a:lnTo>
                    <a:pt x="928305" y="1016883"/>
                  </a:lnTo>
                  <a:lnTo>
                    <a:pt x="928305" y="1006884"/>
                  </a:lnTo>
                  <a:lnTo>
                    <a:pt x="923787" y="1002391"/>
                  </a:lnTo>
                  <a:lnTo>
                    <a:pt x="918293" y="997370"/>
                  </a:lnTo>
                  <a:lnTo>
                    <a:pt x="918293" y="987900"/>
                  </a:lnTo>
                  <a:lnTo>
                    <a:pt x="908795" y="982879"/>
                  </a:lnTo>
                  <a:lnTo>
                    <a:pt x="899297" y="987900"/>
                  </a:lnTo>
                  <a:lnTo>
                    <a:pt x="904277" y="1002391"/>
                  </a:lnTo>
                  <a:lnTo>
                    <a:pt x="899297" y="1002391"/>
                  </a:lnTo>
                  <a:lnTo>
                    <a:pt x="899297" y="997370"/>
                  </a:lnTo>
                  <a:lnTo>
                    <a:pt x="884767" y="992877"/>
                  </a:lnTo>
                  <a:lnTo>
                    <a:pt x="879787" y="992877"/>
                  </a:lnTo>
                  <a:lnTo>
                    <a:pt x="864796" y="992877"/>
                  </a:lnTo>
                  <a:lnTo>
                    <a:pt x="864796" y="982879"/>
                  </a:lnTo>
                  <a:lnTo>
                    <a:pt x="854784" y="982879"/>
                  </a:lnTo>
                  <a:lnTo>
                    <a:pt x="850266" y="968387"/>
                  </a:lnTo>
                  <a:lnTo>
                    <a:pt x="854784" y="968387"/>
                  </a:lnTo>
                  <a:lnTo>
                    <a:pt x="850266" y="958389"/>
                  </a:lnTo>
                  <a:lnTo>
                    <a:pt x="845286" y="963895"/>
                  </a:lnTo>
                  <a:lnTo>
                    <a:pt x="840768" y="958389"/>
                  </a:lnTo>
                  <a:lnTo>
                    <a:pt x="830756" y="958389"/>
                  </a:lnTo>
                  <a:lnTo>
                    <a:pt x="825776" y="953896"/>
                  </a:lnTo>
                  <a:lnTo>
                    <a:pt x="821258" y="953896"/>
                  </a:lnTo>
                  <a:lnTo>
                    <a:pt x="816278" y="953896"/>
                  </a:lnTo>
                  <a:lnTo>
                    <a:pt x="811246" y="938876"/>
                  </a:lnTo>
                  <a:lnTo>
                    <a:pt x="811246" y="934383"/>
                  </a:lnTo>
                  <a:lnTo>
                    <a:pt x="811246" y="924913"/>
                  </a:lnTo>
                  <a:lnTo>
                    <a:pt x="811246" y="914915"/>
                  </a:lnTo>
                  <a:lnTo>
                    <a:pt x="806266" y="914915"/>
                  </a:lnTo>
                  <a:lnTo>
                    <a:pt x="811246" y="909893"/>
                  </a:lnTo>
                  <a:lnTo>
                    <a:pt x="806266" y="900379"/>
                  </a:lnTo>
                  <a:lnTo>
                    <a:pt x="811246" y="900379"/>
                  </a:lnTo>
                  <a:lnTo>
                    <a:pt x="811246" y="890381"/>
                  </a:lnTo>
                  <a:lnTo>
                    <a:pt x="806266" y="885888"/>
                  </a:lnTo>
                  <a:lnTo>
                    <a:pt x="806266" y="876418"/>
                  </a:lnTo>
                  <a:lnTo>
                    <a:pt x="801235" y="876418"/>
                  </a:lnTo>
                  <a:lnTo>
                    <a:pt x="796768" y="870912"/>
                  </a:lnTo>
                  <a:lnTo>
                    <a:pt x="791275" y="866419"/>
                  </a:lnTo>
                  <a:lnTo>
                    <a:pt x="777258" y="861398"/>
                  </a:lnTo>
                  <a:lnTo>
                    <a:pt x="767247" y="861398"/>
                  </a:lnTo>
                  <a:lnTo>
                    <a:pt x="767247" y="866419"/>
                  </a:lnTo>
                  <a:lnTo>
                    <a:pt x="757749" y="866419"/>
                  </a:lnTo>
                  <a:lnTo>
                    <a:pt x="752255" y="866419"/>
                  </a:lnTo>
                  <a:lnTo>
                    <a:pt x="742757" y="870912"/>
                  </a:lnTo>
                  <a:lnTo>
                    <a:pt x="738239" y="870912"/>
                  </a:lnTo>
                  <a:lnTo>
                    <a:pt x="738239" y="876418"/>
                  </a:lnTo>
                  <a:lnTo>
                    <a:pt x="733259" y="876418"/>
                  </a:lnTo>
                  <a:lnTo>
                    <a:pt x="727714" y="870912"/>
                  </a:lnTo>
                  <a:lnTo>
                    <a:pt x="727714" y="876418"/>
                  </a:lnTo>
                  <a:lnTo>
                    <a:pt x="727714" y="880911"/>
                  </a:lnTo>
                  <a:lnTo>
                    <a:pt x="727714" y="885888"/>
                  </a:lnTo>
                  <a:lnTo>
                    <a:pt x="718216" y="885888"/>
                  </a:lnTo>
                  <a:lnTo>
                    <a:pt x="713749" y="890381"/>
                  </a:lnTo>
                  <a:lnTo>
                    <a:pt x="703737" y="900379"/>
                  </a:lnTo>
                  <a:lnTo>
                    <a:pt x="694239" y="900379"/>
                  </a:lnTo>
                  <a:lnTo>
                    <a:pt x="694239" y="914915"/>
                  </a:lnTo>
                  <a:lnTo>
                    <a:pt x="684227" y="914915"/>
                  </a:lnTo>
                  <a:lnTo>
                    <a:pt x="679196" y="914915"/>
                  </a:lnTo>
                  <a:lnTo>
                    <a:pt x="674729" y="905401"/>
                  </a:lnTo>
                  <a:lnTo>
                    <a:pt x="664718" y="909893"/>
                  </a:lnTo>
                  <a:lnTo>
                    <a:pt x="664718" y="914915"/>
                  </a:lnTo>
                  <a:lnTo>
                    <a:pt x="654706" y="914915"/>
                  </a:lnTo>
                  <a:lnTo>
                    <a:pt x="649726" y="914915"/>
                  </a:lnTo>
                  <a:lnTo>
                    <a:pt x="654706" y="905401"/>
                  </a:lnTo>
                  <a:lnTo>
                    <a:pt x="654706" y="885888"/>
                  </a:lnTo>
                  <a:lnTo>
                    <a:pt x="654706" y="870912"/>
                  </a:lnTo>
                  <a:lnTo>
                    <a:pt x="649726" y="870912"/>
                  </a:lnTo>
                  <a:lnTo>
                    <a:pt x="640228" y="876418"/>
                  </a:lnTo>
                  <a:lnTo>
                    <a:pt x="635196" y="876418"/>
                  </a:lnTo>
                  <a:lnTo>
                    <a:pt x="620718" y="870912"/>
                  </a:lnTo>
                  <a:lnTo>
                    <a:pt x="615686" y="861398"/>
                  </a:lnTo>
                  <a:lnTo>
                    <a:pt x="615686" y="851399"/>
                  </a:lnTo>
                  <a:lnTo>
                    <a:pt x="611220" y="846907"/>
                  </a:lnTo>
                  <a:lnTo>
                    <a:pt x="611220" y="841885"/>
                  </a:lnTo>
                  <a:lnTo>
                    <a:pt x="620718" y="831887"/>
                  </a:lnTo>
                  <a:lnTo>
                    <a:pt x="605675" y="817924"/>
                  </a:lnTo>
                  <a:lnTo>
                    <a:pt x="586165" y="812418"/>
                  </a:lnTo>
                  <a:lnTo>
                    <a:pt x="581185" y="817924"/>
                  </a:lnTo>
                  <a:lnTo>
                    <a:pt x="586165" y="827394"/>
                  </a:lnTo>
                  <a:lnTo>
                    <a:pt x="576667" y="841885"/>
                  </a:lnTo>
                  <a:lnTo>
                    <a:pt x="571687" y="841885"/>
                  </a:lnTo>
                  <a:lnTo>
                    <a:pt x="571687" y="837393"/>
                  </a:lnTo>
                  <a:lnTo>
                    <a:pt x="561675" y="837393"/>
                  </a:lnTo>
                  <a:lnTo>
                    <a:pt x="557157" y="831887"/>
                  </a:lnTo>
                  <a:lnTo>
                    <a:pt x="552177" y="841885"/>
                  </a:lnTo>
                  <a:lnTo>
                    <a:pt x="547659" y="841885"/>
                  </a:lnTo>
                  <a:lnTo>
                    <a:pt x="542165" y="846907"/>
                  </a:lnTo>
                  <a:lnTo>
                    <a:pt x="547659" y="846907"/>
                  </a:lnTo>
                  <a:lnTo>
                    <a:pt x="542165" y="851399"/>
                  </a:lnTo>
                  <a:lnTo>
                    <a:pt x="537647" y="846907"/>
                  </a:lnTo>
                  <a:lnTo>
                    <a:pt x="532667" y="846907"/>
                  </a:lnTo>
                  <a:lnTo>
                    <a:pt x="528149" y="837393"/>
                  </a:lnTo>
                  <a:lnTo>
                    <a:pt x="518189" y="841885"/>
                  </a:lnTo>
                  <a:lnTo>
                    <a:pt x="507664" y="837393"/>
                  </a:lnTo>
                  <a:lnTo>
                    <a:pt x="498166" y="841885"/>
                  </a:lnTo>
                  <a:lnTo>
                    <a:pt x="488668" y="841885"/>
                  </a:lnTo>
                  <a:lnTo>
                    <a:pt x="478656" y="846907"/>
                  </a:lnTo>
                  <a:lnTo>
                    <a:pt x="474138" y="856905"/>
                  </a:lnTo>
                  <a:lnTo>
                    <a:pt x="469158" y="856905"/>
                  </a:lnTo>
                  <a:lnTo>
                    <a:pt x="464640" y="856905"/>
                  </a:lnTo>
                  <a:lnTo>
                    <a:pt x="454628" y="856905"/>
                  </a:lnTo>
                  <a:lnTo>
                    <a:pt x="434656" y="870912"/>
                  </a:lnTo>
                  <a:lnTo>
                    <a:pt x="434656" y="866419"/>
                  </a:lnTo>
                  <a:lnTo>
                    <a:pt x="430138" y="851399"/>
                  </a:lnTo>
                  <a:lnTo>
                    <a:pt x="430138" y="846907"/>
                  </a:lnTo>
                  <a:lnTo>
                    <a:pt x="424645" y="856905"/>
                  </a:lnTo>
                  <a:lnTo>
                    <a:pt x="410629" y="856905"/>
                  </a:lnTo>
                  <a:lnTo>
                    <a:pt x="405649" y="856905"/>
                  </a:lnTo>
                  <a:lnTo>
                    <a:pt x="405649" y="861398"/>
                  </a:lnTo>
                  <a:lnTo>
                    <a:pt x="410629" y="861398"/>
                  </a:lnTo>
                  <a:lnTo>
                    <a:pt x="410629" y="866419"/>
                  </a:lnTo>
                  <a:lnTo>
                    <a:pt x="395637" y="870912"/>
                  </a:lnTo>
                  <a:lnTo>
                    <a:pt x="386139" y="870912"/>
                  </a:lnTo>
                  <a:lnTo>
                    <a:pt x="391119" y="856905"/>
                  </a:lnTo>
                  <a:lnTo>
                    <a:pt x="376127" y="861398"/>
                  </a:lnTo>
                  <a:lnTo>
                    <a:pt x="376127" y="856905"/>
                  </a:lnTo>
                  <a:lnTo>
                    <a:pt x="371609" y="851399"/>
                  </a:lnTo>
                  <a:lnTo>
                    <a:pt x="371609" y="846907"/>
                  </a:lnTo>
                  <a:lnTo>
                    <a:pt x="361136" y="837393"/>
                  </a:lnTo>
                  <a:lnTo>
                    <a:pt x="347119" y="841885"/>
                  </a:lnTo>
                  <a:lnTo>
                    <a:pt x="337108" y="831887"/>
                  </a:lnTo>
                  <a:lnTo>
                    <a:pt x="332128" y="827394"/>
                  </a:lnTo>
                  <a:lnTo>
                    <a:pt x="327610" y="827394"/>
                  </a:lnTo>
                  <a:lnTo>
                    <a:pt x="322578" y="837393"/>
                  </a:lnTo>
                  <a:lnTo>
                    <a:pt x="308100" y="841885"/>
                  </a:lnTo>
                  <a:lnTo>
                    <a:pt x="288077" y="827394"/>
                  </a:lnTo>
                  <a:lnTo>
                    <a:pt x="283610" y="831887"/>
                  </a:lnTo>
                  <a:lnTo>
                    <a:pt x="273598" y="827394"/>
                  </a:lnTo>
                  <a:lnTo>
                    <a:pt x="268567" y="822417"/>
                  </a:lnTo>
                  <a:lnTo>
                    <a:pt x="258607" y="822417"/>
                  </a:lnTo>
                  <a:lnTo>
                    <a:pt x="254089" y="822417"/>
                  </a:lnTo>
                  <a:lnTo>
                    <a:pt x="249057" y="817924"/>
                  </a:lnTo>
                  <a:lnTo>
                    <a:pt x="244591" y="817924"/>
                  </a:lnTo>
                  <a:lnTo>
                    <a:pt x="234579" y="812418"/>
                  </a:lnTo>
                  <a:lnTo>
                    <a:pt x="229599" y="812418"/>
                  </a:lnTo>
                  <a:lnTo>
                    <a:pt x="220049" y="807925"/>
                  </a:lnTo>
                  <a:lnTo>
                    <a:pt x="210089" y="812418"/>
                  </a:lnTo>
                  <a:lnTo>
                    <a:pt x="210089" y="817924"/>
                  </a:lnTo>
                  <a:lnTo>
                    <a:pt x="210089" y="827394"/>
                  </a:lnTo>
                  <a:lnTo>
                    <a:pt x="205058" y="827394"/>
                  </a:lnTo>
                  <a:lnTo>
                    <a:pt x="200540" y="831887"/>
                  </a:lnTo>
                  <a:lnTo>
                    <a:pt x="190579" y="831887"/>
                  </a:lnTo>
                  <a:lnTo>
                    <a:pt x="190579" y="837393"/>
                  </a:lnTo>
                  <a:lnTo>
                    <a:pt x="185548" y="837393"/>
                  </a:lnTo>
                  <a:lnTo>
                    <a:pt x="181081" y="841885"/>
                  </a:lnTo>
                  <a:lnTo>
                    <a:pt x="181081" y="846907"/>
                  </a:lnTo>
                  <a:lnTo>
                    <a:pt x="171070" y="851399"/>
                  </a:lnTo>
                  <a:lnTo>
                    <a:pt x="166038" y="851399"/>
                  </a:lnTo>
                  <a:lnTo>
                    <a:pt x="151560" y="851399"/>
                  </a:lnTo>
                  <a:lnTo>
                    <a:pt x="151560" y="841885"/>
                  </a:lnTo>
                  <a:lnTo>
                    <a:pt x="146528" y="837393"/>
                  </a:lnTo>
                  <a:lnTo>
                    <a:pt x="137030" y="837393"/>
                  </a:lnTo>
                  <a:lnTo>
                    <a:pt x="131537" y="837393"/>
                  </a:lnTo>
                  <a:lnTo>
                    <a:pt x="127019" y="822417"/>
                  </a:lnTo>
                  <a:lnTo>
                    <a:pt x="122038" y="812418"/>
                  </a:lnTo>
                  <a:lnTo>
                    <a:pt x="117520" y="802904"/>
                  </a:lnTo>
                  <a:lnTo>
                    <a:pt x="117520" y="793390"/>
                  </a:lnTo>
                  <a:lnTo>
                    <a:pt x="122038" y="793390"/>
                  </a:lnTo>
                  <a:lnTo>
                    <a:pt x="117520" y="783391"/>
                  </a:lnTo>
                  <a:lnTo>
                    <a:pt x="112027" y="783391"/>
                  </a:lnTo>
                  <a:lnTo>
                    <a:pt x="112027" y="773921"/>
                  </a:lnTo>
                  <a:lnTo>
                    <a:pt x="107509" y="769429"/>
                  </a:lnTo>
                  <a:lnTo>
                    <a:pt x="102529" y="763923"/>
                  </a:lnTo>
                  <a:lnTo>
                    <a:pt x="102529" y="754409"/>
                  </a:lnTo>
                  <a:lnTo>
                    <a:pt x="112027" y="754409"/>
                  </a:lnTo>
                  <a:lnTo>
                    <a:pt x="122038" y="754409"/>
                  </a:lnTo>
                  <a:lnTo>
                    <a:pt x="122038" y="749916"/>
                  </a:lnTo>
                  <a:lnTo>
                    <a:pt x="127019" y="754409"/>
                  </a:lnTo>
                  <a:lnTo>
                    <a:pt x="131537" y="759386"/>
                  </a:lnTo>
                  <a:lnTo>
                    <a:pt x="137030" y="759386"/>
                  </a:lnTo>
                  <a:lnTo>
                    <a:pt x="141548" y="754409"/>
                  </a:lnTo>
                  <a:lnTo>
                    <a:pt x="146528" y="759386"/>
                  </a:lnTo>
                  <a:lnTo>
                    <a:pt x="146528" y="754409"/>
                  </a:lnTo>
                  <a:lnTo>
                    <a:pt x="161571" y="754409"/>
                  </a:lnTo>
                  <a:lnTo>
                    <a:pt x="175536" y="754409"/>
                  </a:lnTo>
                  <a:lnTo>
                    <a:pt x="181081" y="759386"/>
                  </a:lnTo>
                  <a:lnTo>
                    <a:pt x="181081" y="749916"/>
                  </a:lnTo>
                  <a:lnTo>
                    <a:pt x="166038" y="744410"/>
                  </a:lnTo>
                  <a:lnTo>
                    <a:pt x="166038" y="734896"/>
                  </a:lnTo>
                  <a:lnTo>
                    <a:pt x="156540" y="739917"/>
                  </a:lnTo>
                  <a:lnTo>
                    <a:pt x="156540" y="744410"/>
                  </a:lnTo>
                  <a:lnTo>
                    <a:pt x="146528" y="744410"/>
                  </a:lnTo>
                  <a:lnTo>
                    <a:pt x="151560" y="734896"/>
                  </a:lnTo>
                  <a:lnTo>
                    <a:pt x="146528" y="734896"/>
                  </a:lnTo>
                  <a:lnTo>
                    <a:pt x="137030" y="730403"/>
                  </a:lnTo>
                  <a:lnTo>
                    <a:pt x="131537" y="730403"/>
                  </a:lnTo>
                  <a:lnTo>
                    <a:pt x="131537" y="724897"/>
                  </a:lnTo>
                  <a:lnTo>
                    <a:pt x="127019" y="710891"/>
                  </a:lnTo>
                  <a:lnTo>
                    <a:pt x="122038" y="700892"/>
                  </a:lnTo>
                  <a:lnTo>
                    <a:pt x="117520" y="695915"/>
                  </a:lnTo>
                  <a:lnTo>
                    <a:pt x="107509" y="691422"/>
                  </a:lnTo>
                  <a:lnTo>
                    <a:pt x="107509" y="666932"/>
                  </a:lnTo>
                  <a:lnTo>
                    <a:pt x="107509" y="652397"/>
                  </a:lnTo>
                  <a:lnTo>
                    <a:pt x="102529" y="642927"/>
                  </a:lnTo>
                  <a:lnTo>
                    <a:pt x="98011" y="642927"/>
                  </a:lnTo>
                  <a:lnTo>
                    <a:pt x="107509" y="637421"/>
                  </a:lnTo>
                  <a:lnTo>
                    <a:pt x="107509" y="627907"/>
                  </a:lnTo>
                  <a:lnTo>
                    <a:pt x="112027" y="618437"/>
                  </a:lnTo>
                  <a:lnTo>
                    <a:pt x="112027" y="613415"/>
                  </a:lnTo>
                  <a:lnTo>
                    <a:pt x="112027" y="603901"/>
                  </a:lnTo>
                  <a:lnTo>
                    <a:pt x="117520" y="594431"/>
                  </a:lnTo>
                  <a:lnTo>
                    <a:pt x="117520" y="588925"/>
                  </a:lnTo>
                  <a:lnTo>
                    <a:pt x="117520" y="584433"/>
                  </a:lnTo>
                  <a:lnTo>
                    <a:pt x="117520" y="579411"/>
                  </a:lnTo>
                  <a:lnTo>
                    <a:pt x="117520" y="569413"/>
                  </a:lnTo>
                  <a:lnTo>
                    <a:pt x="117520" y="564920"/>
                  </a:lnTo>
                  <a:lnTo>
                    <a:pt x="122038" y="555406"/>
                  </a:lnTo>
                  <a:lnTo>
                    <a:pt x="122038" y="549944"/>
                  </a:lnTo>
                  <a:lnTo>
                    <a:pt x="117520" y="549944"/>
                  </a:lnTo>
                  <a:lnTo>
                    <a:pt x="112027" y="555406"/>
                  </a:lnTo>
                  <a:lnTo>
                    <a:pt x="112027" y="549944"/>
                  </a:lnTo>
                  <a:lnTo>
                    <a:pt x="107509" y="530431"/>
                  </a:lnTo>
                  <a:lnTo>
                    <a:pt x="107509" y="520917"/>
                  </a:lnTo>
                  <a:lnTo>
                    <a:pt x="102529" y="506911"/>
                  </a:lnTo>
                  <a:lnTo>
                    <a:pt x="107509" y="491935"/>
                  </a:lnTo>
                  <a:lnTo>
                    <a:pt x="112027" y="481936"/>
                  </a:lnTo>
                  <a:lnTo>
                    <a:pt x="112027" y="472422"/>
                  </a:lnTo>
                  <a:lnTo>
                    <a:pt x="107509" y="448417"/>
                  </a:lnTo>
                  <a:lnTo>
                    <a:pt x="107509" y="442911"/>
                  </a:lnTo>
                  <a:lnTo>
                    <a:pt x="107509" y="438418"/>
                  </a:lnTo>
                  <a:lnTo>
                    <a:pt x="102529" y="438418"/>
                  </a:lnTo>
                  <a:lnTo>
                    <a:pt x="92517" y="423927"/>
                  </a:lnTo>
                  <a:lnTo>
                    <a:pt x="88050" y="409435"/>
                  </a:lnTo>
                  <a:lnTo>
                    <a:pt x="88050" y="404414"/>
                  </a:lnTo>
                  <a:lnTo>
                    <a:pt x="83019" y="394415"/>
                  </a:lnTo>
                  <a:lnTo>
                    <a:pt x="83019" y="389923"/>
                  </a:lnTo>
                  <a:lnTo>
                    <a:pt x="78501" y="384945"/>
                  </a:lnTo>
                  <a:lnTo>
                    <a:pt x="73521" y="374947"/>
                  </a:lnTo>
                  <a:lnTo>
                    <a:pt x="68027" y="370454"/>
                  </a:lnTo>
                  <a:lnTo>
                    <a:pt x="63509" y="360940"/>
                  </a:lnTo>
                  <a:lnTo>
                    <a:pt x="63509" y="355434"/>
                  </a:lnTo>
                  <a:lnTo>
                    <a:pt x="58529" y="350941"/>
                  </a:lnTo>
                  <a:lnTo>
                    <a:pt x="48518" y="345920"/>
                  </a:lnTo>
                  <a:lnTo>
                    <a:pt x="39019" y="345920"/>
                  </a:lnTo>
                  <a:lnTo>
                    <a:pt x="39019" y="341427"/>
                  </a:lnTo>
                  <a:lnTo>
                    <a:pt x="39019" y="331429"/>
                  </a:lnTo>
                  <a:lnTo>
                    <a:pt x="39019" y="321959"/>
                  </a:lnTo>
                  <a:lnTo>
                    <a:pt x="39019" y="312445"/>
                  </a:lnTo>
                  <a:lnTo>
                    <a:pt x="34501" y="292932"/>
                  </a:lnTo>
                  <a:lnTo>
                    <a:pt x="29008" y="292932"/>
                  </a:lnTo>
                  <a:lnTo>
                    <a:pt x="34501" y="277956"/>
                  </a:lnTo>
                  <a:lnTo>
                    <a:pt x="29008" y="267957"/>
                  </a:lnTo>
                  <a:lnTo>
                    <a:pt x="19510" y="263465"/>
                  </a:lnTo>
                  <a:lnTo>
                    <a:pt x="19510" y="258443"/>
                  </a:lnTo>
                  <a:lnTo>
                    <a:pt x="24490" y="248445"/>
                  </a:lnTo>
                  <a:lnTo>
                    <a:pt x="29008" y="243952"/>
                  </a:lnTo>
                  <a:lnTo>
                    <a:pt x="34501" y="238931"/>
                  </a:lnTo>
                  <a:lnTo>
                    <a:pt x="34501" y="229461"/>
                  </a:lnTo>
                  <a:lnTo>
                    <a:pt x="34501" y="219462"/>
                  </a:lnTo>
                  <a:lnTo>
                    <a:pt x="34501" y="214969"/>
                  </a:lnTo>
                  <a:lnTo>
                    <a:pt x="34501" y="199949"/>
                  </a:lnTo>
                  <a:lnTo>
                    <a:pt x="29008" y="195457"/>
                  </a:lnTo>
                  <a:lnTo>
                    <a:pt x="24490" y="190435"/>
                  </a:lnTo>
                  <a:lnTo>
                    <a:pt x="19510" y="185943"/>
                  </a:lnTo>
                  <a:lnTo>
                    <a:pt x="0" y="180437"/>
                  </a:lnTo>
                  <a:lnTo>
                    <a:pt x="4980" y="170967"/>
                  </a:lnTo>
                  <a:lnTo>
                    <a:pt x="0" y="160968"/>
                  </a:lnTo>
                  <a:lnTo>
                    <a:pt x="4980" y="151454"/>
                  </a:lnTo>
                  <a:lnTo>
                    <a:pt x="9498" y="151454"/>
                  </a:lnTo>
                  <a:lnTo>
                    <a:pt x="14992" y="151454"/>
                  </a:lnTo>
                  <a:lnTo>
                    <a:pt x="19510" y="160968"/>
                  </a:lnTo>
                  <a:lnTo>
                    <a:pt x="24490" y="160968"/>
                  </a:lnTo>
                  <a:lnTo>
                    <a:pt x="34501" y="156475"/>
                  </a:lnTo>
                  <a:lnTo>
                    <a:pt x="34501" y="160968"/>
                  </a:lnTo>
                  <a:lnTo>
                    <a:pt x="39019" y="160968"/>
                  </a:lnTo>
                  <a:lnTo>
                    <a:pt x="43999" y="170967"/>
                  </a:lnTo>
                  <a:lnTo>
                    <a:pt x="48518" y="175944"/>
                  </a:lnTo>
                  <a:lnTo>
                    <a:pt x="63509" y="180437"/>
                  </a:lnTo>
                  <a:lnTo>
                    <a:pt x="83019" y="180437"/>
                  </a:lnTo>
                  <a:lnTo>
                    <a:pt x="88050" y="185943"/>
                  </a:lnTo>
                  <a:lnTo>
                    <a:pt x="92517" y="185943"/>
                  </a:lnTo>
                  <a:lnTo>
                    <a:pt x="92517" y="190435"/>
                  </a:lnTo>
                  <a:lnTo>
                    <a:pt x="98011" y="195457"/>
                  </a:lnTo>
                  <a:lnTo>
                    <a:pt x="107509" y="195457"/>
                  </a:lnTo>
                  <a:lnTo>
                    <a:pt x="112027" y="195457"/>
                  </a:lnTo>
                  <a:lnTo>
                    <a:pt x="117520" y="199949"/>
                  </a:lnTo>
                  <a:lnTo>
                    <a:pt x="122038" y="199949"/>
                  </a:lnTo>
                  <a:lnTo>
                    <a:pt x="131537" y="195457"/>
                  </a:lnTo>
                  <a:lnTo>
                    <a:pt x="141548" y="195457"/>
                  </a:lnTo>
                  <a:lnTo>
                    <a:pt x="146528" y="195457"/>
                  </a:lnTo>
                  <a:lnTo>
                    <a:pt x="156540" y="195457"/>
                  </a:lnTo>
                  <a:lnTo>
                    <a:pt x="166038" y="190435"/>
                  </a:lnTo>
                  <a:lnTo>
                    <a:pt x="171070" y="175944"/>
                  </a:lnTo>
                  <a:lnTo>
                    <a:pt x="175536" y="180437"/>
                  </a:lnTo>
                  <a:lnTo>
                    <a:pt x="185548" y="175944"/>
                  </a:lnTo>
                  <a:lnTo>
                    <a:pt x="190579" y="170967"/>
                  </a:lnTo>
                  <a:lnTo>
                    <a:pt x="205058" y="170967"/>
                  </a:lnTo>
                  <a:lnTo>
                    <a:pt x="214556" y="175944"/>
                  </a:lnTo>
                  <a:lnTo>
                    <a:pt x="220049" y="175944"/>
                  </a:lnTo>
                  <a:lnTo>
                    <a:pt x="229599" y="180437"/>
                  </a:lnTo>
                  <a:lnTo>
                    <a:pt x="244591" y="180437"/>
                  </a:lnTo>
                  <a:lnTo>
                    <a:pt x="244591" y="190435"/>
                  </a:lnTo>
                  <a:lnTo>
                    <a:pt x="249057" y="199949"/>
                  </a:lnTo>
                  <a:lnTo>
                    <a:pt x="249057" y="205455"/>
                  </a:lnTo>
                  <a:lnTo>
                    <a:pt x="249057" y="209948"/>
                  </a:lnTo>
                  <a:lnTo>
                    <a:pt x="254089" y="214969"/>
                  </a:lnTo>
                  <a:lnTo>
                    <a:pt x="254089" y="229461"/>
                  </a:lnTo>
                  <a:lnTo>
                    <a:pt x="244591" y="224968"/>
                  </a:lnTo>
                  <a:lnTo>
                    <a:pt x="239559" y="234438"/>
                  </a:lnTo>
                  <a:lnTo>
                    <a:pt x="239559" y="238931"/>
                  </a:lnTo>
                  <a:lnTo>
                    <a:pt x="234579" y="238931"/>
                  </a:lnTo>
                  <a:lnTo>
                    <a:pt x="225081" y="243952"/>
                  </a:lnTo>
                  <a:lnTo>
                    <a:pt x="225081" y="253951"/>
                  </a:lnTo>
                  <a:lnTo>
                    <a:pt x="225081" y="258443"/>
                  </a:lnTo>
                  <a:lnTo>
                    <a:pt x="225081" y="267957"/>
                  </a:lnTo>
                  <a:lnTo>
                    <a:pt x="229599" y="273463"/>
                  </a:lnTo>
                  <a:lnTo>
                    <a:pt x="234579" y="282933"/>
                  </a:lnTo>
                  <a:lnTo>
                    <a:pt x="234579" y="287426"/>
                  </a:lnTo>
                  <a:lnTo>
                    <a:pt x="244591" y="297425"/>
                  </a:lnTo>
                  <a:lnTo>
                    <a:pt x="249057" y="302446"/>
                  </a:lnTo>
                  <a:lnTo>
                    <a:pt x="249057" y="306939"/>
                  </a:lnTo>
                  <a:lnTo>
                    <a:pt x="254089" y="312445"/>
                  </a:lnTo>
                  <a:lnTo>
                    <a:pt x="258607" y="316937"/>
                  </a:lnTo>
                  <a:lnTo>
                    <a:pt x="264100" y="326451"/>
                  </a:lnTo>
                  <a:lnTo>
                    <a:pt x="268567" y="331429"/>
                  </a:lnTo>
                  <a:lnTo>
                    <a:pt x="268567" y="341427"/>
                  </a:lnTo>
                  <a:lnTo>
                    <a:pt x="264100" y="360940"/>
                  </a:lnTo>
                  <a:lnTo>
                    <a:pt x="264100" y="365433"/>
                  </a:lnTo>
                  <a:lnTo>
                    <a:pt x="268567" y="365433"/>
                  </a:lnTo>
                  <a:lnTo>
                    <a:pt x="278065" y="365433"/>
                  </a:lnTo>
                  <a:lnTo>
                    <a:pt x="273598" y="370454"/>
                  </a:lnTo>
                  <a:lnTo>
                    <a:pt x="278065" y="374947"/>
                  </a:lnTo>
                  <a:lnTo>
                    <a:pt x="278065" y="380453"/>
                  </a:lnTo>
                  <a:lnTo>
                    <a:pt x="288077" y="380453"/>
                  </a:lnTo>
                  <a:lnTo>
                    <a:pt x="293108" y="370454"/>
                  </a:lnTo>
                  <a:lnTo>
                    <a:pt x="288077" y="365433"/>
                  </a:lnTo>
                  <a:lnTo>
                    <a:pt x="298602" y="355434"/>
                  </a:lnTo>
                  <a:lnTo>
                    <a:pt x="298602" y="350941"/>
                  </a:lnTo>
                  <a:lnTo>
                    <a:pt x="308100" y="350941"/>
                  </a:lnTo>
                  <a:lnTo>
                    <a:pt x="317598" y="350941"/>
                  </a:lnTo>
                  <a:lnTo>
                    <a:pt x="322578" y="345920"/>
                  </a:lnTo>
                  <a:lnTo>
                    <a:pt x="337108" y="345920"/>
                  </a:lnTo>
                  <a:lnTo>
                    <a:pt x="341626" y="345920"/>
                  </a:lnTo>
                  <a:lnTo>
                    <a:pt x="356618" y="350941"/>
                  </a:lnTo>
                  <a:lnTo>
                    <a:pt x="361136" y="355434"/>
                  </a:lnTo>
                  <a:lnTo>
                    <a:pt x="371609" y="365433"/>
                  </a:lnTo>
                  <a:lnTo>
                    <a:pt x="381621" y="365433"/>
                  </a:lnTo>
                  <a:lnTo>
                    <a:pt x="391119" y="370454"/>
                  </a:lnTo>
                  <a:lnTo>
                    <a:pt x="405649" y="374947"/>
                  </a:lnTo>
                  <a:lnTo>
                    <a:pt x="420127" y="374947"/>
                  </a:lnTo>
                  <a:lnTo>
                    <a:pt x="430138" y="380453"/>
                  </a:lnTo>
                  <a:lnTo>
                    <a:pt x="449648" y="380453"/>
                  </a:lnTo>
                  <a:lnTo>
                    <a:pt x="459146" y="380453"/>
                  </a:lnTo>
                  <a:lnTo>
                    <a:pt x="464640" y="380453"/>
                  </a:lnTo>
                  <a:lnTo>
                    <a:pt x="464640" y="384945"/>
                  </a:lnTo>
                  <a:lnTo>
                    <a:pt x="469158" y="384945"/>
                  </a:lnTo>
                  <a:lnTo>
                    <a:pt x="474138" y="384945"/>
                  </a:lnTo>
                  <a:lnTo>
                    <a:pt x="483636" y="380453"/>
                  </a:lnTo>
                  <a:lnTo>
                    <a:pt x="488668" y="380453"/>
                  </a:lnTo>
                  <a:lnTo>
                    <a:pt x="507664" y="384945"/>
                  </a:lnTo>
                  <a:lnTo>
                    <a:pt x="518189" y="384945"/>
                  </a:lnTo>
                  <a:lnTo>
                    <a:pt x="522656" y="384945"/>
                  </a:lnTo>
                  <a:lnTo>
                    <a:pt x="532667" y="389923"/>
                  </a:lnTo>
                  <a:lnTo>
                    <a:pt x="542165" y="389923"/>
                  </a:lnTo>
                  <a:lnTo>
                    <a:pt x="552177" y="389923"/>
                  </a:lnTo>
                  <a:lnTo>
                    <a:pt x="552177" y="394415"/>
                  </a:lnTo>
                  <a:lnTo>
                    <a:pt x="557157" y="394415"/>
                  </a:lnTo>
                  <a:lnTo>
                    <a:pt x="566707" y="399921"/>
                  </a:lnTo>
                  <a:lnTo>
                    <a:pt x="576667" y="409435"/>
                  </a:lnTo>
                  <a:lnTo>
                    <a:pt x="586165" y="413928"/>
                  </a:lnTo>
                  <a:lnTo>
                    <a:pt x="605675" y="418949"/>
                  </a:lnTo>
                  <a:lnTo>
                    <a:pt x="625185" y="418949"/>
                  </a:lnTo>
                  <a:lnTo>
                    <a:pt x="635196" y="418949"/>
                  </a:lnTo>
                  <a:lnTo>
                    <a:pt x="654706" y="413928"/>
                  </a:lnTo>
                  <a:lnTo>
                    <a:pt x="664718" y="409435"/>
                  </a:lnTo>
                  <a:lnTo>
                    <a:pt x="669236" y="404414"/>
                  </a:lnTo>
                  <a:lnTo>
                    <a:pt x="674729" y="404414"/>
                  </a:lnTo>
                  <a:lnTo>
                    <a:pt x="679196" y="399921"/>
                  </a:lnTo>
                  <a:lnTo>
                    <a:pt x="694239" y="394415"/>
                  </a:lnTo>
                  <a:lnTo>
                    <a:pt x="698706" y="389923"/>
                  </a:lnTo>
                  <a:lnTo>
                    <a:pt x="708204" y="384945"/>
                  </a:lnTo>
                  <a:lnTo>
                    <a:pt x="718216" y="374947"/>
                  </a:lnTo>
                  <a:lnTo>
                    <a:pt x="718216" y="370454"/>
                  </a:lnTo>
                  <a:lnTo>
                    <a:pt x="727714" y="365433"/>
                  </a:lnTo>
                  <a:lnTo>
                    <a:pt x="738239" y="355434"/>
                  </a:lnTo>
                  <a:lnTo>
                    <a:pt x="742757" y="355434"/>
                  </a:lnTo>
                  <a:lnTo>
                    <a:pt x="757749" y="350941"/>
                  </a:lnTo>
                  <a:lnTo>
                    <a:pt x="767247" y="345920"/>
                  </a:lnTo>
                  <a:lnTo>
                    <a:pt x="781725" y="345920"/>
                  </a:lnTo>
                  <a:lnTo>
                    <a:pt x="791275" y="341427"/>
                  </a:lnTo>
                  <a:lnTo>
                    <a:pt x="796002" y="341427"/>
                  </a:lnTo>
                  <a:lnTo>
                    <a:pt x="796002" y="341231"/>
                  </a:lnTo>
                  <a:lnTo>
                    <a:pt x="800515" y="341231"/>
                  </a:lnTo>
                  <a:lnTo>
                    <a:pt x="811035" y="341231"/>
                  </a:lnTo>
                  <a:lnTo>
                    <a:pt x="820559" y="336216"/>
                  </a:lnTo>
                  <a:lnTo>
                    <a:pt x="825072" y="336216"/>
                  </a:lnTo>
                  <a:lnTo>
                    <a:pt x="825072" y="331699"/>
                  </a:lnTo>
                  <a:lnTo>
                    <a:pt x="800515" y="331699"/>
                  </a:lnTo>
                  <a:lnTo>
                    <a:pt x="785980" y="331699"/>
                  </a:lnTo>
                  <a:lnTo>
                    <a:pt x="780969" y="331699"/>
                  </a:lnTo>
                  <a:lnTo>
                    <a:pt x="776456" y="331699"/>
                  </a:lnTo>
                  <a:lnTo>
                    <a:pt x="761423" y="321669"/>
                  </a:lnTo>
                  <a:lnTo>
                    <a:pt x="732352" y="321669"/>
                  </a:lnTo>
                  <a:lnTo>
                    <a:pt x="722330" y="316655"/>
                  </a:lnTo>
                  <a:lnTo>
                    <a:pt x="722330" y="312138"/>
                  </a:lnTo>
                  <a:lnTo>
                    <a:pt x="722330" y="306625"/>
                  </a:lnTo>
                  <a:lnTo>
                    <a:pt x="712806" y="297132"/>
                  </a:lnTo>
                  <a:lnTo>
                    <a:pt x="712806" y="292615"/>
                  </a:lnTo>
                  <a:lnTo>
                    <a:pt x="717319" y="282585"/>
                  </a:lnTo>
                  <a:lnTo>
                    <a:pt x="732352" y="253530"/>
                  </a:lnTo>
                  <a:lnTo>
                    <a:pt x="737363" y="243501"/>
                  </a:lnTo>
                  <a:lnTo>
                    <a:pt x="741876" y="234008"/>
                  </a:lnTo>
                  <a:lnTo>
                    <a:pt x="751899" y="214446"/>
                  </a:lnTo>
                  <a:lnTo>
                    <a:pt x="751899" y="199402"/>
                  </a:lnTo>
                  <a:lnTo>
                    <a:pt x="756910" y="199402"/>
                  </a:lnTo>
                  <a:lnTo>
                    <a:pt x="756910" y="194923"/>
                  </a:lnTo>
                  <a:lnTo>
                    <a:pt x="766932" y="189909"/>
                  </a:lnTo>
                  <a:lnTo>
                    <a:pt x="771445" y="189909"/>
                  </a:lnTo>
                  <a:lnTo>
                    <a:pt x="785980" y="179879"/>
                  </a:lnTo>
                  <a:lnTo>
                    <a:pt x="790991" y="179879"/>
                  </a:lnTo>
                  <a:lnTo>
                    <a:pt x="796002" y="175362"/>
                  </a:lnTo>
                  <a:lnTo>
                    <a:pt x="800515" y="175362"/>
                  </a:lnTo>
                  <a:lnTo>
                    <a:pt x="811035" y="175362"/>
                  </a:lnTo>
                  <a:lnTo>
                    <a:pt x="815548" y="170347"/>
                  </a:lnTo>
                  <a:lnTo>
                    <a:pt x="815548" y="165830"/>
                  </a:lnTo>
                  <a:lnTo>
                    <a:pt x="820559" y="165830"/>
                  </a:lnTo>
                  <a:lnTo>
                    <a:pt x="825072" y="160318"/>
                  </a:lnTo>
                  <a:lnTo>
                    <a:pt x="835094" y="160318"/>
                  </a:lnTo>
                  <a:lnTo>
                    <a:pt x="835094" y="155839"/>
                  </a:lnTo>
                  <a:lnTo>
                    <a:pt x="844618" y="150824"/>
                  </a:lnTo>
                  <a:lnTo>
                    <a:pt x="864164" y="140795"/>
                  </a:lnTo>
                  <a:lnTo>
                    <a:pt x="879198" y="131263"/>
                  </a:lnTo>
                  <a:lnTo>
                    <a:pt x="884209" y="131263"/>
                  </a:lnTo>
                  <a:lnTo>
                    <a:pt x="894231" y="121770"/>
                  </a:lnTo>
                  <a:lnTo>
                    <a:pt x="898744" y="116755"/>
                  </a:lnTo>
                  <a:lnTo>
                    <a:pt x="908268" y="111740"/>
                  </a:lnTo>
                  <a:lnTo>
                    <a:pt x="923301" y="111740"/>
                  </a:lnTo>
                  <a:lnTo>
                    <a:pt x="927814" y="107223"/>
                  </a:lnTo>
                  <a:lnTo>
                    <a:pt x="932825" y="107223"/>
                  </a:lnTo>
                  <a:lnTo>
                    <a:pt x="947858" y="102208"/>
                  </a:lnTo>
                  <a:lnTo>
                    <a:pt x="962393" y="107223"/>
                  </a:lnTo>
                  <a:lnTo>
                    <a:pt x="967404" y="107223"/>
                  </a:lnTo>
                  <a:lnTo>
                    <a:pt x="981939" y="102208"/>
                  </a:lnTo>
                  <a:lnTo>
                    <a:pt x="991463" y="97691"/>
                  </a:lnTo>
                  <a:lnTo>
                    <a:pt x="996972" y="92179"/>
                  </a:lnTo>
                  <a:lnTo>
                    <a:pt x="1016021" y="92179"/>
                  </a:lnTo>
                  <a:lnTo>
                    <a:pt x="1026043" y="87700"/>
                  </a:lnTo>
                  <a:lnTo>
                    <a:pt x="1031054" y="82686"/>
                  </a:lnTo>
                  <a:lnTo>
                    <a:pt x="1035567" y="82686"/>
                  </a:lnTo>
                  <a:lnTo>
                    <a:pt x="1041107" y="82686"/>
                  </a:lnTo>
                  <a:lnTo>
                    <a:pt x="1060653" y="82686"/>
                  </a:lnTo>
                  <a:lnTo>
                    <a:pt x="1070146" y="78168"/>
                  </a:lnTo>
                  <a:lnTo>
                    <a:pt x="1094734" y="72656"/>
                  </a:lnTo>
                  <a:lnTo>
                    <a:pt x="1099216" y="68139"/>
                  </a:lnTo>
                  <a:lnTo>
                    <a:pt x="1104756" y="63124"/>
                  </a:lnTo>
                  <a:lnTo>
                    <a:pt x="1109269" y="63124"/>
                  </a:lnTo>
                  <a:lnTo>
                    <a:pt x="1114281" y="63124"/>
                  </a:lnTo>
                  <a:lnTo>
                    <a:pt x="1118762" y="58607"/>
                  </a:lnTo>
                  <a:lnTo>
                    <a:pt x="1128816" y="48616"/>
                  </a:lnTo>
                  <a:lnTo>
                    <a:pt x="1133827" y="43601"/>
                  </a:lnTo>
                  <a:lnTo>
                    <a:pt x="1143849" y="39084"/>
                  </a:lnTo>
                  <a:lnTo>
                    <a:pt x="1148362" y="33572"/>
                  </a:lnTo>
                  <a:lnTo>
                    <a:pt x="1153373" y="29055"/>
                  </a:lnTo>
                  <a:lnTo>
                    <a:pt x="1172919" y="14547"/>
                  </a:lnTo>
                  <a:lnTo>
                    <a:pt x="1182443" y="4517"/>
                  </a:lnTo>
                  <a:lnTo>
                    <a:pt x="1187952" y="4517"/>
                  </a:lnTo>
                  <a:lnTo>
                    <a:pt x="1197476" y="9532"/>
                  </a:lnTo>
                  <a:lnTo>
                    <a:pt x="1201989" y="4517"/>
                  </a:lnTo>
                  <a:close/>
                </a:path>
              </a:pathLst>
            </a:custGeom>
            <a:solidFill>
              <a:srgbClr val="FAD1E6"/>
            </a:solidFill>
            <a:ln w="6350" cap="flat" cmpd="sng" algn="ctr">
              <a:solidFill>
                <a:sysClr val="window" lastClr="FFFFFF"/>
              </a:solidFill>
              <a:prstDash val="solid"/>
              <a:miter lim="800000"/>
            </a:ln>
            <a:effectLst/>
          </p:spPr>
          <p:txBody>
            <a:bodyPr rot="0" spcFirstLastPara="0" vert="horz" wrap="square" lIns="58652" tIns="29326" rIns="58652" bIns="2932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586496">
                <a:defRPr/>
              </a:pPr>
              <a:endParaRPr lang="fr-FR" sz="1400">
                <a:solidFill>
                  <a:srgbClr val="FFFFFF"/>
                </a:solidFill>
                <a:latin typeface="Helvetica Neue"/>
              </a:endParaRPr>
            </a:p>
          </p:txBody>
        </p:sp>
        <p:sp>
          <p:nvSpPr>
            <p:cNvPr id="53" name="Forme libre 13">
              <a:extLst>
                <a:ext uri="{FF2B5EF4-FFF2-40B4-BE49-F238E27FC236}">
                  <a16:creationId xmlns:a16="http://schemas.microsoft.com/office/drawing/2014/main" id="{F519230E-8A42-4865-90EC-C4955E0169CF}"/>
                </a:ext>
              </a:extLst>
            </p:cNvPr>
            <p:cNvSpPr/>
            <p:nvPr/>
          </p:nvSpPr>
          <p:spPr>
            <a:xfrm>
              <a:off x="3315272" y="4196841"/>
              <a:ext cx="243734" cy="326776"/>
            </a:xfrm>
            <a:custGeom>
              <a:avLst/>
              <a:gdLst>
                <a:gd name="connsiteX0" fmla="*/ 788218 w 1755816"/>
                <a:gd name="connsiteY0" fmla="*/ 0 h 2389440"/>
                <a:gd name="connsiteX1" fmla="*/ 788218 w 1755816"/>
                <a:gd name="connsiteY1" fmla="*/ 4995 h 2389440"/>
                <a:gd name="connsiteX2" fmla="*/ 793223 w 1755816"/>
                <a:gd name="connsiteY2" fmla="*/ 4995 h 2389440"/>
                <a:gd name="connsiteX3" fmla="*/ 797703 w 1755816"/>
                <a:gd name="connsiteY3" fmla="*/ 4995 h 2389440"/>
                <a:gd name="connsiteX4" fmla="*/ 802707 w 1755816"/>
                <a:gd name="connsiteY4" fmla="*/ 19525 h 2389440"/>
                <a:gd name="connsiteX5" fmla="*/ 807711 w 1755816"/>
                <a:gd name="connsiteY5" fmla="*/ 19525 h 2389440"/>
                <a:gd name="connsiteX6" fmla="*/ 812715 w 1755816"/>
                <a:gd name="connsiteY6" fmla="*/ 29004 h 2389440"/>
                <a:gd name="connsiteX7" fmla="*/ 817243 w 1755816"/>
                <a:gd name="connsiteY7" fmla="*/ 29004 h 2389440"/>
                <a:gd name="connsiteX8" fmla="*/ 817243 w 1755816"/>
                <a:gd name="connsiteY8" fmla="*/ 24520 h 2389440"/>
                <a:gd name="connsiteX9" fmla="*/ 832208 w 1755816"/>
                <a:gd name="connsiteY9" fmla="*/ 29004 h 2389440"/>
                <a:gd name="connsiteX10" fmla="*/ 832208 w 1755816"/>
                <a:gd name="connsiteY10" fmla="*/ 39051 h 2389440"/>
                <a:gd name="connsiteX11" fmla="*/ 836736 w 1755816"/>
                <a:gd name="connsiteY11" fmla="*/ 39051 h 2389440"/>
                <a:gd name="connsiteX12" fmla="*/ 846220 w 1755816"/>
                <a:gd name="connsiteY12" fmla="*/ 34510 h 2389440"/>
                <a:gd name="connsiteX13" fmla="*/ 846220 w 1755816"/>
                <a:gd name="connsiteY13" fmla="*/ 39051 h 2389440"/>
                <a:gd name="connsiteX14" fmla="*/ 851748 w 1755816"/>
                <a:gd name="connsiteY14" fmla="*/ 48530 h 2389440"/>
                <a:gd name="connsiteX15" fmla="*/ 841740 w 1755816"/>
                <a:gd name="connsiteY15" fmla="*/ 58577 h 2389440"/>
                <a:gd name="connsiteX16" fmla="*/ 846220 w 1755816"/>
                <a:gd name="connsiteY16" fmla="*/ 63572 h 2389440"/>
                <a:gd name="connsiteX17" fmla="*/ 851748 w 1755816"/>
                <a:gd name="connsiteY17" fmla="*/ 63572 h 2389440"/>
                <a:gd name="connsiteX18" fmla="*/ 856228 w 1755816"/>
                <a:gd name="connsiteY18" fmla="*/ 68056 h 2389440"/>
                <a:gd name="connsiteX19" fmla="*/ 866237 w 1755816"/>
                <a:gd name="connsiteY19" fmla="*/ 58577 h 2389440"/>
                <a:gd name="connsiteX20" fmla="*/ 880725 w 1755816"/>
                <a:gd name="connsiteY20" fmla="*/ 63572 h 2389440"/>
                <a:gd name="connsiteX21" fmla="*/ 876245 w 1755816"/>
                <a:gd name="connsiteY21" fmla="*/ 73561 h 2389440"/>
                <a:gd name="connsiteX22" fmla="*/ 890257 w 1755816"/>
                <a:gd name="connsiteY22" fmla="*/ 68056 h 2389440"/>
                <a:gd name="connsiteX23" fmla="*/ 895738 w 1755816"/>
                <a:gd name="connsiteY23" fmla="*/ 83097 h 2389440"/>
                <a:gd name="connsiteX24" fmla="*/ 890257 w 1755816"/>
                <a:gd name="connsiteY24" fmla="*/ 87581 h 2389440"/>
                <a:gd name="connsiteX25" fmla="*/ 890257 w 1755816"/>
                <a:gd name="connsiteY25" fmla="*/ 97628 h 2389440"/>
                <a:gd name="connsiteX26" fmla="*/ 885729 w 1755816"/>
                <a:gd name="connsiteY26" fmla="*/ 102623 h 2389440"/>
                <a:gd name="connsiteX27" fmla="*/ 890257 w 1755816"/>
                <a:gd name="connsiteY27" fmla="*/ 112102 h 2389440"/>
                <a:gd name="connsiteX28" fmla="*/ 890257 w 1755816"/>
                <a:gd name="connsiteY28" fmla="*/ 116643 h 2389440"/>
                <a:gd name="connsiteX29" fmla="*/ 890257 w 1755816"/>
                <a:gd name="connsiteY29" fmla="*/ 122148 h 2389440"/>
                <a:gd name="connsiteX30" fmla="*/ 895738 w 1755816"/>
                <a:gd name="connsiteY30" fmla="*/ 136168 h 2389440"/>
                <a:gd name="connsiteX31" fmla="*/ 905222 w 1755816"/>
                <a:gd name="connsiteY31" fmla="*/ 131627 h 2389440"/>
                <a:gd name="connsiteX32" fmla="*/ 909750 w 1755816"/>
                <a:gd name="connsiteY32" fmla="*/ 126632 h 2389440"/>
                <a:gd name="connsiteX33" fmla="*/ 919758 w 1755816"/>
                <a:gd name="connsiteY33" fmla="*/ 131627 h 2389440"/>
                <a:gd name="connsiteX34" fmla="*/ 929242 w 1755816"/>
                <a:gd name="connsiteY34" fmla="*/ 131627 h 2389440"/>
                <a:gd name="connsiteX35" fmla="*/ 939727 w 1755816"/>
                <a:gd name="connsiteY35" fmla="*/ 136168 h 2389440"/>
                <a:gd name="connsiteX36" fmla="*/ 944255 w 1755816"/>
                <a:gd name="connsiteY36" fmla="*/ 131627 h 2389440"/>
                <a:gd name="connsiteX37" fmla="*/ 959268 w 1755816"/>
                <a:gd name="connsiteY37" fmla="*/ 126632 h 2389440"/>
                <a:gd name="connsiteX38" fmla="*/ 968752 w 1755816"/>
                <a:gd name="connsiteY38" fmla="*/ 122148 h 2389440"/>
                <a:gd name="connsiteX39" fmla="*/ 983240 w 1755816"/>
                <a:gd name="connsiteY39" fmla="*/ 122148 h 2389440"/>
                <a:gd name="connsiteX40" fmla="*/ 1003258 w 1755816"/>
                <a:gd name="connsiteY40" fmla="*/ 122148 h 2389440"/>
                <a:gd name="connsiteX41" fmla="*/ 1003258 w 1755816"/>
                <a:gd name="connsiteY41" fmla="*/ 116643 h 2389440"/>
                <a:gd name="connsiteX42" fmla="*/ 988245 w 1755816"/>
                <a:gd name="connsiteY42" fmla="*/ 112102 h 2389440"/>
                <a:gd name="connsiteX43" fmla="*/ 988245 w 1755816"/>
                <a:gd name="connsiteY43" fmla="*/ 102623 h 2389440"/>
                <a:gd name="connsiteX44" fmla="*/ 988245 w 1755816"/>
                <a:gd name="connsiteY44" fmla="*/ 97628 h 2389440"/>
                <a:gd name="connsiteX45" fmla="*/ 998253 w 1755816"/>
                <a:gd name="connsiteY45" fmla="*/ 97628 h 2389440"/>
                <a:gd name="connsiteX46" fmla="*/ 1007785 w 1755816"/>
                <a:gd name="connsiteY46" fmla="*/ 97628 h 2389440"/>
                <a:gd name="connsiteX47" fmla="*/ 1007785 w 1755816"/>
                <a:gd name="connsiteY47" fmla="*/ 102623 h 2389440"/>
                <a:gd name="connsiteX48" fmla="*/ 1007785 w 1755816"/>
                <a:gd name="connsiteY48" fmla="*/ 107107 h 2389440"/>
                <a:gd name="connsiteX49" fmla="*/ 1013266 w 1755816"/>
                <a:gd name="connsiteY49" fmla="*/ 107107 h 2389440"/>
                <a:gd name="connsiteX50" fmla="*/ 1022750 w 1755816"/>
                <a:gd name="connsiteY50" fmla="*/ 107107 h 2389440"/>
                <a:gd name="connsiteX51" fmla="*/ 1022750 w 1755816"/>
                <a:gd name="connsiteY51" fmla="*/ 112102 h 2389440"/>
                <a:gd name="connsiteX52" fmla="*/ 1037287 w 1755816"/>
                <a:gd name="connsiteY52" fmla="*/ 116643 h 2389440"/>
                <a:gd name="connsiteX53" fmla="*/ 1037287 w 1755816"/>
                <a:gd name="connsiteY53" fmla="*/ 126632 h 2389440"/>
                <a:gd name="connsiteX54" fmla="*/ 1037287 w 1755816"/>
                <a:gd name="connsiteY54" fmla="*/ 141674 h 2389440"/>
                <a:gd name="connsiteX55" fmla="*/ 1042291 w 1755816"/>
                <a:gd name="connsiteY55" fmla="*/ 151153 h 2389440"/>
                <a:gd name="connsiteX56" fmla="*/ 1042291 w 1755816"/>
                <a:gd name="connsiteY56" fmla="*/ 155694 h 2389440"/>
                <a:gd name="connsiteX57" fmla="*/ 1046771 w 1755816"/>
                <a:gd name="connsiteY57" fmla="*/ 165684 h 2389440"/>
                <a:gd name="connsiteX58" fmla="*/ 1051775 w 1755816"/>
                <a:gd name="connsiteY58" fmla="*/ 170679 h 2389440"/>
                <a:gd name="connsiteX59" fmla="*/ 1056255 w 1755816"/>
                <a:gd name="connsiteY59" fmla="*/ 175163 h 2389440"/>
                <a:gd name="connsiteX60" fmla="*/ 1061783 w 1755816"/>
                <a:gd name="connsiteY60" fmla="*/ 175163 h 2389440"/>
                <a:gd name="connsiteX61" fmla="*/ 1066263 w 1755816"/>
                <a:gd name="connsiteY61" fmla="*/ 175163 h 2389440"/>
                <a:gd name="connsiteX62" fmla="*/ 1061783 w 1755816"/>
                <a:gd name="connsiteY62" fmla="*/ 180214 h 2389440"/>
                <a:gd name="connsiteX63" fmla="*/ 1076796 w 1755816"/>
                <a:gd name="connsiteY63" fmla="*/ 185209 h 2389440"/>
                <a:gd name="connsiteX64" fmla="*/ 1071268 w 1755816"/>
                <a:gd name="connsiteY64" fmla="*/ 190204 h 2389440"/>
                <a:gd name="connsiteX65" fmla="*/ 1076796 w 1755816"/>
                <a:gd name="connsiteY65" fmla="*/ 199740 h 2389440"/>
                <a:gd name="connsiteX66" fmla="*/ 1081276 w 1755816"/>
                <a:gd name="connsiteY66" fmla="*/ 204224 h 2389440"/>
                <a:gd name="connsiteX67" fmla="*/ 1081276 w 1755816"/>
                <a:gd name="connsiteY67" fmla="*/ 219209 h 2389440"/>
                <a:gd name="connsiteX68" fmla="*/ 1086280 w 1755816"/>
                <a:gd name="connsiteY68" fmla="*/ 219209 h 2389440"/>
                <a:gd name="connsiteX69" fmla="*/ 1090760 w 1755816"/>
                <a:gd name="connsiteY69" fmla="*/ 233739 h 2389440"/>
                <a:gd name="connsiteX70" fmla="*/ 1095765 w 1755816"/>
                <a:gd name="connsiteY70" fmla="*/ 233739 h 2389440"/>
                <a:gd name="connsiteX71" fmla="*/ 1100769 w 1755816"/>
                <a:gd name="connsiteY71" fmla="*/ 238734 h 2389440"/>
                <a:gd name="connsiteX72" fmla="*/ 1105773 w 1755816"/>
                <a:gd name="connsiteY72" fmla="*/ 243275 h 2389440"/>
                <a:gd name="connsiteX73" fmla="*/ 1110301 w 1755816"/>
                <a:gd name="connsiteY73" fmla="*/ 248781 h 2389440"/>
                <a:gd name="connsiteX74" fmla="*/ 1115305 w 1755816"/>
                <a:gd name="connsiteY74" fmla="*/ 248781 h 2389440"/>
                <a:gd name="connsiteX75" fmla="*/ 1119785 w 1755816"/>
                <a:gd name="connsiteY75" fmla="*/ 262801 h 2389440"/>
                <a:gd name="connsiteX76" fmla="*/ 1119785 w 1755816"/>
                <a:gd name="connsiteY76" fmla="*/ 268307 h 2389440"/>
                <a:gd name="connsiteX77" fmla="*/ 1115305 w 1755816"/>
                <a:gd name="connsiteY77" fmla="*/ 277786 h 2389440"/>
                <a:gd name="connsiteX78" fmla="*/ 1115305 w 1755816"/>
                <a:gd name="connsiteY78" fmla="*/ 282326 h 2389440"/>
                <a:gd name="connsiteX79" fmla="*/ 1115305 w 1755816"/>
                <a:gd name="connsiteY79" fmla="*/ 292316 h 2389440"/>
                <a:gd name="connsiteX80" fmla="*/ 1105773 w 1755816"/>
                <a:gd name="connsiteY80" fmla="*/ 301795 h 2389440"/>
                <a:gd name="connsiteX81" fmla="*/ 1115305 w 1755816"/>
                <a:gd name="connsiteY81" fmla="*/ 316837 h 2389440"/>
                <a:gd name="connsiteX82" fmla="*/ 1115305 w 1755816"/>
                <a:gd name="connsiteY82" fmla="*/ 321321 h 2389440"/>
                <a:gd name="connsiteX83" fmla="*/ 1125266 w 1755816"/>
                <a:gd name="connsiteY83" fmla="*/ 326372 h 2389440"/>
                <a:gd name="connsiteX84" fmla="*/ 1125266 w 1755816"/>
                <a:gd name="connsiteY84" fmla="*/ 330857 h 2389440"/>
                <a:gd name="connsiteX85" fmla="*/ 1139278 w 1755816"/>
                <a:gd name="connsiteY85" fmla="*/ 336362 h 2389440"/>
                <a:gd name="connsiteX86" fmla="*/ 1144806 w 1755816"/>
                <a:gd name="connsiteY86" fmla="*/ 340846 h 2389440"/>
                <a:gd name="connsiteX87" fmla="*/ 1154290 w 1755816"/>
                <a:gd name="connsiteY87" fmla="*/ 340846 h 2389440"/>
                <a:gd name="connsiteX88" fmla="*/ 1159771 w 1755816"/>
                <a:gd name="connsiteY88" fmla="*/ 350382 h 2389440"/>
                <a:gd name="connsiteX89" fmla="*/ 1154290 w 1755816"/>
                <a:gd name="connsiteY89" fmla="*/ 355888 h 2389440"/>
                <a:gd name="connsiteX90" fmla="*/ 1188796 w 1755816"/>
                <a:gd name="connsiteY90" fmla="*/ 360372 h 2389440"/>
                <a:gd name="connsiteX91" fmla="*/ 1193276 w 1755816"/>
                <a:gd name="connsiteY91" fmla="*/ 365367 h 2389440"/>
                <a:gd name="connsiteX92" fmla="*/ 1202807 w 1755816"/>
                <a:gd name="connsiteY92" fmla="*/ 375413 h 2389440"/>
                <a:gd name="connsiteX93" fmla="*/ 1198280 w 1755816"/>
                <a:gd name="connsiteY93" fmla="*/ 379898 h 2389440"/>
                <a:gd name="connsiteX94" fmla="*/ 1202807 w 1755816"/>
                <a:gd name="connsiteY94" fmla="*/ 394428 h 2389440"/>
                <a:gd name="connsiteX95" fmla="*/ 1198280 w 1755816"/>
                <a:gd name="connsiteY95" fmla="*/ 394428 h 2389440"/>
                <a:gd name="connsiteX96" fmla="*/ 1202807 w 1755816"/>
                <a:gd name="connsiteY96" fmla="*/ 404418 h 2389440"/>
                <a:gd name="connsiteX97" fmla="*/ 1208288 w 1755816"/>
                <a:gd name="connsiteY97" fmla="*/ 408959 h 2389440"/>
                <a:gd name="connsiteX98" fmla="*/ 1217820 w 1755816"/>
                <a:gd name="connsiteY98" fmla="*/ 408959 h 2389440"/>
                <a:gd name="connsiteX99" fmla="*/ 1217820 w 1755816"/>
                <a:gd name="connsiteY99" fmla="*/ 413954 h 2389440"/>
                <a:gd name="connsiteX100" fmla="*/ 1227829 w 1755816"/>
                <a:gd name="connsiteY100" fmla="*/ 413954 h 2389440"/>
                <a:gd name="connsiteX101" fmla="*/ 1217820 w 1755816"/>
                <a:gd name="connsiteY101" fmla="*/ 428485 h 2389440"/>
                <a:gd name="connsiteX102" fmla="*/ 1223301 w 1755816"/>
                <a:gd name="connsiteY102" fmla="*/ 428485 h 2389440"/>
                <a:gd name="connsiteX103" fmla="*/ 1212816 w 1755816"/>
                <a:gd name="connsiteY103" fmla="*/ 443470 h 2389440"/>
                <a:gd name="connsiteX104" fmla="*/ 1208690 w 1755816"/>
                <a:gd name="connsiteY104" fmla="*/ 438453 h 2389440"/>
                <a:gd name="connsiteX105" fmla="*/ 1208690 w 1755816"/>
                <a:gd name="connsiteY105" fmla="*/ 439428 h 2389440"/>
                <a:gd name="connsiteX106" fmla="*/ 1208841 w 1755816"/>
                <a:gd name="connsiteY106" fmla="*/ 439189 h 2389440"/>
                <a:gd name="connsiteX107" fmla="*/ 1213346 w 1755816"/>
                <a:gd name="connsiteY107" fmla="*/ 444710 h 2389440"/>
                <a:gd name="connsiteX108" fmla="*/ 1218837 w 1755816"/>
                <a:gd name="connsiteY108" fmla="*/ 444710 h 2389440"/>
                <a:gd name="connsiteX109" fmla="*/ 1228302 w 1755816"/>
                <a:gd name="connsiteY109" fmla="*/ 439189 h 2389440"/>
                <a:gd name="connsiteX110" fmla="*/ 1228302 w 1755816"/>
                <a:gd name="connsiteY110" fmla="*/ 449185 h 2389440"/>
                <a:gd name="connsiteX111" fmla="*/ 1238298 w 1755816"/>
                <a:gd name="connsiteY111" fmla="*/ 449185 h 2389440"/>
                <a:gd name="connsiteX112" fmla="*/ 1243296 w 1755816"/>
                <a:gd name="connsiteY112" fmla="*/ 444710 h 2389440"/>
                <a:gd name="connsiteX113" fmla="*/ 1252800 w 1755816"/>
                <a:gd name="connsiteY113" fmla="*/ 444710 h 2389440"/>
                <a:gd name="connsiteX114" fmla="*/ 1257306 w 1755816"/>
                <a:gd name="connsiteY114" fmla="*/ 449185 h 2389440"/>
                <a:gd name="connsiteX115" fmla="*/ 1267264 w 1755816"/>
                <a:gd name="connsiteY115" fmla="*/ 449185 h 2389440"/>
                <a:gd name="connsiteX116" fmla="*/ 1267264 w 1755816"/>
                <a:gd name="connsiteY116" fmla="*/ 439189 h 2389440"/>
                <a:gd name="connsiteX117" fmla="*/ 1267264 w 1755816"/>
                <a:gd name="connsiteY117" fmla="*/ 434714 h 2389440"/>
                <a:gd name="connsiteX118" fmla="*/ 1282258 w 1755816"/>
                <a:gd name="connsiteY118" fmla="*/ 429695 h 2389440"/>
                <a:gd name="connsiteX119" fmla="*/ 1282258 w 1755816"/>
                <a:gd name="connsiteY119" fmla="*/ 434714 h 2389440"/>
                <a:gd name="connsiteX120" fmla="*/ 1286764 w 1755816"/>
                <a:gd name="connsiteY120" fmla="*/ 434714 h 2389440"/>
                <a:gd name="connsiteX121" fmla="*/ 1286764 w 1755816"/>
                <a:gd name="connsiteY121" fmla="*/ 439189 h 2389440"/>
                <a:gd name="connsiteX122" fmla="*/ 1291762 w 1755816"/>
                <a:gd name="connsiteY122" fmla="*/ 444710 h 2389440"/>
                <a:gd name="connsiteX123" fmla="*/ 1297252 w 1755816"/>
                <a:gd name="connsiteY123" fmla="*/ 449185 h 2389440"/>
                <a:gd name="connsiteX124" fmla="*/ 1306755 w 1755816"/>
                <a:gd name="connsiteY124" fmla="*/ 458679 h 2389440"/>
                <a:gd name="connsiteX125" fmla="*/ 1311223 w 1755816"/>
                <a:gd name="connsiteY125" fmla="*/ 458679 h 2389440"/>
                <a:gd name="connsiteX126" fmla="*/ 1311223 w 1755816"/>
                <a:gd name="connsiteY126" fmla="*/ 454204 h 2389440"/>
                <a:gd name="connsiteX127" fmla="*/ 1326217 w 1755816"/>
                <a:gd name="connsiteY127" fmla="*/ 444710 h 2389440"/>
                <a:gd name="connsiteX128" fmla="*/ 1326217 w 1755816"/>
                <a:gd name="connsiteY128" fmla="*/ 439189 h 2389440"/>
                <a:gd name="connsiteX129" fmla="*/ 1330723 w 1755816"/>
                <a:gd name="connsiteY129" fmla="*/ 439189 h 2389440"/>
                <a:gd name="connsiteX130" fmla="*/ 1330723 w 1755816"/>
                <a:gd name="connsiteY130" fmla="*/ 429695 h 2389440"/>
                <a:gd name="connsiteX131" fmla="*/ 1340227 w 1755816"/>
                <a:gd name="connsiteY131" fmla="*/ 429695 h 2389440"/>
                <a:gd name="connsiteX132" fmla="*/ 1345717 w 1755816"/>
                <a:gd name="connsiteY132" fmla="*/ 420201 h 2389440"/>
                <a:gd name="connsiteX133" fmla="*/ 1350185 w 1755816"/>
                <a:gd name="connsiteY133" fmla="*/ 425220 h 2389440"/>
                <a:gd name="connsiteX134" fmla="*/ 1355183 w 1755816"/>
                <a:gd name="connsiteY134" fmla="*/ 439189 h 2389440"/>
                <a:gd name="connsiteX135" fmla="*/ 1365179 w 1755816"/>
                <a:gd name="connsiteY135" fmla="*/ 434714 h 2389440"/>
                <a:gd name="connsiteX136" fmla="*/ 1370177 w 1755816"/>
                <a:gd name="connsiteY136" fmla="*/ 429695 h 2389440"/>
                <a:gd name="connsiteX137" fmla="*/ 1374683 w 1755816"/>
                <a:gd name="connsiteY137" fmla="*/ 425220 h 2389440"/>
                <a:gd name="connsiteX138" fmla="*/ 1380173 w 1755816"/>
                <a:gd name="connsiteY138" fmla="*/ 425220 h 2389440"/>
                <a:gd name="connsiteX139" fmla="*/ 1380173 w 1755816"/>
                <a:gd name="connsiteY139" fmla="*/ 434714 h 2389440"/>
                <a:gd name="connsiteX140" fmla="*/ 1384678 w 1755816"/>
                <a:gd name="connsiteY140" fmla="*/ 439189 h 2389440"/>
                <a:gd name="connsiteX141" fmla="*/ 1389676 w 1755816"/>
                <a:gd name="connsiteY141" fmla="*/ 444710 h 2389440"/>
                <a:gd name="connsiteX142" fmla="*/ 1394144 w 1755816"/>
                <a:gd name="connsiteY142" fmla="*/ 439189 h 2389440"/>
                <a:gd name="connsiteX143" fmla="*/ 1399142 w 1755816"/>
                <a:gd name="connsiteY143" fmla="*/ 429695 h 2389440"/>
                <a:gd name="connsiteX144" fmla="*/ 1404140 w 1755816"/>
                <a:gd name="connsiteY144" fmla="*/ 425220 h 2389440"/>
                <a:gd name="connsiteX145" fmla="*/ 1409138 w 1755816"/>
                <a:gd name="connsiteY145" fmla="*/ 425220 h 2389440"/>
                <a:gd name="connsiteX146" fmla="*/ 1413644 w 1755816"/>
                <a:gd name="connsiteY146" fmla="*/ 439189 h 2389440"/>
                <a:gd name="connsiteX147" fmla="*/ 1423148 w 1755816"/>
                <a:gd name="connsiteY147" fmla="*/ 439189 h 2389440"/>
                <a:gd name="connsiteX148" fmla="*/ 1428638 w 1755816"/>
                <a:gd name="connsiteY148" fmla="*/ 434714 h 2389440"/>
                <a:gd name="connsiteX149" fmla="*/ 1433106 w 1755816"/>
                <a:gd name="connsiteY149" fmla="*/ 420201 h 2389440"/>
                <a:gd name="connsiteX150" fmla="*/ 1433106 w 1755816"/>
                <a:gd name="connsiteY150" fmla="*/ 410247 h 2389440"/>
                <a:gd name="connsiteX151" fmla="*/ 1428638 w 1755816"/>
                <a:gd name="connsiteY151" fmla="*/ 410247 h 2389440"/>
                <a:gd name="connsiteX152" fmla="*/ 1448100 w 1755816"/>
                <a:gd name="connsiteY152" fmla="*/ 405730 h 2389440"/>
                <a:gd name="connsiteX153" fmla="*/ 1457603 w 1755816"/>
                <a:gd name="connsiteY153" fmla="*/ 420201 h 2389440"/>
                <a:gd name="connsiteX154" fmla="*/ 1467599 w 1755816"/>
                <a:gd name="connsiteY154" fmla="*/ 420201 h 2389440"/>
                <a:gd name="connsiteX155" fmla="*/ 1482063 w 1755816"/>
                <a:gd name="connsiteY155" fmla="*/ 420201 h 2389440"/>
                <a:gd name="connsiteX156" fmla="*/ 1482063 w 1755816"/>
                <a:gd name="connsiteY156" fmla="*/ 415224 h 2389440"/>
                <a:gd name="connsiteX157" fmla="*/ 1487061 w 1755816"/>
                <a:gd name="connsiteY157" fmla="*/ 415224 h 2389440"/>
                <a:gd name="connsiteX158" fmla="*/ 1496565 w 1755816"/>
                <a:gd name="connsiteY158" fmla="*/ 420201 h 2389440"/>
                <a:gd name="connsiteX159" fmla="*/ 1511559 w 1755816"/>
                <a:gd name="connsiteY159" fmla="*/ 415224 h 2389440"/>
                <a:gd name="connsiteX160" fmla="*/ 1516557 w 1755816"/>
                <a:gd name="connsiteY160" fmla="*/ 415224 h 2389440"/>
                <a:gd name="connsiteX161" fmla="*/ 1521025 w 1755816"/>
                <a:gd name="connsiteY161" fmla="*/ 415224 h 2389440"/>
                <a:gd name="connsiteX162" fmla="*/ 1521025 w 1755816"/>
                <a:gd name="connsiteY162" fmla="*/ 420201 h 2389440"/>
                <a:gd name="connsiteX163" fmla="*/ 1536019 w 1755816"/>
                <a:gd name="connsiteY163" fmla="*/ 425220 h 2389440"/>
                <a:gd name="connsiteX164" fmla="*/ 1550520 w 1755816"/>
                <a:gd name="connsiteY164" fmla="*/ 425220 h 2389440"/>
                <a:gd name="connsiteX165" fmla="*/ 1559986 w 1755816"/>
                <a:gd name="connsiteY165" fmla="*/ 429695 h 2389440"/>
                <a:gd name="connsiteX166" fmla="*/ 1564984 w 1755816"/>
                <a:gd name="connsiteY166" fmla="*/ 429695 h 2389440"/>
                <a:gd name="connsiteX167" fmla="*/ 1564984 w 1755816"/>
                <a:gd name="connsiteY167" fmla="*/ 425220 h 2389440"/>
                <a:gd name="connsiteX168" fmla="*/ 1574980 w 1755816"/>
                <a:gd name="connsiteY168" fmla="*/ 425220 h 2389440"/>
                <a:gd name="connsiteX169" fmla="*/ 1589974 w 1755816"/>
                <a:gd name="connsiteY169" fmla="*/ 425220 h 2389440"/>
                <a:gd name="connsiteX170" fmla="*/ 1594480 w 1755816"/>
                <a:gd name="connsiteY170" fmla="*/ 425220 h 2389440"/>
                <a:gd name="connsiteX171" fmla="*/ 1599478 w 1755816"/>
                <a:gd name="connsiteY171" fmla="*/ 420201 h 2389440"/>
                <a:gd name="connsiteX172" fmla="*/ 1609436 w 1755816"/>
                <a:gd name="connsiteY172" fmla="*/ 425220 h 2389440"/>
                <a:gd name="connsiteX173" fmla="*/ 1618940 w 1755816"/>
                <a:gd name="connsiteY173" fmla="*/ 425220 h 2389440"/>
                <a:gd name="connsiteX174" fmla="*/ 1628936 w 1755816"/>
                <a:gd name="connsiteY174" fmla="*/ 425220 h 2389440"/>
                <a:gd name="connsiteX175" fmla="*/ 1633441 w 1755816"/>
                <a:gd name="connsiteY175" fmla="*/ 429695 h 2389440"/>
                <a:gd name="connsiteX176" fmla="*/ 1633441 w 1755816"/>
                <a:gd name="connsiteY176" fmla="*/ 444710 h 2389440"/>
                <a:gd name="connsiteX177" fmla="*/ 1638439 w 1755816"/>
                <a:gd name="connsiteY177" fmla="*/ 449185 h 2389440"/>
                <a:gd name="connsiteX178" fmla="*/ 1642907 w 1755816"/>
                <a:gd name="connsiteY178" fmla="*/ 449185 h 2389440"/>
                <a:gd name="connsiteX179" fmla="*/ 1647905 w 1755816"/>
                <a:gd name="connsiteY179" fmla="*/ 449185 h 2389440"/>
                <a:gd name="connsiteX180" fmla="*/ 1652903 w 1755816"/>
                <a:gd name="connsiteY180" fmla="*/ 454204 h 2389440"/>
                <a:gd name="connsiteX181" fmla="*/ 1642907 w 1755816"/>
                <a:gd name="connsiteY181" fmla="*/ 458679 h 2389440"/>
                <a:gd name="connsiteX182" fmla="*/ 1642907 w 1755816"/>
                <a:gd name="connsiteY182" fmla="*/ 468674 h 2389440"/>
                <a:gd name="connsiteX183" fmla="*/ 1652903 w 1755816"/>
                <a:gd name="connsiteY183" fmla="*/ 478168 h 2389440"/>
                <a:gd name="connsiteX184" fmla="*/ 1657901 w 1755816"/>
                <a:gd name="connsiteY184" fmla="*/ 473693 h 2389440"/>
                <a:gd name="connsiteX185" fmla="*/ 1662899 w 1755816"/>
                <a:gd name="connsiteY185" fmla="*/ 483689 h 2389440"/>
                <a:gd name="connsiteX186" fmla="*/ 1667405 w 1755816"/>
                <a:gd name="connsiteY186" fmla="*/ 483689 h 2389440"/>
                <a:gd name="connsiteX187" fmla="*/ 1672895 w 1755816"/>
                <a:gd name="connsiteY187" fmla="*/ 473693 h 2389440"/>
                <a:gd name="connsiteX188" fmla="*/ 1682361 w 1755816"/>
                <a:gd name="connsiteY188" fmla="*/ 488666 h 2389440"/>
                <a:gd name="connsiteX189" fmla="*/ 1682361 w 1755816"/>
                <a:gd name="connsiteY189" fmla="*/ 498160 h 2389440"/>
                <a:gd name="connsiteX190" fmla="*/ 1686867 w 1755816"/>
                <a:gd name="connsiteY190" fmla="*/ 498160 h 2389440"/>
                <a:gd name="connsiteX191" fmla="*/ 1686867 w 1755816"/>
                <a:gd name="connsiteY191" fmla="*/ 493183 h 2389440"/>
                <a:gd name="connsiteX192" fmla="*/ 1692357 w 1755816"/>
                <a:gd name="connsiteY192" fmla="*/ 493183 h 2389440"/>
                <a:gd name="connsiteX193" fmla="*/ 1706366 w 1755816"/>
                <a:gd name="connsiteY193" fmla="*/ 503179 h 2389440"/>
                <a:gd name="connsiteX194" fmla="*/ 1711857 w 1755816"/>
                <a:gd name="connsiteY194" fmla="*/ 517650 h 2389440"/>
                <a:gd name="connsiteX195" fmla="*/ 1721360 w 1755816"/>
                <a:gd name="connsiteY195" fmla="*/ 522167 h 2389440"/>
                <a:gd name="connsiteX196" fmla="*/ 1721360 w 1755816"/>
                <a:gd name="connsiteY196" fmla="*/ 527646 h 2389440"/>
                <a:gd name="connsiteX197" fmla="*/ 1725828 w 1755816"/>
                <a:gd name="connsiteY197" fmla="*/ 541657 h 2389440"/>
                <a:gd name="connsiteX198" fmla="*/ 1725828 w 1755816"/>
                <a:gd name="connsiteY198" fmla="*/ 551652 h 2389440"/>
                <a:gd name="connsiteX199" fmla="*/ 1736316 w 1755816"/>
                <a:gd name="connsiteY199" fmla="*/ 561146 h 2389440"/>
                <a:gd name="connsiteX200" fmla="*/ 1740822 w 1755816"/>
                <a:gd name="connsiteY200" fmla="*/ 576119 h 2389440"/>
                <a:gd name="connsiteX201" fmla="*/ 1736316 w 1755816"/>
                <a:gd name="connsiteY201" fmla="*/ 590632 h 2389440"/>
                <a:gd name="connsiteX202" fmla="*/ 1736316 w 1755816"/>
                <a:gd name="connsiteY202" fmla="*/ 600126 h 2389440"/>
                <a:gd name="connsiteX203" fmla="*/ 1736316 w 1755816"/>
                <a:gd name="connsiteY203" fmla="*/ 605103 h 2389440"/>
                <a:gd name="connsiteX204" fmla="*/ 1745820 w 1755816"/>
                <a:gd name="connsiteY204" fmla="*/ 629109 h 2389440"/>
                <a:gd name="connsiteX205" fmla="*/ 1755816 w 1755816"/>
                <a:gd name="connsiteY205" fmla="*/ 634588 h 2389440"/>
                <a:gd name="connsiteX206" fmla="*/ 1755816 w 1755816"/>
                <a:gd name="connsiteY206" fmla="*/ 644082 h 2389440"/>
                <a:gd name="connsiteX207" fmla="*/ 1750326 w 1755816"/>
                <a:gd name="connsiteY207" fmla="*/ 658553 h 2389440"/>
                <a:gd name="connsiteX208" fmla="*/ 1755816 w 1755816"/>
                <a:gd name="connsiteY208" fmla="*/ 668047 h 2389440"/>
                <a:gd name="connsiteX209" fmla="*/ 1755816 w 1755816"/>
                <a:gd name="connsiteY209" fmla="*/ 673568 h 2389440"/>
                <a:gd name="connsiteX210" fmla="*/ 1740822 w 1755816"/>
                <a:gd name="connsiteY210" fmla="*/ 678043 h 2389440"/>
                <a:gd name="connsiteX211" fmla="*/ 1740822 w 1755816"/>
                <a:gd name="connsiteY211" fmla="*/ 683062 h 2389440"/>
                <a:gd name="connsiteX212" fmla="*/ 1736316 w 1755816"/>
                <a:gd name="connsiteY212" fmla="*/ 687537 h 2389440"/>
                <a:gd name="connsiteX213" fmla="*/ 1730826 w 1755816"/>
                <a:gd name="connsiteY213" fmla="*/ 697533 h 2389440"/>
                <a:gd name="connsiteX214" fmla="*/ 1736316 w 1755816"/>
                <a:gd name="connsiteY214" fmla="*/ 702552 h 2389440"/>
                <a:gd name="connsiteX215" fmla="*/ 1716362 w 1755816"/>
                <a:gd name="connsiteY215" fmla="*/ 722041 h 2389440"/>
                <a:gd name="connsiteX216" fmla="*/ 1711857 w 1755816"/>
                <a:gd name="connsiteY216" fmla="*/ 726516 h 2389440"/>
                <a:gd name="connsiteX217" fmla="*/ 1701861 w 1755816"/>
                <a:gd name="connsiteY217" fmla="*/ 726516 h 2389440"/>
                <a:gd name="connsiteX218" fmla="*/ 1692357 w 1755816"/>
                <a:gd name="connsiteY218" fmla="*/ 726516 h 2389440"/>
                <a:gd name="connsiteX219" fmla="*/ 1696863 w 1755816"/>
                <a:gd name="connsiteY219" fmla="*/ 736010 h 2389440"/>
                <a:gd name="connsiteX220" fmla="*/ 1692357 w 1755816"/>
                <a:gd name="connsiteY220" fmla="*/ 736010 h 2389440"/>
                <a:gd name="connsiteX221" fmla="*/ 1692357 w 1755816"/>
                <a:gd name="connsiteY221" fmla="*/ 741531 h 2389440"/>
                <a:gd name="connsiteX222" fmla="*/ 1682361 w 1755816"/>
                <a:gd name="connsiteY222" fmla="*/ 746006 h 2389440"/>
                <a:gd name="connsiteX223" fmla="*/ 1677401 w 1755816"/>
                <a:gd name="connsiteY223" fmla="*/ 741531 h 2389440"/>
                <a:gd name="connsiteX224" fmla="*/ 1672895 w 1755816"/>
                <a:gd name="connsiteY224" fmla="*/ 746006 h 2389440"/>
                <a:gd name="connsiteX225" fmla="*/ 1686867 w 1755816"/>
                <a:gd name="connsiteY225" fmla="*/ 770515 h 2389440"/>
                <a:gd name="connsiteX226" fmla="*/ 1686867 w 1755816"/>
                <a:gd name="connsiteY226" fmla="*/ 780009 h 2389440"/>
                <a:gd name="connsiteX227" fmla="*/ 1701861 w 1755816"/>
                <a:gd name="connsiteY227" fmla="*/ 784986 h 2389440"/>
                <a:gd name="connsiteX228" fmla="*/ 1711857 w 1755816"/>
                <a:gd name="connsiteY228" fmla="*/ 799498 h 2389440"/>
                <a:gd name="connsiteX229" fmla="*/ 1721360 w 1755816"/>
                <a:gd name="connsiteY229" fmla="*/ 809494 h 2389440"/>
                <a:gd name="connsiteX230" fmla="*/ 1721360 w 1755816"/>
                <a:gd name="connsiteY230" fmla="*/ 818988 h 2389440"/>
                <a:gd name="connsiteX231" fmla="*/ 1725828 w 1755816"/>
                <a:gd name="connsiteY231" fmla="*/ 818988 h 2389440"/>
                <a:gd name="connsiteX232" fmla="*/ 1725828 w 1755816"/>
                <a:gd name="connsiteY232" fmla="*/ 823463 h 2389440"/>
                <a:gd name="connsiteX233" fmla="*/ 1721360 w 1755816"/>
                <a:gd name="connsiteY233" fmla="*/ 828942 h 2389440"/>
                <a:gd name="connsiteX234" fmla="*/ 1725828 w 1755816"/>
                <a:gd name="connsiteY234" fmla="*/ 838436 h 2389440"/>
                <a:gd name="connsiteX235" fmla="*/ 1721360 w 1755816"/>
                <a:gd name="connsiteY235" fmla="*/ 842953 h 2389440"/>
                <a:gd name="connsiteX236" fmla="*/ 1721360 w 1755816"/>
                <a:gd name="connsiteY236" fmla="*/ 852949 h 2389440"/>
                <a:gd name="connsiteX237" fmla="*/ 1706366 w 1755816"/>
                <a:gd name="connsiteY237" fmla="*/ 852949 h 2389440"/>
                <a:gd name="connsiteX238" fmla="*/ 1706366 w 1755816"/>
                <a:gd name="connsiteY238" fmla="*/ 867922 h 2389440"/>
                <a:gd name="connsiteX239" fmla="*/ 1701861 w 1755816"/>
                <a:gd name="connsiteY239" fmla="*/ 872439 h 2389440"/>
                <a:gd name="connsiteX240" fmla="*/ 1711857 w 1755816"/>
                <a:gd name="connsiteY240" fmla="*/ 896905 h 2389440"/>
                <a:gd name="connsiteX241" fmla="*/ 1721360 w 1755816"/>
                <a:gd name="connsiteY241" fmla="*/ 896905 h 2389440"/>
                <a:gd name="connsiteX242" fmla="*/ 1721360 w 1755816"/>
                <a:gd name="connsiteY242" fmla="*/ 901422 h 2389440"/>
                <a:gd name="connsiteX243" fmla="*/ 1716362 w 1755816"/>
                <a:gd name="connsiteY243" fmla="*/ 910916 h 2389440"/>
                <a:gd name="connsiteX244" fmla="*/ 1721360 w 1755816"/>
                <a:gd name="connsiteY244" fmla="*/ 916395 h 2389440"/>
                <a:gd name="connsiteX245" fmla="*/ 1716362 w 1755816"/>
                <a:gd name="connsiteY245" fmla="*/ 925889 h 2389440"/>
                <a:gd name="connsiteX246" fmla="*/ 1721360 w 1755816"/>
                <a:gd name="connsiteY246" fmla="*/ 930406 h 2389440"/>
                <a:gd name="connsiteX247" fmla="*/ 1716362 w 1755816"/>
                <a:gd name="connsiteY247" fmla="*/ 940402 h 2389440"/>
                <a:gd name="connsiteX248" fmla="*/ 1716362 w 1755816"/>
                <a:gd name="connsiteY248" fmla="*/ 945379 h 2389440"/>
                <a:gd name="connsiteX249" fmla="*/ 1711857 w 1755816"/>
                <a:gd name="connsiteY249" fmla="*/ 955375 h 2389440"/>
                <a:gd name="connsiteX250" fmla="*/ 1711857 w 1755816"/>
                <a:gd name="connsiteY250" fmla="*/ 959892 h 2389440"/>
                <a:gd name="connsiteX251" fmla="*/ 1711857 w 1755816"/>
                <a:gd name="connsiteY251" fmla="*/ 974362 h 2389440"/>
                <a:gd name="connsiteX252" fmla="*/ 1725828 w 1755816"/>
                <a:gd name="connsiteY252" fmla="*/ 979381 h 2389440"/>
                <a:gd name="connsiteX253" fmla="*/ 1725828 w 1755816"/>
                <a:gd name="connsiteY253" fmla="*/ 993852 h 2389440"/>
                <a:gd name="connsiteX254" fmla="*/ 1711857 w 1755816"/>
                <a:gd name="connsiteY254" fmla="*/ 993852 h 2389440"/>
                <a:gd name="connsiteX255" fmla="*/ 1706366 w 1755816"/>
                <a:gd name="connsiteY255" fmla="*/ 998369 h 2389440"/>
                <a:gd name="connsiteX256" fmla="*/ 1701861 w 1755816"/>
                <a:gd name="connsiteY256" fmla="*/ 998369 h 2389440"/>
                <a:gd name="connsiteX257" fmla="*/ 1701861 w 1755816"/>
                <a:gd name="connsiteY257" fmla="*/ 993852 h 2389440"/>
                <a:gd name="connsiteX258" fmla="*/ 1696863 w 1755816"/>
                <a:gd name="connsiteY258" fmla="*/ 988875 h 2389440"/>
                <a:gd name="connsiteX259" fmla="*/ 1692357 w 1755816"/>
                <a:gd name="connsiteY259" fmla="*/ 988875 h 2389440"/>
                <a:gd name="connsiteX260" fmla="*/ 1682361 w 1755816"/>
                <a:gd name="connsiteY260" fmla="*/ 984358 h 2389440"/>
                <a:gd name="connsiteX261" fmla="*/ 1672895 w 1755816"/>
                <a:gd name="connsiteY261" fmla="*/ 974362 h 2389440"/>
                <a:gd name="connsiteX262" fmla="*/ 1662899 w 1755816"/>
                <a:gd name="connsiteY262" fmla="*/ 974362 h 2389440"/>
                <a:gd name="connsiteX263" fmla="*/ 1657901 w 1755816"/>
                <a:gd name="connsiteY263" fmla="*/ 974362 h 2389440"/>
                <a:gd name="connsiteX264" fmla="*/ 1662899 w 1755816"/>
                <a:gd name="connsiteY264" fmla="*/ 984358 h 2389440"/>
                <a:gd name="connsiteX265" fmla="*/ 1662899 w 1755816"/>
                <a:gd name="connsiteY265" fmla="*/ 988875 h 2389440"/>
                <a:gd name="connsiteX266" fmla="*/ 1662899 w 1755816"/>
                <a:gd name="connsiteY266" fmla="*/ 993852 h 2389440"/>
                <a:gd name="connsiteX267" fmla="*/ 1662899 w 1755816"/>
                <a:gd name="connsiteY267" fmla="*/ 1008365 h 2389440"/>
                <a:gd name="connsiteX268" fmla="*/ 1657901 w 1755816"/>
                <a:gd name="connsiteY268" fmla="*/ 1008365 h 2389440"/>
                <a:gd name="connsiteX269" fmla="*/ 1657901 w 1755816"/>
                <a:gd name="connsiteY269" fmla="*/ 1013342 h 2389440"/>
                <a:gd name="connsiteX270" fmla="*/ 1652903 w 1755816"/>
                <a:gd name="connsiteY270" fmla="*/ 1023338 h 2389440"/>
                <a:gd name="connsiteX271" fmla="*/ 1647905 w 1755816"/>
                <a:gd name="connsiteY271" fmla="*/ 1023338 h 2389440"/>
                <a:gd name="connsiteX272" fmla="*/ 1638439 w 1755816"/>
                <a:gd name="connsiteY272" fmla="*/ 1027855 h 2389440"/>
                <a:gd name="connsiteX273" fmla="*/ 1633441 w 1755816"/>
                <a:gd name="connsiteY273" fmla="*/ 1042828 h 2389440"/>
                <a:gd name="connsiteX274" fmla="*/ 1628936 w 1755816"/>
                <a:gd name="connsiteY274" fmla="*/ 1042828 h 2389440"/>
                <a:gd name="connsiteX275" fmla="*/ 1623445 w 1755816"/>
                <a:gd name="connsiteY275" fmla="*/ 1042828 h 2389440"/>
                <a:gd name="connsiteX276" fmla="*/ 1623445 w 1755816"/>
                <a:gd name="connsiteY276" fmla="*/ 1047344 h 2389440"/>
                <a:gd name="connsiteX277" fmla="*/ 1623445 w 1755816"/>
                <a:gd name="connsiteY277" fmla="*/ 1052321 h 2389440"/>
                <a:gd name="connsiteX278" fmla="*/ 1613942 w 1755816"/>
                <a:gd name="connsiteY278" fmla="*/ 1052321 h 2389440"/>
                <a:gd name="connsiteX279" fmla="*/ 1609436 w 1755816"/>
                <a:gd name="connsiteY279" fmla="*/ 1071811 h 2389440"/>
                <a:gd name="connsiteX280" fmla="*/ 1599478 w 1755816"/>
                <a:gd name="connsiteY280" fmla="*/ 1076286 h 2389440"/>
                <a:gd name="connsiteX281" fmla="*/ 1599478 w 1755816"/>
                <a:gd name="connsiteY281" fmla="*/ 1081305 h 2389440"/>
                <a:gd name="connsiteX282" fmla="*/ 1599478 w 1755816"/>
                <a:gd name="connsiteY282" fmla="*/ 1095776 h 2389440"/>
                <a:gd name="connsiteX283" fmla="*/ 1603946 w 1755816"/>
                <a:gd name="connsiteY283" fmla="*/ 1105270 h 2389440"/>
                <a:gd name="connsiteX284" fmla="*/ 1609436 w 1755816"/>
                <a:gd name="connsiteY284" fmla="*/ 1105270 h 2389440"/>
                <a:gd name="connsiteX285" fmla="*/ 1609436 w 1755816"/>
                <a:gd name="connsiteY285" fmla="*/ 1110791 h 2389440"/>
                <a:gd name="connsiteX286" fmla="*/ 1603946 w 1755816"/>
                <a:gd name="connsiteY286" fmla="*/ 1110791 h 2389440"/>
                <a:gd name="connsiteX287" fmla="*/ 1603946 w 1755816"/>
                <a:gd name="connsiteY287" fmla="*/ 1120285 h 2389440"/>
                <a:gd name="connsiteX288" fmla="*/ 1594480 w 1755816"/>
                <a:gd name="connsiteY288" fmla="*/ 1124760 h 2389440"/>
                <a:gd name="connsiteX289" fmla="*/ 1589974 w 1755816"/>
                <a:gd name="connsiteY289" fmla="*/ 1154245 h 2389440"/>
                <a:gd name="connsiteX290" fmla="*/ 1574980 w 1755816"/>
                <a:gd name="connsiteY290" fmla="*/ 1154245 h 2389440"/>
                <a:gd name="connsiteX291" fmla="*/ 1559986 w 1755816"/>
                <a:gd name="connsiteY291" fmla="*/ 1163739 h 2389440"/>
                <a:gd name="connsiteX292" fmla="*/ 1559986 w 1755816"/>
                <a:gd name="connsiteY292" fmla="*/ 1168758 h 2389440"/>
                <a:gd name="connsiteX293" fmla="*/ 1564984 w 1755816"/>
                <a:gd name="connsiteY293" fmla="*/ 1178754 h 2389440"/>
                <a:gd name="connsiteX294" fmla="*/ 1569982 w 1755816"/>
                <a:gd name="connsiteY294" fmla="*/ 1183229 h 2389440"/>
                <a:gd name="connsiteX295" fmla="*/ 1579486 w 1755816"/>
                <a:gd name="connsiteY295" fmla="*/ 1198244 h 2389440"/>
                <a:gd name="connsiteX296" fmla="*/ 1574980 w 1755816"/>
                <a:gd name="connsiteY296" fmla="*/ 1207738 h 2389440"/>
                <a:gd name="connsiteX297" fmla="*/ 1559986 w 1755816"/>
                <a:gd name="connsiteY297" fmla="*/ 1207738 h 2389440"/>
                <a:gd name="connsiteX298" fmla="*/ 1550520 w 1755816"/>
                <a:gd name="connsiteY298" fmla="*/ 1212213 h 2389440"/>
                <a:gd name="connsiteX299" fmla="*/ 1540524 w 1755816"/>
                <a:gd name="connsiteY299" fmla="*/ 1207738 h 2389440"/>
                <a:gd name="connsiteX300" fmla="*/ 1531021 w 1755816"/>
                <a:gd name="connsiteY300" fmla="*/ 1212213 h 2389440"/>
                <a:gd name="connsiteX301" fmla="*/ 1521025 w 1755816"/>
                <a:gd name="connsiteY301" fmla="*/ 1212213 h 2389440"/>
                <a:gd name="connsiteX302" fmla="*/ 1501563 w 1755816"/>
                <a:gd name="connsiteY302" fmla="*/ 1222209 h 2389440"/>
                <a:gd name="connsiteX303" fmla="*/ 1496565 w 1755816"/>
                <a:gd name="connsiteY303" fmla="*/ 1217733 h 2389440"/>
                <a:gd name="connsiteX304" fmla="*/ 1496565 w 1755816"/>
                <a:gd name="connsiteY304" fmla="*/ 1212213 h 2389440"/>
                <a:gd name="connsiteX305" fmla="*/ 1487061 w 1755816"/>
                <a:gd name="connsiteY305" fmla="*/ 1212213 h 2389440"/>
                <a:gd name="connsiteX306" fmla="*/ 1477065 w 1755816"/>
                <a:gd name="connsiteY306" fmla="*/ 1222209 h 2389440"/>
                <a:gd name="connsiteX307" fmla="*/ 1463094 w 1755816"/>
                <a:gd name="connsiteY307" fmla="*/ 1227227 h 2389440"/>
                <a:gd name="connsiteX308" fmla="*/ 1463094 w 1755816"/>
                <a:gd name="connsiteY308" fmla="*/ 1231702 h 2389440"/>
                <a:gd name="connsiteX309" fmla="*/ 1453098 w 1755816"/>
                <a:gd name="connsiteY309" fmla="*/ 1231702 h 2389440"/>
                <a:gd name="connsiteX310" fmla="*/ 1453098 w 1755816"/>
                <a:gd name="connsiteY310" fmla="*/ 1237223 h 2389440"/>
                <a:gd name="connsiteX311" fmla="*/ 1443594 w 1755816"/>
                <a:gd name="connsiteY311" fmla="*/ 1237223 h 2389440"/>
                <a:gd name="connsiteX312" fmla="*/ 1438104 w 1755816"/>
                <a:gd name="connsiteY312" fmla="*/ 1231702 h 2389440"/>
                <a:gd name="connsiteX313" fmla="*/ 1433106 w 1755816"/>
                <a:gd name="connsiteY313" fmla="*/ 1241698 h 2389440"/>
                <a:gd name="connsiteX314" fmla="*/ 1423148 w 1755816"/>
                <a:gd name="connsiteY314" fmla="*/ 1231702 h 2389440"/>
                <a:gd name="connsiteX315" fmla="*/ 1423148 w 1755816"/>
                <a:gd name="connsiteY315" fmla="*/ 1222209 h 2389440"/>
                <a:gd name="connsiteX316" fmla="*/ 1413644 w 1755816"/>
                <a:gd name="connsiteY316" fmla="*/ 1217733 h 2389440"/>
                <a:gd name="connsiteX317" fmla="*/ 1409138 w 1755816"/>
                <a:gd name="connsiteY317" fmla="*/ 1217733 h 2389440"/>
                <a:gd name="connsiteX318" fmla="*/ 1409138 w 1755816"/>
                <a:gd name="connsiteY318" fmla="*/ 1202719 h 2389440"/>
                <a:gd name="connsiteX319" fmla="*/ 1404140 w 1755816"/>
                <a:gd name="connsiteY319" fmla="*/ 1202719 h 2389440"/>
                <a:gd name="connsiteX320" fmla="*/ 1399142 w 1755816"/>
                <a:gd name="connsiteY320" fmla="*/ 1198244 h 2389440"/>
                <a:gd name="connsiteX321" fmla="*/ 1394144 w 1755816"/>
                <a:gd name="connsiteY321" fmla="*/ 1198244 h 2389440"/>
                <a:gd name="connsiteX322" fmla="*/ 1384678 w 1755816"/>
                <a:gd name="connsiteY322" fmla="*/ 1183229 h 2389440"/>
                <a:gd name="connsiteX323" fmla="*/ 1380173 w 1755816"/>
                <a:gd name="connsiteY323" fmla="*/ 1183229 h 2389440"/>
                <a:gd name="connsiteX324" fmla="*/ 1370177 w 1755816"/>
                <a:gd name="connsiteY324" fmla="*/ 1178754 h 2389440"/>
                <a:gd name="connsiteX325" fmla="*/ 1355183 w 1755816"/>
                <a:gd name="connsiteY325" fmla="*/ 1173735 h 2389440"/>
                <a:gd name="connsiteX326" fmla="*/ 1350185 w 1755816"/>
                <a:gd name="connsiteY326" fmla="*/ 1183229 h 2389440"/>
                <a:gd name="connsiteX327" fmla="*/ 1345717 w 1755816"/>
                <a:gd name="connsiteY327" fmla="*/ 1183229 h 2389440"/>
                <a:gd name="connsiteX328" fmla="*/ 1345717 w 1755816"/>
                <a:gd name="connsiteY328" fmla="*/ 1173735 h 2389440"/>
                <a:gd name="connsiteX329" fmla="*/ 1335721 w 1755816"/>
                <a:gd name="connsiteY329" fmla="*/ 1173735 h 2389440"/>
                <a:gd name="connsiteX330" fmla="*/ 1321219 w 1755816"/>
                <a:gd name="connsiteY330" fmla="*/ 1178754 h 2389440"/>
                <a:gd name="connsiteX331" fmla="*/ 1321219 w 1755816"/>
                <a:gd name="connsiteY331" fmla="*/ 1183229 h 2389440"/>
                <a:gd name="connsiteX332" fmla="*/ 1311223 w 1755816"/>
                <a:gd name="connsiteY332" fmla="*/ 1188248 h 2389440"/>
                <a:gd name="connsiteX333" fmla="*/ 1306755 w 1755816"/>
                <a:gd name="connsiteY333" fmla="*/ 1188248 h 2389440"/>
                <a:gd name="connsiteX334" fmla="*/ 1304925 w 1755816"/>
                <a:gd name="connsiteY334" fmla="*/ 1184770 h 2389440"/>
                <a:gd name="connsiteX335" fmla="*/ 1303194 w 1755816"/>
                <a:gd name="connsiteY335" fmla="*/ 1184770 h 2389440"/>
                <a:gd name="connsiteX336" fmla="*/ 1305594 w 1755816"/>
                <a:gd name="connsiteY336" fmla="*/ 1188917 h 2389440"/>
                <a:gd name="connsiteX337" fmla="*/ 1290573 w 1755816"/>
                <a:gd name="connsiteY337" fmla="*/ 1193893 h 2389440"/>
                <a:gd name="connsiteX338" fmla="*/ 1295602 w 1755816"/>
                <a:gd name="connsiteY338" fmla="*/ 1222883 h 2389440"/>
                <a:gd name="connsiteX339" fmla="*/ 1300108 w 1755816"/>
                <a:gd name="connsiteY339" fmla="*/ 1222883 h 2389440"/>
                <a:gd name="connsiteX340" fmla="*/ 1300108 w 1755816"/>
                <a:gd name="connsiteY340" fmla="*/ 1232362 h 2389440"/>
                <a:gd name="connsiteX341" fmla="*/ 1300108 w 1755816"/>
                <a:gd name="connsiteY341" fmla="*/ 1242394 h 2389440"/>
                <a:gd name="connsiteX342" fmla="*/ 1290573 w 1755816"/>
                <a:gd name="connsiteY342" fmla="*/ 1247371 h 2389440"/>
                <a:gd name="connsiteX343" fmla="*/ 1295602 w 1755816"/>
                <a:gd name="connsiteY343" fmla="*/ 1257403 h 2389440"/>
                <a:gd name="connsiteX344" fmla="*/ 1305594 w 1755816"/>
                <a:gd name="connsiteY344" fmla="*/ 1257403 h 2389440"/>
                <a:gd name="connsiteX345" fmla="*/ 1305594 w 1755816"/>
                <a:gd name="connsiteY345" fmla="*/ 1266882 h 2389440"/>
                <a:gd name="connsiteX346" fmla="*/ 1295602 w 1755816"/>
                <a:gd name="connsiteY346" fmla="*/ 1266882 h 2389440"/>
                <a:gd name="connsiteX347" fmla="*/ 1290573 w 1755816"/>
                <a:gd name="connsiteY347" fmla="*/ 1271385 h 2389440"/>
                <a:gd name="connsiteX348" fmla="*/ 1290573 w 1755816"/>
                <a:gd name="connsiteY348" fmla="*/ 1281338 h 2389440"/>
                <a:gd name="connsiteX349" fmla="*/ 1275618 w 1755816"/>
                <a:gd name="connsiteY349" fmla="*/ 1281338 h 2389440"/>
                <a:gd name="connsiteX350" fmla="*/ 1271112 w 1755816"/>
                <a:gd name="connsiteY350" fmla="*/ 1300375 h 2389440"/>
                <a:gd name="connsiteX351" fmla="*/ 1266084 w 1755816"/>
                <a:gd name="connsiteY351" fmla="*/ 1300375 h 2389440"/>
                <a:gd name="connsiteX352" fmla="*/ 1256092 w 1755816"/>
                <a:gd name="connsiteY352" fmla="*/ 1300375 h 2389440"/>
                <a:gd name="connsiteX353" fmla="*/ 1256092 w 1755816"/>
                <a:gd name="connsiteY353" fmla="*/ 1305825 h 2389440"/>
                <a:gd name="connsiteX354" fmla="*/ 1246557 w 1755816"/>
                <a:gd name="connsiteY354" fmla="*/ 1310328 h 2389440"/>
                <a:gd name="connsiteX355" fmla="*/ 1251586 w 1755816"/>
                <a:gd name="connsiteY355" fmla="*/ 1319886 h 2389440"/>
                <a:gd name="connsiteX356" fmla="*/ 1256092 w 1755816"/>
                <a:gd name="connsiteY356" fmla="*/ 1325336 h 2389440"/>
                <a:gd name="connsiteX357" fmla="*/ 1256092 w 1755816"/>
                <a:gd name="connsiteY357" fmla="*/ 1339318 h 2389440"/>
                <a:gd name="connsiteX358" fmla="*/ 1246557 w 1755816"/>
                <a:gd name="connsiteY358" fmla="*/ 1339318 h 2389440"/>
                <a:gd name="connsiteX359" fmla="*/ 1242051 w 1755816"/>
                <a:gd name="connsiteY359" fmla="*/ 1354326 h 2389440"/>
                <a:gd name="connsiteX360" fmla="*/ 1236566 w 1755816"/>
                <a:gd name="connsiteY360" fmla="*/ 1349350 h 2389440"/>
                <a:gd name="connsiteX361" fmla="*/ 1227031 w 1755816"/>
                <a:gd name="connsiteY361" fmla="*/ 1358829 h 2389440"/>
                <a:gd name="connsiteX362" fmla="*/ 1217039 w 1755816"/>
                <a:gd name="connsiteY362" fmla="*/ 1368861 h 2389440"/>
                <a:gd name="connsiteX363" fmla="*/ 1188043 w 1755816"/>
                <a:gd name="connsiteY363" fmla="*/ 1378340 h 2389440"/>
                <a:gd name="connsiteX364" fmla="*/ 1188043 w 1755816"/>
                <a:gd name="connsiteY364" fmla="*/ 1388293 h 2389440"/>
                <a:gd name="connsiteX365" fmla="*/ 1188043 w 1755816"/>
                <a:gd name="connsiteY365" fmla="*/ 1397851 h 2389440"/>
                <a:gd name="connsiteX366" fmla="*/ 1183015 w 1755816"/>
                <a:gd name="connsiteY366" fmla="*/ 1397851 h 2389440"/>
                <a:gd name="connsiteX367" fmla="*/ 1178509 w 1755816"/>
                <a:gd name="connsiteY367" fmla="*/ 1402828 h 2389440"/>
                <a:gd name="connsiteX368" fmla="*/ 1168517 w 1755816"/>
                <a:gd name="connsiteY368" fmla="*/ 1412781 h 2389440"/>
                <a:gd name="connsiteX369" fmla="*/ 1168517 w 1755816"/>
                <a:gd name="connsiteY369" fmla="*/ 1422339 h 2389440"/>
                <a:gd name="connsiteX370" fmla="*/ 1168517 w 1755816"/>
                <a:gd name="connsiteY370" fmla="*/ 1426841 h 2389440"/>
                <a:gd name="connsiteX371" fmla="*/ 1158982 w 1755816"/>
                <a:gd name="connsiteY371" fmla="*/ 1426841 h 2389440"/>
                <a:gd name="connsiteX372" fmla="*/ 1143962 w 1755816"/>
                <a:gd name="connsiteY372" fmla="*/ 1436794 h 2389440"/>
                <a:gd name="connsiteX373" fmla="*/ 1133970 w 1755816"/>
                <a:gd name="connsiteY373" fmla="*/ 1446273 h 2389440"/>
                <a:gd name="connsiteX374" fmla="*/ 1128942 w 1755816"/>
                <a:gd name="connsiteY374" fmla="*/ 1441771 h 2389440"/>
                <a:gd name="connsiteX375" fmla="*/ 1124435 w 1755816"/>
                <a:gd name="connsiteY375" fmla="*/ 1446273 h 2389440"/>
                <a:gd name="connsiteX376" fmla="*/ 1133970 w 1755816"/>
                <a:gd name="connsiteY376" fmla="*/ 1470761 h 2389440"/>
                <a:gd name="connsiteX377" fmla="*/ 1133970 w 1755816"/>
                <a:gd name="connsiteY377" fmla="*/ 1475816 h 2389440"/>
                <a:gd name="connsiteX378" fmla="*/ 1138476 w 1755816"/>
                <a:gd name="connsiteY378" fmla="*/ 1480793 h 2389440"/>
                <a:gd name="connsiteX379" fmla="*/ 1133970 w 1755816"/>
                <a:gd name="connsiteY379" fmla="*/ 1490272 h 2389440"/>
                <a:gd name="connsiteX380" fmla="*/ 1143962 w 1755816"/>
                <a:gd name="connsiteY380" fmla="*/ 1504807 h 2389440"/>
                <a:gd name="connsiteX381" fmla="*/ 1148990 w 1755816"/>
                <a:gd name="connsiteY381" fmla="*/ 1509783 h 2389440"/>
                <a:gd name="connsiteX382" fmla="*/ 1148990 w 1755816"/>
                <a:gd name="connsiteY382" fmla="*/ 1519736 h 2389440"/>
                <a:gd name="connsiteX383" fmla="*/ 1143962 w 1755816"/>
                <a:gd name="connsiteY383" fmla="*/ 1529294 h 2389440"/>
                <a:gd name="connsiteX384" fmla="*/ 1153497 w 1755816"/>
                <a:gd name="connsiteY384" fmla="*/ 1533797 h 2389440"/>
                <a:gd name="connsiteX385" fmla="*/ 1148990 w 1755816"/>
                <a:gd name="connsiteY385" fmla="*/ 1543750 h 2389440"/>
                <a:gd name="connsiteX386" fmla="*/ 1133970 w 1755816"/>
                <a:gd name="connsiteY386" fmla="*/ 1543750 h 2389440"/>
                <a:gd name="connsiteX387" fmla="*/ 1124435 w 1755816"/>
                <a:gd name="connsiteY387" fmla="*/ 1539247 h 2389440"/>
                <a:gd name="connsiteX388" fmla="*/ 1119472 w 1755816"/>
                <a:gd name="connsiteY388" fmla="*/ 1543750 h 2389440"/>
                <a:gd name="connsiteX389" fmla="*/ 1109480 w 1755816"/>
                <a:gd name="connsiteY389" fmla="*/ 1543750 h 2389440"/>
                <a:gd name="connsiteX390" fmla="*/ 1104974 w 1755816"/>
                <a:gd name="connsiteY390" fmla="*/ 1553229 h 2389440"/>
                <a:gd name="connsiteX391" fmla="*/ 1095440 w 1755816"/>
                <a:gd name="connsiteY391" fmla="*/ 1529294 h 2389440"/>
                <a:gd name="connsiteX392" fmla="*/ 1089954 w 1755816"/>
                <a:gd name="connsiteY392" fmla="*/ 1529294 h 2389440"/>
                <a:gd name="connsiteX393" fmla="*/ 1085448 w 1755816"/>
                <a:gd name="connsiteY393" fmla="*/ 1533797 h 2389440"/>
                <a:gd name="connsiteX394" fmla="*/ 1080419 w 1755816"/>
                <a:gd name="connsiteY394" fmla="*/ 1548726 h 2389440"/>
                <a:gd name="connsiteX395" fmla="*/ 1085448 w 1755816"/>
                <a:gd name="connsiteY395" fmla="*/ 1553229 h 2389440"/>
                <a:gd name="connsiteX396" fmla="*/ 1080419 w 1755816"/>
                <a:gd name="connsiteY396" fmla="*/ 1563261 h 2389440"/>
                <a:gd name="connsiteX397" fmla="*/ 1075913 w 1755816"/>
                <a:gd name="connsiteY397" fmla="*/ 1563261 h 2389440"/>
                <a:gd name="connsiteX398" fmla="*/ 1075913 w 1755816"/>
                <a:gd name="connsiteY398" fmla="*/ 1572740 h 2389440"/>
                <a:gd name="connsiteX399" fmla="*/ 1085448 w 1755816"/>
                <a:gd name="connsiteY399" fmla="*/ 1577716 h 2389440"/>
                <a:gd name="connsiteX400" fmla="*/ 1089954 w 1755816"/>
                <a:gd name="connsiteY400" fmla="*/ 1577716 h 2389440"/>
                <a:gd name="connsiteX401" fmla="*/ 1095440 w 1755816"/>
                <a:gd name="connsiteY401" fmla="*/ 1577716 h 2389440"/>
                <a:gd name="connsiteX402" fmla="*/ 1104974 w 1755816"/>
                <a:gd name="connsiteY402" fmla="*/ 1592251 h 2389440"/>
                <a:gd name="connsiteX403" fmla="*/ 1104974 w 1755816"/>
                <a:gd name="connsiteY403" fmla="*/ 1597227 h 2389440"/>
                <a:gd name="connsiteX404" fmla="*/ 1099946 w 1755816"/>
                <a:gd name="connsiteY404" fmla="*/ 1597227 h 2389440"/>
                <a:gd name="connsiteX405" fmla="*/ 1095440 w 1755816"/>
                <a:gd name="connsiteY405" fmla="*/ 1611762 h 2389440"/>
                <a:gd name="connsiteX406" fmla="*/ 1095440 w 1755816"/>
                <a:gd name="connsiteY406" fmla="*/ 1616739 h 2389440"/>
                <a:gd name="connsiteX407" fmla="*/ 1085448 w 1755816"/>
                <a:gd name="connsiteY407" fmla="*/ 1636250 h 2389440"/>
                <a:gd name="connsiteX408" fmla="*/ 1070428 w 1755816"/>
                <a:gd name="connsiteY408" fmla="*/ 1636250 h 2389440"/>
                <a:gd name="connsiteX409" fmla="*/ 1065399 w 1755816"/>
                <a:gd name="connsiteY409" fmla="*/ 1640752 h 2389440"/>
                <a:gd name="connsiteX410" fmla="*/ 1070428 w 1755816"/>
                <a:gd name="connsiteY410" fmla="*/ 1646203 h 2389440"/>
                <a:gd name="connsiteX411" fmla="*/ 1075913 w 1755816"/>
                <a:gd name="connsiteY411" fmla="*/ 1646203 h 2389440"/>
                <a:gd name="connsiteX412" fmla="*/ 1080419 w 1755816"/>
                <a:gd name="connsiteY412" fmla="*/ 1646203 h 2389440"/>
                <a:gd name="connsiteX413" fmla="*/ 1080419 w 1755816"/>
                <a:gd name="connsiteY413" fmla="*/ 1650705 h 2389440"/>
                <a:gd name="connsiteX414" fmla="*/ 1080419 w 1755816"/>
                <a:gd name="connsiteY414" fmla="*/ 1655682 h 2389440"/>
                <a:gd name="connsiteX415" fmla="*/ 1080419 w 1755816"/>
                <a:gd name="connsiteY415" fmla="*/ 1660184 h 2389440"/>
                <a:gd name="connsiteX416" fmla="*/ 1075913 w 1755816"/>
                <a:gd name="connsiteY416" fmla="*/ 1670216 h 2389440"/>
                <a:gd name="connsiteX417" fmla="*/ 1065399 w 1755816"/>
                <a:gd name="connsiteY417" fmla="*/ 1670216 h 2389440"/>
                <a:gd name="connsiteX418" fmla="*/ 1055930 w 1755816"/>
                <a:gd name="connsiteY418" fmla="*/ 1660184 h 2389440"/>
                <a:gd name="connsiteX419" fmla="*/ 1041367 w 1755816"/>
                <a:gd name="connsiteY419" fmla="*/ 1660184 h 2389440"/>
                <a:gd name="connsiteX420" fmla="*/ 1045873 w 1755816"/>
                <a:gd name="connsiteY420" fmla="*/ 1670216 h 2389440"/>
                <a:gd name="connsiteX421" fmla="*/ 1041367 w 1755816"/>
                <a:gd name="connsiteY421" fmla="*/ 1675193 h 2389440"/>
                <a:gd name="connsiteX422" fmla="*/ 1036403 w 1755816"/>
                <a:gd name="connsiteY422" fmla="*/ 1675193 h 2389440"/>
                <a:gd name="connsiteX423" fmla="*/ 1026346 w 1755816"/>
                <a:gd name="connsiteY423" fmla="*/ 1684672 h 2389440"/>
                <a:gd name="connsiteX424" fmla="*/ 1021905 w 1755816"/>
                <a:gd name="connsiteY424" fmla="*/ 1704183 h 2389440"/>
                <a:gd name="connsiteX425" fmla="*/ 1006885 w 1755816"/>
                <a:gd name="connsiteY425" fmla="*/ 1704183 h 2389440"/>
                <a:gd name="connsiteX426" fmla="*/ 997350 w 1755816"/>
                <a:gd name="connsiteY426" fmla="*/ 1723694 h 2389440"/>
                <a:gd name="connsiteX427" fmla="*/ 987358 w 1755816"/>
                <a:gd name="connsiteY427" fmla="*/ 1723694 h 2389440"/>
                <a:gd name="connsiteX428" fmla="*/ 982330 w 1755816"/>
                <a:gd name="connsiteY428" fmla="*/ 1714215 h 2389440"/>
                <a:gd name="connsiteX429" fmla="*/ 977824 w 1755816"/>
                <a:gd name="connsiteY429" fmla="*/ 1708685 h 2389440"/>
                <a:gd name="connsiteX430" fmla="*/ 967832 w 1755816"/>
                <a:gd name="connsiteY430" fmla="*/ 1694704 h 2389440"/>
                <a:gd name="connsiteX431" fmla="*/ 958297 w 1755816"/>
                <a:gd name="connsiteY431" fmla="*/ 1694704 h 2389440"/>
                <a:gd name="connsiteX432" fmla="*/ 948828 w 1755816"/>
                <a:gd name="connsiteY432" fmla="*/ 1704183 h 2389440"/>
                <a:gd name="connsiteX433" fmla="*/ 943277 w 1755816"/>
                <a:gd name="connsiteY433" fmla="*/ 1708685 h 2389440"/>
                <a:gd name="connsiteX434" fmla="*/ 938771 w 1755816"/>
                <a:gd name="connsiteY434" fmla="*/ 1704183 h 2389440"/>
                <a:gd name="connsiteX435" fmla="*/ 928322 w 1755816"/>
                <a:gd name="connsiteY435" fmla="*/ 1704183 h 2389440"/>
                <a:gd name="connsiteX436" fmla="*/ 928322 w 1755816"/>
                <a:gd name="connsiteY436" fmla="*/ 1708685 h 2389440"/>
                <a:gd name="connsiteX437" fmla="*/ 918787 w 1755816"/>
                <a:gd name="connsiteY437" fmla="*/ 1704183 h 2389440"/>
                <a:gd name="connsiteX438" fmla="*/ 908795 w 1755816"/>
                <a:gd name="connsiteY438" fmla="*/ 1704183 h 2389440"/>
                <a:gd name="connsiteX439" fmla="*/ 904289 w 1755816"/>
                <a:gd name="connsiteY439" fmla="*/ 1708685 h 2389440"/>
                <a:gd name="connsiteX440" fmla="*/ 899261 w 1755816"/>
                <a:gd name="connsiteY440" fmla="*/ 1723694 h 2389440"/>
                <a:gd name="connsiteX441" fmla="*/ 855245 w 1755816"/>
                <a:gd name="connsiteY441" fmla="*/ 1728197 h 2389440"/>
                <a:gd name="connsiteX442" fmla="*/ 850738 w 1755816"/>
                <a:gd name="connsiteY442" fmla="*/ 1738150 h 2389440"/>
                <a:gd name="connsiteX443" fmla="*/ 845253 w 1755816"/>
                <a:gd name="connsiteY443" fmla="*/ 1738150 h 2389440"/>
                <a:gd name="connsiteX444" fmla="*/ 835718 w 1755816"/>
                <a:gd name="connsiteY444" fmla="*/ 1733726 h 2389440"/>
                <a:gd name="connsiteX445" fmla="*/ 821220 w 1755816"/>
                <a:gd name="connsiteY445" fmla="*/ 1728197 h 2389440"/>
                <a:gd name="connsiteX446" fmla="*/ 821220 w 1755816"/>
                <a:gd name="connsiteY446" fmla="*/ 1723694 h 2389440"/>
                <a:gd name="connsiteX447" fmla="*/ 811686 w 1755816"/>
                <a:gd name="connsiteY447" fmla="*/ 1723694 h 2389440"/>
                <a:gd name="connsiteX448" fmla="*/ 806657 w 1755816"/>
                <a:gd name="connsiteY448" fmla="*/ 1723694 h 2389440"/>
                <a:gd name="connsiteX449" fmla="*/ 802216 w 1755816"/>
                <a:gd name="connsiteY449" fmla="*/ 1723694 h 2389440"/>
                <a:gd name="connsiteX450" fmla="*/ 796665 w 1755816"/>
                <a:gd name="connsiteY450" fmla="*/ 1733726 h 2389440"/>
                <a:gd name="connsiteX451" fmla="*/ 792159 w 1755816"/>
                <a:gd name="connsiteY451" fmla="*/ 1747708 h 2389440"/>
                <a:gd name="connsiteX452" fmla="*/ 781645 w 1755816"/>
                <a:gd name="connsiteY452" fmla="*/ 1743205 h 2389440"/>
                <a:gd name="connsiteX453" fmla="*/ 781645 w 1755816"/>
                <a:gd name="connsiteY453" fmla="*/ 1733726 h 2389440"/>
                <a:gd name="connsiteX454" fmla="*/ 777139 w 1755816"/>
                <a:gd name="connsiteY454" fmla="*/ 1733726 h 2389440"/>
                <a:gd name="connsiteX455" fmla="*/ 772176 w 1755816"/>
                <a:gd name="connsiteY455" fmla="*/ 1738150 h 2389440"/>
                <a:gd name="connsiteX456" fmla="*/ 757678 w 1755816"/>
                <a:gd name="connsiteY456" fmla="*/ 1738150 h 2389440"/>
                <a:gd name="connsiteX457" fmla="*/ 752649 w 1755816"/>
                <a:gd name="connsiteY457" fmla="*/ 1743205 h 2389440"/>
                <a:gd name="connsiteX458" fmla="*/ 752649 w 1755816"/>
                <a:gd name="connsiteY458" fmla="*/ 1752684 h 2389440"/>
                <a:gd name="connsiteX459" fmla="*/ 748143 w 1755816"/>
                <a:gd name="connsiteY459" fmla="*/ 1752684 h 2389440"/>
                <a:gd name="connsiteX460" fmla="*/ 757678 w 1755816"/>
                <a:gd name="connsiteY460" fmla="*/ 1776698 h 2389440"/>
                <a:gd name="connsiteX461" fmla="*/ 752649 w 1755816"/>
                <a:gd name="connsiteY461" fmla="*/ 1782148 h 2389440"/>
                <a:gd name="connsiteX462" fmla="*/ 738151 w 1755816"/>
                <a:gd name="connsiteY462" fmla="*/ 1786651 h 2389440"/>
                <a:gd name="connsiteX463" fmla="*/ 738151 w 1755816"/>
                <a:gd name="connsiteY463" fmla="*/ 1782148 h 2389440"/>
                <a:gd name="connsiteX464" fmla="*/ 723588 w 1755816"/>
                <a:gd name="connsiteY464" fmla="*/ 1767140 h 2389440"/>
                <a:gd name="connsiteX465" fmla="*/ 728617 w 1755816"/>
                <a:gd name="connsiteY465" fmla="*/ 1762637 h 2389440"/>
                <a:gd name="connsiteX466" fmla="*/ 728617 w 1755816"/>
                <a:gd name="connsiteY466" fmla="*/ 1752684 h 2389440"/>
                <a:gd name="connsiteX467" fmla="*/ 713596 w 1755816"/>
                <a:gd name="connsiteY467" fmla="*/ 1743205 h 2389440"/>
                <a:gd name="connsiteX468" fmla="*/ 713596 w 1755816"/>
                <a:gd name="connsiteY468" fmla="*/ 1747708 h 2389440"/>
                <a:gd name="connsiteX469" fmla="*/ 689107 w 1755816"/>
                <a:gd name="connsiteY469" fmla="*/ 1757661 h 2389440"/>
                <a:gd name="connsiteX470" fmla="*/ 689107 w 1755816"/>
                <a:gd name="connsiteY470" fmla="*/ 1767140 h 2389440"/>
                <a:gd name="connsiteX471" fmla="*/ 679572 w 1755816"/>
                <a:gd name="connsiteY471" fmla="*/ 1762637 h 2389440"/>
                <a:gd name="connsiteX472" fmla="*/ 674609 w 1755816"/>
                <a:gd name="connsiteY472" fmla="*/ 1762637 h 2389440"/>
                <a:gd name="connsiteX473" fmla="*/ 669580 w 1755816"/>
                <a:gd name="connsiteY473" fmla="*/ 1762637 h 2389440"/>
                <a:gd name="connsiteX474" fmla="*/ 660046 w 1755816"/>
                <a:gd name="connsiteY474" fmla="*/ 1767140 h 2389440"/>
                <a:gd name="connsiteX475" fmla="*/ 655539 w 1755816"/>
                <a:gd name="connsiteY475" fmla="*/ 1762637 h 2389440"/>
                <a:gd name="connsiteX476" fmla="*/ 645548 w 1755816"/>
                <a:gd name="connsiteY476" fmla="*/ 1772195 h 2389440"/>
                <a:gd name="connsiteX477" fmla="*/ 635033 w 1755816"/>
                <a:gd name="connsiteY477" fmla="*/ 1776698 h 2389440"/>
                <a:gd name="connsiteX478" fmla="*/ 630527 w 1755816"/>
                <a:gd name="connsiteY478" fmla="*/ 1782148 h 2389440"/>
                <a:gd name="connsiteX479" fmla="*/ 635033 w 1755816"/>
                <a:gd name="connsiteY479" fmla="*/ 1786651 h 2389440"/>
                <a:gd name="connsiteX480" fmla="*/ 640519 w 1755816"/>
                <a:gd name="connsiteY480" fmla="*/ 1791627 h 2389440"/>
                <a:gd name="connsiteX481" fmla="*/ 650054 w 1755816"/>
                <a:gd name="connsiteY481" fmla="*/ 1791627 h 2389440"/>
                <a:gd name="connsiteX482" fmla="*/ 650054 w 1755816"/>
                <a:gd name="connsiteY482" fmla="*/ 1801659 h 2389440"/>
                <a:gd name="connsiteX483" fmla="*/ 645548 w 1755816"/>
                <a:gd name="connsiteY483" fmla="*/ 1806162 h 2389440"/>
                <a:gd name="connsiteX484" fmla="*/ 650054 w 1755816"/>
                <a:gd name="connsiteY484" fmla="*/ 1815641 h 2389440"/>
                <a:gd name="connsiteX485" fmla="*/ 650054 w 1755816"/>
                <a:gd name="connsiteY485" fmla="*/ 1830649 h 2389440"/>
                <a:gd name="connsiteX486" fmla="*/ 640519 w 1755816"/>
                <a:gd name="connsiteY486" fmla="*/ 1830649 h 2389440"/>
                <a:gd name="connsiteX487" fmla="*/ 635033 w 1755816"/>
                <a:gd name="connsiteY487" fmla="*/ 1845105 h 2389440"/>
                <a:gd name="connsiteX488" fmla="*/ 640519 w 1755816"/>
                <a:gd name="connsiteY488" fmla="*/ 1859640 h 2389440"/>
                <a:gd name="connsiteX489" fmla="*/ 635033 w 1755816"/>
                <a:gd name="connsiteY489" fmla="*/ 1864142 h 2389440"/>
                <a:gd name="connsiteX490" fmla="*/ 645548 w 1755816"/>
                <a:gd name="connsiteY490" fmla="*/ 1864142 h 2389440"/>
                <a:gd name="connsiteX491" fmla="*/ 645548 w 1755816"/>
                <a:gd name="connsiteY491" fmla="*/ 1874095 h 2389440"/>
                <a:gd name="connsiteX492" fmla="*/ 640519 w 1755816"/>
                <a:gd name="connsiteY492" fmla="*/ 1874095 h 2389440"/>
                <a:gd name="connsiteX493" fmla="*/ 635033 w 1755816"/>
                <a:gd name="connsiteY493" fmla="*/ 1883653 h 2389440"/>
                <a:gd name="connsiteX494" fmla="*/ 625564 w 1755816"/>
                <a:gd name="connsiteY494" fmla="*/ 1889104 h 2389440"/>
                <a:gd name="connsiteX495" fmla="*/ 625564 w 1755816"/>
                <a:gd name="connsiteY495" fmla="*/ 1893606 h 2389440"/>
                <a:gd name="connsiteX496" fmla="*/ 621058 w 1755816"/>
                <a:gd name="connsiteY496" fmla="*/ 1898583 h 2389440"/>
                <a:gd name="connsiteX497" fmla="*/ 621058 w 1755816"/>
                <a:gd name="connsiteY497" fmla="*/ 1903085 h 2389440"/>
                <a:gd name="connsiteX498" fmla="*/ 625564 w 1755816"/>
                <a:gd name="connsiteY498" fmla="*/ 1908615 h 2389440"/>
                <a:gd name="connsiteX499" fmla="*/ 625564 w 1755816"/>
                <a:gd name="connsiteY499" fmla="*/ 1913117 h 2389440"/>
                <a:gd name="connsiteX500" fmla="*/ 621058 w 1755816"/>
                <a:gd name="connsiteY500" fmla="*/ 1918094 h 2389440"/>
                <a:gd name="connsiteX501" fmla="*/ 615507 w 1755816"/>
                <a:gd name="connsiteY501" fmla="*/ 1918094 h 2389440"/>
                <a:gd name="connsiteX502" fmla="*/ 615507 w 1755816"/>
                <a:gd name="connsiteY502" fmla="*/ 1922596 h 2389440"/>
                <a:gd name="connsiteX503" fmla="*/ 611001 w 1755816"/>
                <a:gd name="connsiteY503" fmla="*/ 1922596 h 2389440"/>
                <a:gd name="connsiteX504" fmla="*/ 611001 w 1755816"/>
                <a:gd name="connsiteY504" fmla="*/ 1932628 h 2389440"/>
                <a:gd name="connsiteX505" fmla="*/ 621058 w 1755816"/>
                <a:gd name="connsiteY505" fmla="*/ 1937605 h 2389440"/>
                <a:gd name="connsiteX506" fmla="*/ 621058 w 1755816"/>
                <a:gd name="connsiteY506" fmla="*/ 1947084 h 2389440"/>
                <a:gd name="connsiteX507" fmla="*/ 625564 w 1755816"/>
                <a:gd name="connsiteY507" fmla="*/ 1952060 h 2389440"/>
                <a:gd name="connsiteX508" fmla="*/ 635033 w 1755816"/>
                <a:gd name="connsiteY508" fmla="*/ 1952060 h 2389440"/>
                <a:gd name="connsiteX509" fmla="*/ 640519 w 1755816"/>
                <a:gd name="connsiteY509" fmla="*/ 1957116 h 2389440"/>
                <a:gd name="connsiteX510" fmla="*/ 650054 w 1755816"/>
                <a:gd name="connsiteY510" fmla="*/ 1947084 h 2389440"/>
                <a:gd name="connsiteX511" fmla="*/ 655539 w 1755816"/>
                <a:gd name="connsiteY511" fmla="*/ 1952060 h 2389440"/>
                <a:gd name="connsiteX512" fmla="*/ 660046 w 1755816"/>
                <a:gd name="connsiteY512" fmla="*/ 1957116 h 2389440"/>
                <a:gd name="connsiteX513" fmla="*/ 669580 w 1755816"/>
                <a:gd name="connsiteY513" fmla="*/ 1957116 h 2389440"/>
                <a:gd name="connsiteX514" fmla="*/ 684600 w 1755816"/>
                <a:gd name="connsiteY514" fmla="*/ 1957116 h 2389440"/>
                <a:gd name="connsiteX515" fmla="*/ 684600 w 1755816"/>
                <a:gd name="connsiteY515" fmla="*/ 1966595 h 2389440"/>
                <a:gd name="connsiteX516" fmla="*/ 684600 w 1755816"/>
                <a:gd name="connsiteY516" fmla="*/ 1976548 h 2389440"/>
                <a:gd name="connsiteX517" fmla="*/ 694070 w 1755816"/>
                <a:gd name="connsiteY517" fmla="*/ 1976548 h 2389440"/>
                <a:gd name="connsiteX518" fmla="*/ 698576 w 1755816"/>
                <a:gd name="connsiteY518" fmla="*/ 1986106 h 2389440"/>
                <a:gd name="connsiteX519" fmla="*/ 704127 w 1755816"/>
                <a:gd name="connsiteY519" fmla="*/ 1986106 h 2389440"/>
                <a:gd name="connsiteX520" fmla="*/ 704127 w 1755816"/>
                <a:gd name="connsiteY520" fmla="*/ 1990609 h 2389440"/>
                <a:gd name="connsiteX521" fmla="*/ 704127 w 1755816"/>
                <a:gd name="connsiteY521" fmla="*/ 1996059 h 2389440"/>
                <a:gd name="connsiteX522" fmla="*/ 704127 w 1755816"/>
                <a:gd name="connsiteY522" fmla="*/ 2000562 h 2389440"/>
                <a:gd name="connsiteX523" fmla="*/ 698576 w 1755816"/>
                <a:gd name="connsiteY523" fmla="*/ 2005538 h 2389440"/>
                <a:gd name="connsiteX524" fmla="*/ 708633 w 1755816"/>
                <a:gd name="connsiteY524" fmla="*/ 2015570 h 2389440"/>
                <a:gd name="connsiteX525" fmla="*/ 713596 w 1755816"/>
                <a:gd name="connsiteY525" fmla="*/ 2020073 h 2389440"/>
                <a:gd name="connsiteX526" fmla="*/ 708633 w 1755816"/>
                <a:gd name="connsiteY526" fmla="*/ 2020073 h 2389440"/>
                <a:gd name="connsiteX527" fmla="*/ 694070 w 1755816"/>
                <a:gd name="connsiteY527" fmla="*/ 2025049 h 2389440"/>
                <a:gd name="connsiteX528" fmla="*/ 694070 w 1755816"/>
                <a:gd name="connsiteY528" fmla="*/ 2034528 h 2389440"/>
                <a:gd name="connsiteX529" fmla="*/ 694070 w 1755816"/>
                <a:gd name="connsiteY529" fmla="*/ 2039584 h 2389440"/>
                <a:gd name="connsiteX530" fmla="*/ 698576 w 1755816"/>
                <a:gd name="connsiteY530" fmla="*/ 2044560 h 2389440"/>
                <a:gd name="connsiteX531" fmla="*/ 694070 w 1755816"/>
                <a:gd name="connsiteY531" fmla="*/ 2049063 h 2389440"/>
                <a:gd name="connsiteX532" fmla="*/ 698576 w 1755816"/>
                <a:gd name="connsiteY532" fmla="*/ 2054039 h 2389440"/>
                <a:gd name="connsiteX533" fmla="*/ 704127 w 1755816"/>
                <a:gd name="connsiteY533" fmla="*/ 2049063 h 2389440"/>
                <a:gd name="connsiteX534" fmla="*/ 708633 w 1755816"/>
                <a:gd name="connsiteY534" fmla="*/ 2039584 h 2389440"/>
                <a:gd name="connsiteX535" fmla="*/ 713596 w 1755816"/>
                <a:gd name="connsiteY535" fmla="*/ 2034528 h 2389440"/>
                <a:gd name="connsiteX536" fmla="*/ 719082 w 1755816"/>
                <a:gd name="connsiteY536" fmla="*/ 2034528 h 2389440"/>
                <a:gd name="connsiteX537" fmla="*/ 719082 w 1755816"/>
                <a:gd name="connsiteY537" fmla="*/ 2044560 h 2389440"/>
                <a:gd name="connsiteX538" fmla="*/ 723588 w 1755816"/>
                <a:gd name="connsiteY538" fmla="*/ 2044560 h 2389440"/>
                <a:gd name="connsiteX539" fmla="*/ 719082 w 1755816"/>
                <a:gd name="connsiteY539" fmla="*/ 2058542 h 2389440"/>
                <a:gd name="connsiteX540" fmla="*/ 719082 w 1755816"/>
                <a:gd name="connsiteY540" fmla="*/ 2064071 h 2389440"/>
                <a:gd name="connsiteX541" fmla="*/ 719082 w 1755816"/>
                <a:gd name="connsiteY541" fmla="*/ 2073550 h 2389440"/>
                <a:gd name="connsiteX542" fmla="*/ 719082 w 1755816"/>
                <a:gd name="connsiteY542" fmla="*/ 2078053 h 2389440"/>
                <a:gd name="connsiteX543" fmla="*/ 728617 w 1755816"/>
                <a:gd name="connsiteY543" fmla="*/ 2083503 h 2389440"/>
                <a:gd name="connsiteX544" fmla="*/ 728617 w 1755816"/>
                <a:gd name="connsiteY544" fmla="*/ 2088006 h 2389440"/>
                <a:gd name="connsiteX545" fmla="*/ 728617 w 1755816"/>
                <a:gd name="connsiteY545" fmla="*/ 2093061 h 2389440"/>
                <a:gd name="connsiteX546" fmla="*/ 723588 w 1755816"/>
                <a:gd name="connsiteY546" fmla="*/ 2097564 h 2389440"/>
                <a:gd name="connsiteX547" fmla="*/ 708633 w 1755816"/>
                <a:gd name="connsiteY547" fmla="*/ 2097564 h 2389440"/>
                <a:gd name="connsiteX548" fmla="*/ 704127 w 1755816"/>
                <a:gd name="connsiteY548" fmla="*/ 2097564 h 2389440"/>
                <a:gd name="connsiteX549" fmla="*/ 704127 w 1755816"/>
                <a:gd name="connsiteY549" fmla="*/ 2107517 h 2389440"/>
                <a:gd name="connsiteX550" fmla="*/ 698576 w 1755816"/>
                <a:gd name="connsiteY550" fmla="*/ 2116996 h 2389440"/>
                <a:gd name="connsiteX551" fmla="*/ 708633 w 1755816"/>
                <a:gd name="connsiteY551" fmla="*/ 2122526 h 2389440"/>
                <a:gd name="connsiteX552" fmla="*/ 704127 w 1755816"/>
                <a:gd name="connsiteY552" fmla="*/ 2127028 h 2389440"/>
                <a:gd name="connsiteX553" fmla="*/ 698576 w 1755816"/>
                <a:gd name="connsiteY553" fmla="*/ 2141484 h 2389440"/>
                <a:gd name="connsiteX554" fmla="*/ 694070 w 1755816"/>
                <a:gd name="connsiteY554" fmla="*/ 2151516 h 2389440"/>
                <a:gd name="connsiteX555" fmla="*/ 689107 w 1755816"/>
                <a:gd name="connsiteY555" fmla="*/ 2156018 h 2389440"/>
                <a:gd name="connsiteX556" fmla="*/ 684600 w 1755816"/>
                <a:gd name="connsiteY556" fmla="*/ 2156018 h 2389440"/>
                <a:gd name="connsiteX557" fmla="*/ 684600 w 1755816"/>
                <a:gd name="connsiteY557" fmla="*/ 2180506 h 2389440"/>
                <a:gd name="connsiteX558" fmla="*/ 674609 w 1755816"/>
                <a:gd name="connsiteY558" fmla="*/ 2180506 h 2389440"/>
                <a:gd name="connsiteX559" fmla="*/ 669580 w 1755816"/>
                <a:gd name="connsiteY559" fmla="*/ 2180506 h 2389440"/>
                <a:gd name="connsiteX560" fmla="*/ 669580 w 1755816"/>
                <a:gd name="connsiteY560" fmla="*/ 2175529 h 2389440"/>
                <a:gd name="connsiteX561" fmla="*/ 665074 w 1755816"/>
                <a:gd name="connsiteY561" fmla="*/ 2180506 h 2389440"/>
                <a:gd name="connsiteX562" fmla="*/ 660046 w 1755816"/>
                <a:gd name="connsiteY562" fmla="*/ 2194961 h 2389440"/>
                <a:gd name="connsiteX563" fmla="*/ 655539 w 1755816"/>
                <a:gd name="connsiteY563" fmla="*/ 2194961 h 2389440"/>
                <a:gd name="connsiteX564" fmla="*/ 655539 w 1755816"/>
                <a:gd name="connsiteY564" fmla="*/ 2204519 h 2389440"/>
                <a:gd name="connsiteX565" fmla="*/ 645548 w 1755816"/>
                <a:gd name="connsiteY565" fmla="*/ 2214473 h 2389440"/>
                <a:gd name="connsiteX566" fmla="*/ 635033 w 1755816"/>
                <a:gd name="connsiteY566" fmla="*/ 2209970 h 2389440"/>
                <a:gd name="connsiteX567" fmla="*/ 635033 w 1755816"/>
                <a:gd name="connsiteY567" fmla="*/ 2214473 h 2389440"/>
                <a:gd name="connsiteX568" fmla="*/ 635033 w 1755816"/>
                <a:gd name="connsiteY568" fmla="*/ 2238960 h 2389440"/>
                <a:gd name="connsiteX569" fmla="*/ 635033 w 1755816"/>
                <a:gd name="connsiteY569" fmla="*/ 2243463 h 2389440"/>
                <a:gd name="connsiteX570" fmla="*/ 640519 w 1755816"/>
                <a:gd name="connsiteY570" fmla="*/ 2243463 h 2389440"/>
                <a:gd name="connsiteX571" fmla="*/ 621058 w 1755816"/>
                <a:gd name="connsiteY571" fmla="*/ 2252942 h 2389440"/>
                <a:gd name="connsiteX572" fmla="*/ 615507 w 1755816"/>
                <a:gd name="connsiteY572" fmla="*/ 2248439 h 2389440"/>
                <a:gd name="connsiteX573" fmla="*/ 606038 w 1755816"/>
                <a:gd name="connsiteY573" fmla="*/ 2252942 h 2389440"/>
                <a:gd name="connsiteX574" fmla="*/ 606038 w 1755816"/>
                <a:gd name="connsiteY574" fmla="*/ 2267950 h 2389440"/>
                <a:gd name="connsiteX575" fmla="*/ 596503 w 1755816"/>
                <a:gd name="connsiteY575" fmla="*/ 2267950 h 2389440"/>
                <a:gd name="connsiteX576" fmla="*/ 591474 w 1755816"/>
                <a:gd name="connsiteY576" fmla="*/ 2291964 h 2389440"/>
                <a:gd name="connsiteX577" fmla="*/ 596503 w 1755816"/>
                <a:gd name="connsiteY577" fmla="*/ 2301917 h 2389440"/>
                <a:gd name="connsiteX578" fmla="*/ 596503 w 1755816"/>
                <a:gd name="connsiteY578" fmla="*/ 2311475 h 2389440"/>
                <a:gd name="connsiteX579" fmla="*/ 586511 w 1755816"/>
                <a:gd name="connsiteY579" fmla="*/ 2311475 h 2389440"/>
                <a:gd name="connsiteX580" fmla="*/ 576977 w 1755816"/>
                <a:gd name="connsiteY580" fmla="*/ 2316451 h 2389440"/>
                <a:gd name="connsiteX581" fmla="*/ 582005 w 1755816"/>
                <a:gd name="connsiteY581" fmla="*/ 2355395 h 2389440"/>
                <a:gd name="connsiteX582" fmla="*/ 527932 w 1755816"/>
                <a:gd name="connsiteY582" fmla="*/ 2379408 h 2389440"/>
                <a:gd name="connsiteX583" fmla="*/ 503442 w 1755816"/>
                <a:gd name="connsiteY583" fmla="*/ 2365427 h 2389440"/>
                <a:gd name="connsiteX584" fmla="*/ 483916 w 1755816"/>
                <a:gd name="connsiteY584" fmla="*/ 2389440 h 2389440"/>
                <a:gd name="connsiteX585" fmla="*/ 478887 w 1755816"/>
                <a:gd name="connsiteY585" fmla="*/ 2384938 h 2389440"/>
                <a:gd name="connsiteX586" fmla="*/ 474381 w 1755816"/>
                <a:gd name="connsiteY586" fmla="*/ 2384938 h 2389440"/>
                <a:gd name="connsiteX587" fmla="*/ 478887 w 1755816"/>
                <a:gd name="connsiteY587" fmla="*/ 2374906 h 2389440"/>
                <a:gd name="connsiteX588" fmla="*/ 464389 w 1755816"/>
                <a:gd name="connsiteY588" fmla="*/ 2374906 h 2389440"/>
                <a:gd name="connsiteX589" fmla="*/ 464389 w 1755816"/>
                <a:gd name="connsiteY589" fmla="*/ 2355395 h 2389440"/>
                <a:gd name="connsiteX590" fmla="*/ 449892 w 1755816"/>
                <a:gd name="connsiteY590" fmla="*/ 2345916 h 2389440"/>
                <a:gd name="connsiteX591" fmla="*/ 439900 w 1755816"/>
                <a:gd name="connsiteY591" fmla="*/ 2340465 h 2389440"/>
                <a:gd name="connsiteX592" fmla="*/ 439900 w 1755816"/>
                <a:gd name="connsiteY592" fmla="*/ 2335963 h 2389440"/>
                <a:gd name="connsiteX593" fmla="*/ 435394 w 1755816"/>
                <a:gd name="connsiteY593" fmla="*/ 2330907 h 2389440"/>
                <a:gd name="connsiteX594" fmla="*/ 425859 w 1755816"/>
                <a:gd name="connsiteY594" fmla="*/ 2330907 h 2389440"/>
                <a:gd name="connsiteX595" fmla="*/ 410839 w 1755816"/>
                <a:gd name="connsiteY595" fmla="*/ 2311475 h 2389440"/>
                <a:gd name="connsiteX596" fmla="*/ 420373 w 1755816"/>
                <a:gd name="connsiteY596" fmla="*/ 2311475 h 2389440"/>
                <a:gd name="connsiteX597" fmla="*/ 415345 w 1755816"/>
                <a:gd name="connsiteY597" fmla="*/ 2297414 h 2389440"/>
                <a:gd name="connsiteX598" fmla="*/ 410839 w 1755816"/>
                <a:gd name="connsiteY598" fmla="*/ 2291964 h 2389440"/>
                <a:gd name="connsiteX599" fmla="*/ 410839 w 1755816"/>
                <a:gd name="connsiteY599" fmla="*/ 2282485 h 2389440"/>
                <a:gd name="connsiteX600" fmla="*/ 395818 w 1755816"/>
                <a:gd name="connsiteY600" fmla="*/ 2282485 h 2389440"/>
                <a:gd name="connsiteX601" fmla="*/ 381320 w 1755816"/>
                <a:gd name="connsiteY601" fmla="*/ 2291964 h 2389440"/>
                <a:gd name="connsiteX602" fmla="*/ 352325 w 1755816"/>
                <a:gd name="connsiteY602" fmla="*/ 2287461 h 2389440"/>
                <a:gd name="connsiteX603" fmla="*/ 322284 w 1755816"/>
                <a:gd name="connsiteY603" fmla="*/ 2282485 h 2389440"/>
                <a:gd name="connsiteX604" fmla="*/ 317778 w 1755816"/>
                <a:gd name="connsiteY604" fmla="*/ 2282485 h 2389440"/>
                <a:gd name="connsiteX605" fmla="*/ 302758 w 1755816"/>
                <a:gd name="connsiteY605" fmla="*/ 2267950 h 2389440"/>
                <a:gd name="connsiteX606" fmla="*/ 273762 w 1755816"/>
                <a:gd name="connsiteY606" fmla="*/ 2252942 h 2389440"/>
                <a:gd name="connsiteX607" fmla="*/ 264227 w 1755816"/>
                <a:gd name="connsiteY607" fmla="*/ 2248439 h 2389440"/>
                <a:gd name="connsiteX608" fmla="*/ 258741 w 1755816"/>
                <a:gd name="connsiteY608" fmla="*/ 2252942 h 2389440"/>
                <a:gd name="connsiteX609" fmla="*/ 254235 w 1755816"/>
                <a:gd name="connsiteY609" fmla="*/ 2252942 h 2389440"/>
                <a:gd name="connsiteX610" fmla="*/ 249207 w 1755816"/>
                <a:gd name="connsiteY610" fmla="*/ 2243463 h 2389440"/>
                <a:gd name="connsiteX611" fmla="*/ 239215 w 1755816"/>
                <a:gd name="connsiteY611" fmla="*/ 2238960 h 2389440"/>
                <a:gd name="connsiteX612" fmla="*/ 220211 w 1755816"/>
                <a:gd name="connsiteY612" fmla="*/ 2229007 h 2389440"/>
                <a:gd name="connsiteX613" fmla="*/ 210154 w 1755816"/>
                <a:gd name="connsiteY613" fmla="*/ 2233984 h 2389440"/>
                <a:gd name="connsiteX614" fmla="*/ 205648 w 1755816"/>
                <a:gd name="connsiteY614" fmla="*/ 2233984 h 2389440"/>
                <a:gd name="connsiteX615" fmla="*/ 200685 w 1755816"/>
                <a:gd name="connsiteY615" fmla="*/ 2223952 h 2389440"/>
                <a:gd name="connsiteX616" fmla="*/ 185664 w 1755816"/>
                <a:gd name="connsiteY616" fmla="*/ 2219449 h 2389440"/>
                <a:gd name="connsiteX617" fmla="*/ 195199 w 1755816"/>
                <a:gd name="connsiteY617" fmla="*/ 2200017 h 2389440"/>
                <a:gd name="connsiteX618" fmla="*/ 200685 w 1755816"/>
                <a:gd name="connsiteY618" fmla="*/ 2194961 h 2389440"/>
                <a:gd name="connsiteX619" fmla="*/ 175672 w 1755816"/>
                <a:gd name="connsiteY619" fmla="*/ 2194961 h 2389440"/>
                <a:gd name="connsiteX620" fmla="*/ 166138 w 1755816"/>
                <a:gd name="connsiteY620" fmla="*/ 2238960 h 2389440"/>
                <a:gd name="connsiteX621" fmla="*/ 161632 w 1755816"/>
                <a:gd name="connsiteY621" fmla="*/ 2238960 h 2389440"/>
                <a:gd name="connsiteX622" fmla="*/ 132636 w 1755816"/>
                <a:gd name="connsiteY622" fmla="*/ 2229007 h 2389440"/>
                <a:gd name="connsiteX623" fmla="*/ 127085 w 1755816"/>
                <a:gd name="connsiteY623" fmla="*/ 2219449 h 2389440"/>
                <a:gd name="connsiteX624" fmla="*/ 122122 w 1755816"/>
                <a:gd name="connsiteY624" fmla="*/ 2204519 h 2389440"/>
                <a:gd name="connsiteX625" fmla="*/ 122122 w 1755816"/>
                <a:gd name="connsiteY625" fmla="*/ 2200017 h 2389440"/>
                <a:gd name="connsiteX626" fmla="*/ 142105 w 1755816"/>
                <a:gd name="connsiteY626" fmla="*/ 2185008 h 2389440"/>
                <a:gd name="connsiteX627" fmla="*/ 146611 w 1755816"/>
                <a:gd name="connsiteY627" fmla="*/ 2171027 h 2389440"/>
                <a:gd name="connsiteX628" fmla="*/ 161632 w 1755816"/>
                <a:gd name="connsiteY628" fmla="*/ 2127028 h 2389440"/>
                <a:gd name="connsiteX629" fmla="*/ 156146 w 1755816"/>
                <a:gd name="connsiteY629" fmla="*/ 2116996 h 2389440"/>
                <a:gd name="connsiteX630" fmla="*/ 151640 w 1755816"/>
                <a:gd name="connsiteY630" fmla="*/ 2107517 h 2389440"/>
                <a:gd name="connsiteX631" fmla="*/ 137142 w 1755816"/>
                <a:gd name="connsiteY631" fmla="*/ 2107517 h 2389440"/>
                <a:gd name="connsiteX632" fmla="*/ 122122 w 1755816"/>
                <a:gd name="connsiteY632" fmla="*/ 2097564 h 2389440"/>
                <a:gd name="connsiteX633" fmla="*/ 112065 w 1755816"/>
                <a:gd name="connsiteY633" fmla="*/ 2093061 h 2389440"/>
                <a:gd name="connsiteX634" fmla="*/ 102595 w 1755816"/>
                <a:gd name="connsiteY634" fmla="*/ 2093061 h 2389440"/>
                <a:gd name="connsiteX635" fmla="*/ 92603 w 1755816"/>
                <a:gd name="connsiteY635" fmla="*/ 2093061 h 2389440"/>
                <a:gd name="connsiteX636" fmla="*/ 83069 w 1755816"/>
                <a:gd name="connsiteY636" fmla="*/ 2112494 h 2389440"/>
                <a:gd name="connsiteX637" fmla="*/ 68571 w 1755816"/>
                <a:gd name="connsiteY637" fmla="*/ 2112494 h 2389440"/>
                <a:gd name="connsiteX638" fmla="*/ 63542 w 1755816"/>
                <a:gd name="connsiteY638" fmla="*/ 2097564 h 2389440"/>
                <a:gd name="connsiteX639" fmla="*/ 63542 w 1755816"/>
                <a:gd name="connsiteY639" fmla="*/ 2083503 h 2389440"/>
                <a:gd name="connsiteX640" fmla="*/ 59036 w 1755816"/>
                <a:gd name="connsiteY640" fmla="*/ 2083503 h 2389440"/>
                <a:gd name="connsiteX641" fmla="*/ 44016 w 1755816"/>
                <a:gd name="connsiteY641" fmla="*/ 2078053 h 2389440"/>
                <a:gd name="connsiteX642" fmla="*/ 34547 w 1755816"/>
                <a:gd name="connsiteY642" fmla="*/ 2083503 h 2389440"/>
                <a:gd name="connsiteX643" fmla="*/ 24490 w 1755816"/>
                <a:gd name="connsiteY643" fmla="*/ 2083503 h 2389440"/>
                <a:gd name="connsiteX644" fmla="*/ 19526 w 1755816"/>
                <a:gd name="connsiteY644" fmla="*/ 2083503 h 2389440"/>
                <a:gd name="connsiteX645" fmla="*/ 15020 w 1755816"/>
                <a:gd name="connsiteY645" fmla="*/ 2058542 h 2389440"/>
                <a:gd name="connsiteX646" fmla="*/ 9535 w 1755816"/>
                <a:gd name="connsiteY646" fmla="*/ 2058542 h 2389440"/>
                <a:gd name="connsiteX647" fmla="*/ 5028 w 1755816"/>
                <a:gd name="connsiteY647" fmla="*/ 2058542 h 2389440"/>
                <a:gd name="connsiteX648" fmla="*/ 0 w 1755816"/>
                <a:gd name="connsiteY648" fmla="*/ 2044560 h 2389440"/>
                <a:gd name="connsiteX649" fmla="*/ 15020 w 1755816"/>
                <a:gd name="connsiteY649" fmla="*/ 2039584 h 2389440"/>
                <a:gd name="connsiteX650" fmla="*/ 19526 w 1755816"/>
                <a:gd name="connsiteY650" fmla="*/ 2034528 h 2389440"/>
                <a:gd name="connsiteX651" fmla="*/ 24490 w 1755816"/>
                <a:gd name="connsiteY651" fmla="*/ 2039584 h 2389440"/>
                <a:gd name="connsiteX652" fmla="*/ 44016 w 1755816"/>
                <a:gd name="connsiteY652" fmla="*/ 2034528 h 2389440"/>
                <a:gd name="connsiteX653" fmla="*/ 48522 w 1755816"/>
                <a:gd name="connsiteY653" fmla="*/ 2034528 h 2389440"/>
                <a:gd name="connsiteX654" fmla="*/ 54073 w 1755816"/>
                <a:gd name="connsiteY654" fmla="*/ 2034528 h 2389440"/>
                <a:gd name="connsiteX655" fmla="*/ 54073 w 1755816"/>
                <a:gd name="connsiteY655" fmla="*/ 2029552 h 2389440"/>
                <a:gd name="connsiteX656" fmla="*/ 68571 w 1755816"/>
                <a:gd name="connsiteY656" fmla="*/ 2020073 h 2389440"/>
                <a:gd name="connsiteX657" fmla="*/ 73534 w 1755816"/>
                <a:gd name="connsiteY657" fmla="*/ 2020073 h 2389440"/>
                <a:gd name="connsiteX658" fmla="*/ 78563 w 1755816"/>
                <a:gd name="connsiteY658" fmla="*/ 2015570 h 2389440"/>
                <a:gd name="connsiteX659" fmla="*/ 83069 w 1755816"/>
                <a:gd name="connsiteY659" fmla="*/ 2005538 h 2389440"/>
                <a:gd name="connsiteX660" fmla="*/ 88097 w 1755816"/>
                <a:gd name="connsiteY660" fmla="*/ 1996059 h 2389440"/>
                <a:gd name="connsiteX661" fmla="*/ 92603 w 1755816"/>
                <a:gd name="connsiteY661" fmla="*/ 1990609 h 2389440"/>
                <a:gd name="connsiteX662" fmla="*/ 102595 w 1755816"/>
                <a:gd name="connsiteY662" fmla="*/ 1981051 h 2389440"/>
                <a:gd name="connsiteX663" fmla="*/ 107624 w 1755816"/>
                <a:gd name="connsiteY663" fmla="*/ 1966595 h 2389440"/>
                <a:gd name="connsiteX664" fmla="*/ 112065 w 1755816"/>
                <a:gd name="connsiteY664" fmla="*/ 1961618 h 2389440"/>
                <a:gd name="connsiteX665" fmla="*/ 127085 w 1755816"/>
                <a:gd name="connsiteY665" fmla="*/ 1942107 h 2389440"/>
                <a:gd name="connsiteX666" fmla="*/ 132636 w 1755816"/>
                <a:gd name="connsiteY666" fmla="*/ 1932628 h 2389440"/>
                <a:gd name="connsiteX667" fmla="*/ 137142 w 1755816"/>
                <a:gd name="connsiteY667" fmla="*/ 1918094 h 2389440"/>
                <a:gd name="connsiteX668" fmla="*/ 146611 w 1755816"/>
                <a:gd name="connsiteY668" fmla="*/ 1893606 h 2389440"/>
                <a:gd name="connsiteX669" fmla="*/ 146611 w 1755816"/>
                <a:gd name="connsiteY669" fmla="*/ 1879151 h 2389440"/>
                <a:gd name="connsiteX670" fmla="*/ 151640 w 1755816"/>
                <a:gd name="connsiteY670" fmla="*/ 1850161 h 2389440"/>
                <a:gd name="connsiteX671" fmla="*/ 161632 w 1755816"/>
                <a:gd name="connsiteY671" fmla="*/ 1825673 h 2389440"/>
                <a:gd name="connsiteX672" fmla="*/ 161632 w 1755816"/>
                <a:gd name="connsiteY672" fmla="*/ 1815641 h 2389440"/>
                <a:gd name="connsiteX673" fmla="*/ 171166 w 1755816"/>
                <a:gd name="connsiteY673" fmla="*/ 1796130 h 2389440"/>
                <a:gd name="connsiteX674" fmla="*/ 175672 w 1755816"/>
                <a:gd name="connsiteY674" fmla="*/ 1772195 h 2389440"/>
                <a:gd name="connsiteX675" fmla="*/ 190693 w 1755816"/>
                <a:gd name="connsiteY675" fmla="*/ 1708685 h 2389440"/>
                <a:gd name="connsiteX676" fmla="*/ 205648 w 1755816"/>
                <a:gd name="connsiteY676" fmla="*/ 1665240 h 2389440"/>
                <a:gd name="connsiteX677" fmla="*/ 210154 w 1755816"/>
                <a:gd name="connsiteY677" fmla="*/ 1640752 h 2389440"/>
                <a:gd name="connsiteX678" fmla="*/ 225174 w 1755816"/>
                <a:gd name="connsiteY678" fmla="*/ 1563261 h 2389440"/>
                <a:gd name="connsiteX679" fmla="*/ 225174 w 1755816"/>
                <a:gd name="connsiteY679" fmla="*/ 1543750 h 2389440"/>
                <a:gd name="connsiteX680" fmla="*/ 229680 w 1755816"/>
                <a:gd name="connsiteY680" fmla="*/ 1529294 h 2389440"/>
                <a:gd name="connsiteX681" fmla="*/ 244701 w 1755816"/>
                <a:gd name="connsiteY681" fmla="*/ 1456305 h 2389440"/>
                <a:gd name="connsiteX682" fmla="*/ 234709 w 1755816"/>
                <a:gd name="connsiteY682" fmla="*/ 1407330 h 2389440"/>
                <a:gd name="connsiteX683" fmla="*/ 249207 w 1755816"/>
                <a:gd name="connsiteY683" fmla="*/ 1407330 h 2389440"/>
                <a:gd name="connsiteX684" fmla="*/ 264227 w 1755816"/>
                <a:gd name="connsiteY684" fmla="*/ 1378340 h 2389440"/>
                <a:gd name="connsiteX685" fmla="*/ 268733 w 1755816"/>
                <a:gd name="connsiteY685" fmla="*/ 1364358 h 2389440"/>
                <a:gd name="connsiteX686" fmla="*/ 268733 w 1755816"/>
                <a:gd name="connsiteY686" fmla="*/ 1354326 h 2389440"/>
                <a:gd name="connsiteX687" fmla="*/ 279247 w 1755816"/>
                <a:gd name="connsiteY687" fmla="*/ 1354326 h 2389440"/>
                <a:gd name="connsiteX688" fmla="*/ 288717 w 1755816"/>
                <a:gd name="connsiteY688" fmla="*/ 1349350 h 2389440"/>
                <a:gd name="connsiteX689" fmla="*/ 293223 w 1755816"/>
                <a:gd name="connsiteY689" fmla="*/ 1354326 h 2389440"/>
                <a:gd name="connsiteX690" fmla="*/ 298251 w 1755816"/>
                <a:gd name="connsiteY690" fmla="*/ 1358829 h 2389440"/>
                <a:gd name="connsiteX691" fmla="*/ 302758 w 1755816"/>
                <a:gd name="connsiteY691" fmla="*/ 1364358 h 2389440"/>
                <a:gd name="connsiteX692" fmla="*/ 308243 w 1755816"/>
                <a:gd name="connsiteY692" fmla="*/ 1364358 h 2389440"/>
                <a:gd name="connsiteX693" fmla="*/ 332276 w 1755816"/>
                <a:gd name="connsiteY693" fmla="*/ 1358829 h 2389440"/>
                <a:gd name="connsiteX694" fmla="*/ 337304 w 1755816"/>
                <a:gd name="connsiteY694" fmla="*/ 1349350 h 2389440"/>
                <a:gd name="connsiteX695" fmla="*/ 322284 w 1755816"/>
                <a:gd name="connsiteY695" fmla="*/ 1334815 h 2389440"/>
                <a:gd name="connsiteX696" fmla="*/ 327770 w 1755816"/>
                <a:gd name="connsiteY696" fmla="*/ 1334815 h 2389440"/>
                <a:gd name="connsiteX697" fmla="*/ 332276 w 1755816"/>
                <a:gd name="connsiteY697" fmla="*/ 1339318 h 2389440"/>
                <a:gd name="connsiteX698" fmla="*/ 332276 w 1755816"/>
                <a:gd name="connsiteY698" fmla="*/ 1334815 h 2389440"/>
                <a:gd name="connsiteX699" fmla="*/ 317778 w 1755816"/>
                <a:gd name="connsiteY699" fmla="*/ 1325336 h 2389440"/>
                <a:gd name="connsiteX700" fmla="*/ 302758 w 1755816"/>
                <a:gd name="connsiteY700" fmla="*/ 1310328 h 2389440"/>
                <a:gd name="connsiteX701" fmla="*/ 288717 w 1755816"/>
                <a:gd name="connsiteY701" fmla="*/ 1300375 h 2389440"/>
                <a:gd name="connsiteX702" fmla="*/ 258741 w 1755816"/>
                <a:gd name="connsiteY702" fmla="*/ 1325336 h 2389440"/>
                <a:gd name="connsiteX703" fmla="*/ 254235 w 1755816"/>
                <a:gd name="connsiteY703" fmla="*/ 1358829 h 2389440"/>
                <a:gd name="connsiteX704" fmla="*/ 249207 w 1755816"/>
                <a:gd name="connsiteY704" fmla="*/ 1378340 h 2389440"/>
                <a:gd name="connsiteX705" fmla="*/ 244701 w 1755816"/>
                <a:gd name="connsiteY705" fmla="*/ 1373838 h 2389440"/>
                <a:gd name="connsiteX706" fmla="*/ 249207 w 1755816"/>
                <a:gd name="connsiteY706" fmla="*/ 1349350 h 2389440"/>
                <a:gd name="connsiteX707" fmla="*/ 258741 w 1755816"/>
                <a:gd name="connsiteY707" fmla="*/ 1271385 h 2389440"/>
                <a:gd name="connsiteX708" fmla="*/ 268733 w 1755816"/>
                <a:gd name="connsiteY708" fmla="*/ 1212930 h 2389440"/>
                <a:gd name="connsiteX709" fmla="*/ 279247 w 1755816"/>
                <a:gd name="connsiteY709" fmla="*/ 1135439 h 2389440"/>
                <a:gd name="connsiteX710" fmla="*/ 288717 w 1755816"/>
                <a:gd name="connsiteY710" fmla="*/ 1101472 h 2389440"/>
                <a:gd name="connsiteX711" fmla="*/ 293223 w 1755816"/>
                <a:gd name="connsiteY711" fmla="*/ 1037963 h 2389440"/>
                <a:gd name="connsiteX712" fmla="*/ 298251 w 1755816"/>
                <a:gd name="connsiteY712" fmla="*/ 1018452 h 2389440"/>
                <a:gd name="connsiteX713" fmla="*/ 302758 w 1755816"/>
                <a:gd name="connsiteY713" fmla="*/ 960471 h 2389440"/>
                <a:gd name="connsiteX714" fmla="*/ 302758 w 1755816"/>
                <a:gd name="connsiteY714" fmla="*/ 950518 h 2389440"/>
                <a:gd name="connsiteX715" fmla="*/ 308243 w 1755816"/>
                <a:gd name="connsiteY715" fmla="*/ 926505 h 2389440"/>
                <a:gd name="connsiteX716" fmla="*/ 308243 w 1755816"/>
                <a:gd name="connsiteY716" fmla="*/ 917026 h 2389440"/>
                <a:gd name="connsiteX717" fmla="*/ 302758 w 1755816"/>
                <a:gd name="connsiteY717" fmla="*/ 912049 h 2389440"/>
                <a:gd name="connsiteX718" fmla="*/ 317778 w 1755816"/>
                <a:gd name="connsiteY718" fmla="*/ 892538 h 2389440"/>
                <a:gd name="connsiteX719" fmla="*/ 322284 w 1755816"/>
                <a:gd name="connsiteY719" fmla="*/ 888035 h 2389440"/>
                <a:gd name="connsiteX720" fmla="*/ 332276 w 1755816"/>
                <a:gd name="connsiteY720" fmla="*/ 868524 h 2389440"/>
                <a:gd name="connsiteX721" fmla="*/ 341810 w 1755816"/>
                <a:gd name="connsiteY721" fmla="*/ 863074 h 2389440"/>
                <a:gd name="connsiteX722" fmla="*/ 352325 w 1755816"/>
                <a:gd name="connsiteY722" fmla="*/ 878003 h 2389440"/>
                <a:gd name="connsiteX723" fmla="*/ 341810 w 1755816"/>
                <a:gd name="connsiteY723" fmla="*/ 878003 h 2389440"/>
                <a:gd name="connsiteX724" fmla="*/ 337304 w 1755816"/>
                <a:gd name="connsiteY724" fmla="*/ 892538 h 2389440"/>
                <a:gd name="connsiteX725" fmla="*/ 347296 w 1755816"/>
                <a:gd name="connsiteY725" fmla="*/ 902017 h 2389440"/>
                <a:gd name="connsiteX726" fmla="*/ 356831 w 1755816"/>
                <a:gd name="connsiteY726" fmla="*/ 906994 h 2389440"/>
                <a:gd name="connsiteX727" fmla="*/ 361794 w 1755816"/>
                <a:gd name="connsiteY727" fmla="*/ 912049 h 2389440"/>
                <a:gd name="connsiteX728" fmla="*/ 361794 w 1755816"/>
                <a:gd name="connsiteY728" fmla="*/ 917026 h 2389440"/>
                <a:gd name="connsiteX729" fmla="*/ 371786 w 1755816"/>
                <a:gd name="connsiteY729" fmla="*/ 926505 h 2389440"/>
                <a:gd name="connsiteX730" fmla="*/ 391312 w 1755816"/>
                <a:gd name="connsiteY730" fmla="*/ 931007 h 2389440"/>
                <a:gd name="connsiteX731" fmla="*/ 400847 w 1755816"/>
                <a:gd name="connsiteY731" fmla="*/ 950518 h 2389440"/>
                <a:gd name="connsiteX732" fmla="*/ 415345 w 1755816"/>
                <a:gd name="connsiteY732" fmla="*/ 965527 h 2389440"/>
                <a:gd name="connsiteX733" fmla="*/ 425859 w 1755816"/>
                <a:gd name="connsiteY733" fmla="*/ 970029 h 2389440"/>
                <a:gd name="connsiteX734" fmla="*/ 430365 w 1755816"/>
                <a:gd name="connsiteY734" fmla="*/ 975480 h 2389440"/>
                <a:gd name="connsiteX735" fmla="*/ 435394 w 1755816"/>
                <a:gd name="connsiteY735" fmla="*/ 984959 h 2389440"/>
                <a:gd name="connsiteX736" fmla="*/ 439900 w 1755816"/>
                <a:gd name="connsiteY736" fmla="*/ 994991 h 2389440"/>
                <a:gd name="connsiteX737" fmla="*/ 444863 w 1755816"/>
                <a:gd name="connsiteY737" fmla="*/ 1008972 h 2389440"/>
                <a:gd name="connsiteX738" fmla="*/ 454920 w 1755816"/>
                <a:gd name="connsiteY738" fmla="*/ 1023981 h 2389440"/>
                <a:gd name="connsiteX739" fmla="*/ 459361 w 1755816"/>
                <a:gd name="connsiteY739" fmla="*/ 1052971 h 2389440"/>
                <a:gd name="connsiteX740" fmla="*/ 459361 w 1755816"/>
                <a:gd name="connsiteY740" fmla="*/ 1072482 h 2389440"/>
                <a:gd name="connsiteX741" fmla="*/ 464389 w 1755816"/>
                <a:gd name="connsiteY741" fmla="*/ 1082435 h 2389440"/>
                <a:gd name="connsiteX742" fmla="*/ 468896 w 1755816"/>
                <a:gd name="connsiteY742" fmla="*/ 1101472 h 2389440"/>
                <a:gd name="connsiteX743" fmla="*/ 474381 w 1755816"/>
                <a:gd name="connsiteY743" fmla="*/ 1120904 h 2389440"/>
                <a:gd name="connsiteX744" fmla="*/ 478887 w 1755816"/>
                <a:gd name="connsiteY744" fmla="*/ 1130936 h 2389440"/>
                <a:gd name="connsiteX745" fmla="*/ 478887 w 1755816"/>
                <a:gd name="connsiteY745" fmla="*/ 1135439 h 2389440"/>
                <a:gd name="connsiteX746" fmla="*/ 483916 w 1755816"/>
                <a:gd name="connsiteY746" fmla="*/ 1144918 h 2389440"/>
                <a:gd name="connsiteX747" fmla="*/ 488422 w 1755816"/>
                <a:gd name="connsiteY747" fmla="*/ 1154950 h 2389440"/>
                <a:gd name="connsiteX748" fmla="*/ 493908 w 1755816"/>
                <a:gd name="connsiteY748" fmla="*/ 1154950 h 2389440"/>
                <a:gd name="connsiteX749" fmla="*/ 493908 w 1755816"/>
                <a:gd name="connsiteY749" fmla="*/ 1159927 h 2389440"/>
                <a:gd name="connsiteX750" fmla="*/ 498936 w 1755816"/>
                <a:gd name="connsiteY750" fmla="*/ 1164429 h 2389440"/>
                <a:gd name="connsiteX751" fmla="*/ 508928 w 1755816"/>
                <a:gd name="connsiteY751" fmla="*/ 1169959 h 2389440"/>
                <a:gd name="connsiteX752" fmla="*/ 518463 w 1755816"/>
                <a:gd name="connsiteY752" fmla="*/ 1174382 h 2389440"/>
                <a:gd name="connsiteX753" fmla="*/ 522969 w 1755816"/>
                <a:gd name="connsiteY753" fmla="*/ 1183940 h 2389440"/>
                <a:gd name="connsiteX754" fmla="*/ 532438 w 1755816"/>
                <a:gd name="connsiteY754" fmla="*/ 1188917 h 2389440"/>
                <a:gd name="connsiteX755" fmla="*/ 532438 w 1755816"/>
                <a:gd name="connsiteY755" fmla="*/ 1193893 h 2389440"/>
                <a:gd name="connsiteX756" fmla="*/ 537989 w 1755816"/>
                <a:gd name="connsiteY756" fmla="*/ 1193893 h 2389440"/>
                <a:gd name="connsiteX757" fmla="*/ 537989 w 1755816"/>
                <a:gd name="connsiteY757" fmla="*/ 1188917 h 2389440"/>
                <a:gd name="connsiteX758" fmla="*/ 513434 w 1755816"/>
                <a:gd name="connsiteY758" fmla="*/ 1159927 h 2389440"/>
                <a:gd name="connsiteX759" fmla="*/ 508928 w 1755816"/>
                <a:gd name="connsiteY759" fmla="*/ 1154950 h 2389440"/>
                <a:gd name="connsiteX760" fmla="*/ 518463 w 1755816"/>
                <a:gd name="connsiteY760" fmla="*/ 1159927 h 2389440"/>
                <a:gd name="connsiteX761" fmla="*/ 542495 w 1755816"/>
                <a:gd name="connsiteY761" fmla="*/ 1169959 h 2389440"/>
                <a:gd name="connsiteX762" fmla="*/ 547458 w 1755816"/>
                <a:gd name="connsiteY762" fmla="*/ 1179438 h 2389440"/>
                <a:gd name="connsiteX763" fmla="*/ 551964 w 1755816"/>
                <a:gd name="connsiteY763" fmla="*/ 1179438 h 2389440"/>
                <a:gd name="connsiteX764" fmla="*/ 551964 w 1755816"/>
                <a:gd name="connsiteY764" fmla="*/ 1174382 h 2389440"/>
                <a:gd name="connsiteX765" fmla="*/ 542495 w 1755816"/>
                <a:gd name="connsiteY765" fmla="*/ 1169959 h 2389440"/>
                <a:gd name="connsiteX766" fmla="*/ 532438 w 1755816"/>
                <a:gd name="connsiteY766" fmla="*/ 1159927 h 2389440"/>
                <a:gd name="connsiteX767" fmla="*/ 518463 w 1755816"/>
                <a:gd name="connsiteY767" fmla="*/ 1154950 h 2389440"/>
                <a:gd name="connsiteX768" fmla="*/ 513434 w 1755816"/>
                <a:gd name="connsiteY768" fmla="*/ 1154950 h 2389440"/>
                <a:gd name="connsiteX769" fmla="*/ 508928 w 1755816"/>
                <a:gd name="connsiteY769" fmla="*/ 1150448 h 2389440"/>
                <a:gd name="connsiteX770" fmla="*/ 503442 w 1755816"/>
                <a:gd name="connsiteY770" fmla="*/ 1144918 h 2389440"/>
                <a:gd name="connsiteX771" fmla="*/ 498936 w 1755816"/>
                <a:gd name="connsiteY771" fmla="*/ 1135439 h 2389440"/>
                <a:gd name="connsiteX772" fmla="*/ 498936 w 1755816"/>
                <a:gd name="connsiteY772" fmla="*/ 1130936 h 2389440"/>
                <a:gd name="connsiteX773" fmla="*/ 493908 w 1755816"/>
                <a:gd name="connsiteY773" fmla="*/ 1115928 h 2389440"/>
                <a:gd name="connsiteX774" fmla="*/ 488422 w 1755816"/>
                <a:gd name="connsiteY774" fmla="*/ 1101472 h 2389440"/>
                <a:gd name="connsiteX775" fmla="*/ 488422 w 1755816"/>
                <a:gd name="connsiteY775" fmla="*/ 1096417 h 2389440"/>
                <a:gd name="connsiteX776" fmla="*/ 488422 w 1755816"/>
                <a:gd name="connsiteY776" fmla="*/ 1086938 h 2389440"/>
                <a:gd name="connsiteX777" fmla="*/ 488422 w 1755816"/>
                <a:gd name="connsiteY777" fmla="*/ 1076985 h 2389440"/>
                <a:gd name="connsiteX778" fmla="*/ 478887 w 1755816"/>
                <a:gd name="connsiteY778" fmla="*/ 1063003 h 2389440"/>
                <a:gd name="connsiteX779" fmla="*/ 478887 w 1755816"/>
                <a:gd name="connsiteY779" fmla="*/ 1047995 h 2389440"/>
                <a:gd name="connsiteX780" fmla="*/ 478887 w 1755816"/>
                <a:gd name="connsiteY780" fmla="*/ 1023981 h 2389440"/>
                <a:gd name="connsiteX781" fmla="*/ 474381 w 1755816"/>
                <a:gd name="connsiteY781" fmla="*/ 999493 h 2389440"/>
                <a:gd name="connsiteX782" fmla="*/ 476993 w 1755816"/>
                <a:gd name="connsiteY782" fmla="*/ 1000023 h 2389440"/>
                <a:gd name="connsiteX783" fmla="*/ 476993 w 1755816"/>
                <a:gd name="connsiteY783" fmla="*/ 998374 h 2389440"/>
                <a:gd name="connsiteX784" fmla="*/ 475668 w 1755816"/>
                <a:gd name="connsiteY784" fmla="*/ 998076 h 2389440"/>
                <a:gd name="connsiteX785" fmla="*/ 470140 w 1755816"/>
                <a:gd name="connsiteY785" fmla="*/ 978550 h 2389440"/>
                <a:gd name="connsiteX786" fmla="*/ 465660 w 1755816"/>
                <a:gd name="connsiteY786" fmla="*/ 954995 h 2389440"/>
                <a:gd name="connsiteX787" fmla="*/ 460656 w 1755816"/>
                <a:gd name="connsiteY787" fmla="*/ 945005 h 2389440"/>
                <a:gd name="connsiteX788" fmla="*/ 456176 w 1755816"/>
                <a:gd name="connsiteY788" fmla="*/ 935469 h 2389440"/>
                <a:gd name="connsiteX789" fmla="*/ 450647 w 1755816"/>
                <a:gd name="connsiteY789" fmla="*/ 929963 h 2389440"/>
                <a:gd name="connsiteX790" fmla="*/ 450647 w 1755816"/>
                <a:gd name="connsiteY790" fmla="*/ 920484 h 2389440"/>
                <a:gd name="connsiteX791" fmla="*/ 441163 w 1755816"/>
                <a:gd name="connsiteY791" fmla="*/ 910495 h 2389440"/>
                <a:gd name="connsiteX792" fmla="*/ 421670 w 1755816"/>
                <a:gd name="connsiteY792" fmla="*/ 890969 h 2389440"/>
                <a:gd name="connsiteX793" fmla="*/ 406658 w 1755816"/>
                <a:gd name="connsiteY793" fmla="*/ 886428 h 2389440"/>
                <a:gd name="connsiteX794" fmla="*/ 402130 w 1755816"/>
                <a:gd name="connsiteY794" fmla="*/ 881433 h 2389440"/>
                <a:gd name="connsiteX795" fmla="*/ 402130 w 1755816"/>
                <a:gd name="connsiteY795" fmla="*/ 876949 h 2389440"/>
                <a:gd name="connsiteX796" fmla="*/ 397126 w 1755816"/>
                <a:gd name="connsiteY796" fmla="*/ 871954 h 2389440"/>
                <a:gd name="connsiteX797" fmla="*/ 387117 w 1755816"/>
                <a:gd name="connsiteY797" fmla="*/ 871954 h 2389440"/>
                <a:gd name="connsiteX798" fmla="*/ 377633 w 1755816"/>
                <a:gd name="connsiteY798" fmla="*/ 861908 h 2389440"/>
                <a:gd name="connsiteX799" fmla="*/ 377633 w 1755816"/>
                <a:gd name="connsiteY799" fmla="*/ 857424 h 2389440"/>
                <a:gd name="connsiteX800" fmla="*/ 373153 w 1755816"/>
                <a:gd name="connsiteY800" fmla="*/ 857424 h 2389440"/>
                <a:gd name="connsiteX801" fmla="*/ 373153 w 1755816"/>
                <a:gd name="connsiteY801" fmla="*/ 847888 h 2389440"/>
                <a:gd name="connsiteX802" fmla="*/ 363145 w 1755816"/>
                <a:gd name="connsiteY802" fmla="*/ 842382 h 2389440"/>
                <a:gd name="connsiteX803" fmla="*/ 367625 w 1755816"/>
                <a:gd name="connsiteY803" fmla="*/ 837898 h 2389440"/>
                <a:gd name="connsiteX804" fmla="*/ 363145 w 1755816"/>
                <a:gd name="connsiteY804" fmla="*/ 832903 h 2389440"/>
                <a:gd name="connsiteX805" fmla="*/ 353613 w 1755816"/>
                <a:gd name="connsiteY805" fmla="*/ 832903 h 2389440"/>
                <a:gd name="connsiteX806" fmla="*/ 348609 w 1755816"/>
                <a:gd name="connsiteY806" fmla="*/ 828362 h 2389440"/>
                <a:gd name="connsiteX807" fmla="*/ 338648 w 1755816"/>
                <a:gd name="connsiteY807" fmla="*/ 822856 h 2389440"/>
                <a:gd name="connsiteX808" fmla="*/ 319107 w 1755816"/>
                <a:gd name="connsiteY808" fmla="*/ 808837 h 2389440"/>
                <a:gd name="connsiteX809" fmla="*/ 314103 w 1755816"/>
                <a:gd name="connsiteY809" fmla="*/ 808837 h 2389440"/>
                <a:gd name="connsiteX810" fmla="*/ 299615 w 1755816"/>
                <a:gd name="connsiteY810" fmla="*/ 798847 h 2389440"/>
                <a:gd name="connsiteX811" fmla="*/ 294611 w 1755816"/>
                <a:gd name="connsiteY811" fmla="*/ 798847 h 2389440"/>
                <a:gd name="connsiteX812" fmla="*/ 290131 w 1755816"/>
                <a:gd name="connsiteY812" fmla="*/ 803331 h 2389440"/>
                <a:gd name="connsiteX813" fmla="*/ 284602 w 1755816"/>
                <a:gd name="connsiteY813" fmla="*/ 803331 h 2389440"/>
                <a:gd name="connsiteX814" fmla="*/ 280122 w 1755816"/>
                <a:gd name="connsiteY814" fmla="*/ 789368 h 2389440"/>
                <a:gd name="connsiteX815" fmla="*/ 275118 w 1755816"/>
                <a:gd name="connsiteY815" fmla="*/ 783862 h 2389440"/>
                <a:gd name="connsiteX816" fmla="*/ 280122 w 1755816"/>
                <a:gd name="connsiteY816" fmla="*/ 740781 h 2389440"/>
                <a:gd name="connsiteX817" fmla="*/ 275118 w 1755816"/>
                <a:gd name="connsiteY817" fmla="*/ 735275 h 2389440"/>
                <a:gd name="connsiteX818" fmla="*/ 294611 w 1755816"/>
                <a:gd name="connsiteY818" fmla="*/ 735275 h 2389440"/>
                <a:gd name="connsiteX819" fmla="*/ 304142 w 1755816"/>
                <a:gd name="connsiteY819" fmla="*/ 730791 h 2389440"/>
                <a:gd name="connsiteX820" fmla="*/ 314103 w 1755816"/>
                <a:gd name="connsiteY820" fmla="*/ 730791 h 2389440"/>
                <a:gd name="connsiteX821" fmla="*/ 319107 w 1755816"/>
                <a:gd name="connsiteY821" fmla="*/ 735275 h 2389440"/>
                <a:gd name="connsiteX822" fmla="*/ 314103 w 1755816"/>
                <a:gd name="connsiteY822" fmla="*/ 740781 h 2389440"/>
                <a:gd name="connsiteX823" fmla="*/ 323635 w 1755816"/>
                <a:gd name="connsiteY823" fmla="*/ 740781 h 2389440"/>
                <a:gd name="connsiteX824" fmla="*/ 329116 w 1755816"/>
                <a:gd name="connsiteY824" fmla="*/ 735275 h 2389440"/>
                <a:gd name="connsiteX825" fmla="*/ 323635 w 1755816"/>
                <a:gd name="connsiteY825" fmla="*/ 730791 h 2389440"/>
                <a:gd name="connsiteX826" fmla="*/ 323635 w 1755816"/>
                <a:gd name="connsiteY826" fmla="*/ 725796 h 2389440"/>
                <a:gd name="connsiteX827" fmla="*/ 319107 w 1755816"/>
                <a:gd name="connsiteY827" fmla="*/ 721255 h 2389440"/>
                <a:gd name="connsiteX828" fmla="*/ 309623 w 1755816"/>
                <a:gd name="connsiteY828" fmla="*/ 715749 h 2389440"/>
                <a:gd name="connsiteX829" fmla="*/ 309623 w 1755816"/>
                <a:gd name="connsiteY829" fmla="*/ 711265 h 2389440"/>
                <a:gd name="connsiteX830" fmla="*/ 329116 w 1755816"/>
                <a:gd name="connsiteY830" fmla="*/ 706270 h 2389440"/>
                <a:gd name="connsiteX831" fmla="*/ 333644 w 1755816"/>
                <a:gd name="connsiteY831" fmla="*/ 701730 h 2389440"/>
                <a:gd name="connsiteX832" fmla="*/ 338648 w 1755816"/>
                <a:gd name="connsiteY832" fmla="*/ 691740 h 2389440"/>
                <a:gd name="connsiteX833" fmla="*/ 343128 w 1755816"/>
                <a:gd name="connsiteY833" fmla="*/ 691740 h 2389440"/>
                <a:gd name="connsiteX834" fmla="*/ 348609 w 1755816"/>
                <a:gd name="connsiteY834" fmla="*/ 682204 h 2389440"/>
                <a:gd name="connsiteX835" fmla="*/ 348609 w 1755816"/>
                <a:gd name="connsiteY835" fmla="*/ 667219 h 2389440"/>
                <a:gd name="connsiteX836" fmla="*/ 348609 w 1755816"/>
                <a:gd name="connsiteY836" fmla="*/ 662678 h 2389440"/>
                <a:gd name="connsiteX837" fmla="*/ 343128 w 1755816"/>
                <a:gd name="connsiteY837" fmla="*/ 662678 h 2389440"/>
                <a:gd name="connsiteX838" fmla="*/ 343128 w 1755816"/>
                <a:gd name="connsiteY838" fmla="*/ 657683 h 2389440"/>
                <a:gd name="connsiteX839" fmla="*/ 353613 w 1755816"/>
                <a:gd name="connsiteY839" fmla="*/ 657683 h 2389440"/>
                <a:gd name="connsiteX840" fmla="*/ 353613 w 1755816"/>
                <a:gd name="connsiteY840" fmla="*/ 653199 h 2389440"/>
                <a:gd name="connsiteX841" fmla="*/ 353613 w 1755816"/>
                <a:gd name="connsiteY841" fmla="*/ 647694 h 2389440"/>
                <a:gd name="connsiteX842" fmla="*/ 348609 w 1755816"/>
                <a:gd name="connsiteY842" fmla="*/ 647694 h 2389440"/>
                <a:gd name="connsiteX843" fmla="*/ 348609 w 1755816"/>
                <a:gd name="connsiteY843" fmla="*/ 638158 h 2389440"/>
                <a:gd name="connsiteX844" fmla="*/ 343128 w 1755816"/>
                <a:gd name="connsiteY844" fmla="*/ 628168 h 2389440"/>
                <a:gd name="connsiteX845" fmla="*/ 348609 w 1755816"/>
                <a:gd name="connsiteY845" fmla="*/ 628168 h 2389440"/>
                <a:gd name="connsiteX846" fmla="*/ 358140 w 1755816"/>
                <a:gd name="connsiteY846" fmla="*/ 628168 h 2389440"/>
                <a:gd name="connsiteX847" fmla="*/ 363145 w 1755816"/>
                <a:gd name="connsiteY847" fmla="*/ 623684 h 2389440"/>
                <a:gd name="connsiteX848" fmla="*/ 358140 w 1755816"/>
                <a:gd name="connsiteY848" fmla="*/ 614148 h 2389440"/>
                <a:gd name="connsiteX849" fmla="*/ 358140 w 1755816"/>
                <a:gd name="connsiteY849" fmla="*/ 599163 h 2389440"/>
                <a:gd name="connsiteX850" fmla="*/ 348609 w 1755816"/>
                <a:gd name="connsiteY850" fmla="*/ 594623 h 2389440"/>
                <a:gd name="connsiteX851" fmla="*/ 343128 w 1755816"/>
                <a:gd name="connsiteY851" fmla="*/ 575097 h 2389440"/>
                <a:gd name="connsiteX852" fmla="*/ 338648 w 1755816"/>
                <a:gd name="connsiteY852" fmla="*/ 570102 h 2389440"/>
                <a:gd name="connsiteX853" fmla="*/ 333644 w 1755816"/>
                <a:gd name="connsiteY853" fmla="*/ 575097 h 2389440"/>
                <a:gd name="connsiteX854" fmla="*/ 329116 w 1755816"/>
                <a:gd name="connsiteY854" fmla="*/ 570102 h 2389440"/>
                <a:gd name="connsiteX855" fmla="*/ 323635 w 1755816"/>
                <a:gd name="connsiteY855" fmla="*/ 565107 h 2389440"/>
                <a:gd name="connsiteX856" fmla="*/ 323635 w 1755816"/>
                <a:gd name="connsiteY856" fmla="*/ 555571 h 2389440"/>
                <a:gd name="connsiteX857" fmla="*/ 314103 w 1755816"/>
                <a:gd name="connsiteY857" fmla="*/ 546092 h 2389440"/>
                <a:gd name="connsiteX858" fmla="*/ 314103 w 1755816"/>
                <a:gd name="connsiteY858" fmla="*/ 540587 h 2389440"/>
                <a:gd name="connsiteX859" fmla="*/ 304142 w 1755816"/>
                <a:gd name="connsiteY859" fmla="*/ 546092 h 2389440"/>
                <a:gd name="connsiteX860" fmla="*/ 294611 w 1755816"/>
                <a:gd name="connsiteY860" fmla="*/ 536046 h 2389440"/>
                <a:gd name="connsiteX861" fmla="*/ 299615 w 1755816"/>
                <a:gd name="connsiteY861" fmla="*/ 521061 h 2389440"/>
                <a:gd name="connsiteX862" fmla="*/ 309623 w 1755816"/>
                <a:gd name="connsiteY862" fmla="*/ 521061 h 2389440"/>
                <a:gd name="connsiteX863" fmla="*/ 304142 w 1755816"/>
                <a:gd name="connsiteY863" fmla="*/ 511525 h 2389440"/>
                <a:gd name="connsiteX864" fmla="*/ 309623 w 1755816"/>
                <a:gd name="connsiteY864" fmla="*/ 507041 h 2389440"/>
                <a:gd name="connsiteX865" fmla="*/ 319107 w 1755816"/>
                <a:gd name="connsiteY865" fmla="*/ 501535 h 2389440"/>
                <a:gd name="connsiteX866" fmla="*/ 333644 w 1755816"/>
                <a:gd name="connsiteY866" fmla="*/ 492000 h 2389440"/>
                <a:gd name="connsiteX867" fmla="*/ 333644 w 1755816"/>
                <a:gd name="connsiteY867" fmla="*/ 487516 h 2389440"/>
                <a:gd name="connsiteX868" fmla="*/ 343128 w 1755816"/>
                <a:gd name="connsiteY868" fmla="*/ 482010 h 2389440"/>
                <a:gd name="connsiteX869" fmla="*/ 338648 w 1755816"/>
                <a:gd name="connsiteY869" fmla="*/ 457489 h 2389440"/>
                <a:gd name="connsiteX870" fmla="*/ 338648 w 1755816"/>
                <a:gd name="connsiteY870" fmla="*/ 453005 h 2389440"/>
                <a:gd name="connsiteX871" fmla="*/ 358140 w 1755816"/>
                <a:gd name="connsiteY871" fmla="*/ 453005 h 2389440"/>
                <a:gd name="connsiteX872" fmla="*/ 363145 w 1755816"/>
                <a:gd name="connsiteY872" fmla="*/ 443470 h 2389440"/>
                <a:gd name="connsiteX873" fmla="*/ 367625 w 1755816"/>
                <a:gd name="connsiteY873" fmla="*/ 437964 h 2389440"/>
                <a:gd name="connsiteX874" fmla="*/ 397126 w 1755816"/>
                <a:gd name="connsiteY874" fmla="*/ 433480 h 2389440"/>
                <a:gd name="connsiteX875" fmla="*/ 402130 w 1755816"/>
                <a:gd name="connsiteY875" fmla="*/ 428485 h 2389440"/>
                <a:gd name="connsiteX876" fmla="*/ 406658 w 1755816"/>
                <a:gd name="connsiteY876" fmla="*/ 428485 h 2389440"/>
                <a:gd name="connsiteX877" fmla="*/ 412138 w 1755816"/>
                <a:gd name="connsiteY877" fmla="*/ 428485 h 2389440"/>
                <a:gd name="connsiteX878" fmla="*/ 412138 w 1755816"/>
                <a:gd name="connsiteY878" fmla="*/ 433480 h 2389440"/>
                <a:gd name="connsiteX879" fmla="*/ 406658 w 1755816"/>
                <a:gd name="connsiteY879" fmla="*/ 443470 h 2389440"/>
                <a:gd name="connsiteX880" fmla="*/ 402130 w 1755816"/>
                <a:gd name="connsiteY880" fmla="*/ 447954 h 2389440"/>
                <a:gd name="connsiteX881" fmla="*/ 412138 w 1755816"/>
                <a:gd name="connsiteY881" fmla="*/ 457489 h 2389440"/>
                <a:gd name="connsiteX882" fmla="*/ 421670 w 1755816"/>
                <a:gd name="connsiteY882" fmla="*/ 457489 h 2389440"/>
                <a:gd name="connsiteX883" fmla="*/ 426627 w 1755816"/>
                <a:gd name="connsiteY883" fmla="*/ 453005 h 2389440"/>
                <a:gd name="connsiteX884" fmla="*/ 431155 w 1755816"/>
                <a:gd name="connsiteY884" fmla="*/ 447954 h 2389440"/>
                <a:gd name="connsiteX885" fmla="*/ 441163 w 1755816"/>
                <a:gd name="connsiteY885" fmla="*/ 453005 h 2389440"/>
                <a:gd name="connsiteX886" fmla="*/ 446167 w 1755816"/>
                <a:gd name="connsiteY886" fmla="*/ 453005 h 2389440"/>
                <a:gd name="connsiteX887" fmla="*/ 446167 w 1755816"/>
                <a:gd name="connsiteY887" fmla="*/ 443470 h 2389440"/>
                <a:gd name="connsiteX888" fmla="*/ 456176 w 1755816"/>
                <a:gd name="connsiteY888" fmla="*/ 447954 h 2389440"/>
                <a:gd name="connsiteX889" fmla="*/ 460656 w 1755816"/>
                <a:gd name="connsiteY889" fmla="*/ 447954 h 2389440"/>
                <a:gd name="connsiteX890" fmla="*/ 460656 w 1755816"/>
                <a:gd name="connsiteY890" fmla="*/ 453005 h 2389440"/>
                <a:gd name="connsiteX891" fmla="*/ 470140 w 1755816"/>
                <a:gd name="connsiteY891" fmla="*/ 457489 h 2389440"/>
                <a:gd name="connsiteX892" fmla="*/ 480148 w 1755816"/>
                <a:gd name="connsiteY892" fmla="*/ 462995 h 2389440"/>
                <a:gd name="connsiteX893" fmla="*/ 489680 w 1755816"/>
                <a:gd name="connsiteY893" fmla="*/ 462995 h 2389440"/>
                <a:gd name="connsiteX894" fmla="*/ 495161 w 1755816"/>
                <a:gd name="connsiteY894" fmla="*/ 457489 h 2389440"/>
                <a:gd name="connsiteX895" fmla="*/ 500165 w 1755816"/>
                <a:gd name="connsiteY895" fmla="*/ 453005 h 2389440"/>
                <a:gd name="connsiteX896" fmla="*/ 509649 w 1755816"/>
                <a:gd name="connsiteY896" fmla="*/ 457489 h 2389440"/>
                <a:gd name="connsiteX897" fmla="*/ 519658 w 1755816"/>
                <a:gd name="connsiteY897" fmla="*/ 457489 h 2389440"/>
                <a:gd name="connsiteX898" fmla="*/ 524186 w 1755816"/>
                <a:gd name="connsiteY898" fmla="*/ 457489 h 2389440"/>
                <a:gd name="connsiteX899" fmla="*/ 524186 w 1755816"/>
                <a:gd name="connsiteY899" fmla="*/ 447954 h 2389440"/>
                <a:gd name="connsiteX900" fmla="*/ 533670 w 1755816"/>
                <a:gd name="connsiteY900" fmla="*/ 447954 h 2389440"/>
                <a:gd name="connsiteX901" fmla="*/ 539151 w 1755816"/>
                <a:gd name="connsiteY901" fmla="*/ 437964 h 2389440"/>
                <a:gd name="connsiteX902" fmla="*/ 548682 w 1755816"/>
                <a:gd name="connsiteY902" fmla="*/ 437964 h 2389440"/>
                <a:gd name="connsiteX903" fmla="*/ 558691 w 1755816"/>
                <a:gd name="connsiteY903" fmla="*/ 433480 h 2389440"/>
                <a:gd name="connsiteX904" fmla="*/ 563171 w 1755816"/>
                <a:gd name="connsiteY904" fmla="*/ 423944 h 2389440"/>
                <a:gd name="connsiteX905" fmla="*/ 553162 w 1755816"/>
                <a:gd name="connsiteY905" fmla="*/ 413954 h 2389440"/>
                <a:gd name="connsiteX906" fmla="*/ 543678 w 1755816"/>
                <a:gd name="connsiteY906" fmla="*/ 408959 h 2389440"/>
                <a:gd name="connsiteX907" fmla="*/ 539151 w 1755816"/>
                <a:gd name="connsiteY907" fmla="*/ 408959 h 2389440"/>
                <a:gd name="connsiteX908" fmla="*/ 533670 w 1755816"/>
                <a:gd name="connsiteY908" fmla="*/ 418438 h 2389440"/>
                <a:gd name="connsiteX909" fmla="*/ 529190 w 1755816"/>
                <a:gd name="connsiteY909" fmla="*/ 413954 h 2389440"/>
                <a:gd name="connsiteX910" fmla="*/ 529190 w 1755816"/>
                <a:gd name="connsiteY910" fmla="*/ 408959 h 2389440"/>
                <a:gd name="connsiteX911" fmla="*/ 524186 w 1755816"/>
                <a:gd name="connsiteY911" fmla="*/ 404418 h 2389440"/>
                <a:gd name="connsiteX912" fmla="*/ 529190 w 1755816"/>
                <a:gd name="connsiteY912" fmla="*/ 398912 h 2389440"/>
                <a:gd name="connsiteX913" fmla="*/ 533670 w 1755816"/>
                <a:gd name="connsiteY913" fmla="*/ 389433 h 2389440"/>
                <a:gd name="connsiteX914" fmla="*/ 539151 w 1755816"/>
                <a:gd name="connsiteY914" fmla="*/ 384892 h 2389440"/>
                <a:gd name="connsiteX915" fmla="*/ 533670 w 1755816"/>
                <a:gd name="connsiteY915" fmla="*/ 369908 h 2389440"/>
                <a:gd name="connsiteX916" fmla="*/ 533670 w 1755816"/>
                <a:gd name="connsiteY916" fmla="*/ 355888 h 2389440"/>
                <a:gd name="connsiteX917" fmla="*/ 529190 w 1755816"/>
                <a:gd name="connsiteY917" fmla="*/ 355888 h 2389440"/>
                <a:gd name="connsiteX918" fmla="*/ 529190 w 1755816"/>
                <a:gd name="connsiteY918" fmla="*/ 345841 h 2389440"/>
                <a:gd name="connsiteX919" fmla="*/ 543678 w 1755816"/>
                <a:gd name="connsiteY919" fmla="*/ 345841 h 2389440"/>
                <a:gd name="connsiteX920" fmla="*/ 543678 w 1755816"/>
                <a:gd name="connsiteY920" fmla="*/ 336362 h 2389440"/>
                <a:gd name="connsiteX921" fmla="*/ 543678 w 1755816"/>
                <a:gd name="connsiteY921" fmla="*/ 326372 h 2389440"/>
                <a:gd name="connsiteX922" fmla="*/ 539151 w 1755816"/>
                <a:gd name="connsiteY922" fmla="*/ 326372 h 2389440"/>
                <a:gd name="connsiteX923" fmla="*/ 533670 w 1755816"/>
                <a:gd name="connsiteY923" fmla="*/ 316837 h 2389440"/>
                <a:gd name="connsiteX924" fmla="*/ 539151 w 1755816"/>
                <a:gd name="connsiteY924" fmla="*/ 311331 h 2389440"/>
                <a:gd name="connsiteX925" fmla="*/ 533670 w 1755816"/>
                <a:gd name="connsiteY925" fmla="*/ 301795 h 2389440"/>
                <a:gd name="connsiteX926" fmla="*/ 539151 w 1755816"/>
                <a:gd name="connsiteY926" fmla="*/ 292316 h 2389440"/>
                <a:gd name="connsiteX927" fmla="*/ 533670 w 1755816"/>
                <a:gd name="connsiteY927" fmla="*/ 282326 h 2389440"/>
                <a:gd name="connsiteX928" fmla="*/ 524186 w 1755816"/>
                <a:gd name="connsiteY928" fmla="*/ 282326 h 2389440"/>
                <a:gd name="connsiteX929" fmla="*/ 524186 w 1755816"/>
                <a:gd name="connsiteY929" fmla="*/ 277786 h 2389440"/>
                <a:gd name="connsiteX930" fmla="*/ 533670 w 1755816"/>
                <a:gd name="connsiteY930" fmla="*/ 272791 h 2389440"/>
                <a:gd name="connsiteX931" fmla="*/ 529190 w 1755816"/>
                <a:gd name="connsiteY931" fmla="*/ 268307 h 2389440"/>
                <a:gd name="connsiteX932" fmla="*/ 524186 w 1755816"/>
                <a:gd name="connsiteY932" fmla="*/ 262801 h 2389440"/>
                <a:gd name="connsiteX933" fmla="*/ 519658 w 1755816"/>
                <a:gd name="connsiteY933" fmla="*/ 258260 h 2389440"/>
                <a:gd name="connsiteX934" fmla="*/ 524186 w 1755816"/>
                <a:gd name="connsiteY934" fmla="*/ 248781 h 2389440"/>
                <a:gd name="connsiteX935" fmla="*/ 519658 w 1755816"/>
                <a:gd name="connsiteY935" fmla="*/ 233739 h 2389440"/>
                <a:gd name="connsiteX936" fmla="*/ 514177 w 1755816"/>
                <a:gd name="connsiteY936" fmla="*/ 233739 h 2389440"/>
                <a:gd name="connsiteX937" fmla="*/ 509649 w 1755816"/>
                <a:gd name="connsiteY937" fmla="*/ 219209 h 2389440"/>
                <a:gd name="connsiteX938" fmla="*/ 509649 w 1755816"/>
                <a:gd name="connsiteY938" fmla="*/ 223750 h 2389440"/>
                <a:gd name="connsiteX939" fmla="*/ 500165 w 1755816"/>
                <a:gd name="connsiteY939" fmla="*/ 219209 h 2389440"/>
                <a:gd name="connsiteX940" fmla="*/ 504645 w 1755816"/>
                <a:gd name="connsiteY940" fmla="*/ 199740 h 2389440"/>
                <a:gd name="connsiteX941" fmla="*/ 504645 w 1755816"/>
                <a:gd name="connsiteY941" fmla="*/ 194688 h 2389440"/>
                <a:gd name="connsiteX942" fmla="*/ 514177 w 1755816"/>
                <a:gd name="connsiteY942" fmla="*/ 190204 h 2389440"/>
                <a:gd name="connsiteX943" fmla="*/ 509649 w 1755816"/>
                <a:gd name="connsiteY943" fmla="*/ 180214 h 2389440"/>
                <a:gd name="connsiteX944" fmla="*/ 489680 w 1755816"/>
                <a:gd name="connsiteY944" fmla="*/ 175163 h 2389440"/>
                <a:gd name="connsiteX945" fmla="*/ 485153 w 1755816"/>
                <a:gd name="connsiteY945" fmla="*/ 170679 h 2389440"/>
                <a:gd name="connsiteX946" fmla="*/ 480148 w 1755816"/>
                <a:gd name="connsiteY946" fmla="*/ 165684 h 2389440"/>
                <a:gd name="connsiteX947" fmla="*/ 475668 w 1755816"/>
                <a:gd name="connsiteY947" fmla="*/ 161200 h 2389440"/>
                <a:gd name="connsiteX948" fmla="*/ 475668 w 1755816"/>
                <a:gd name="connsiteY948" fmla="*/ 155694 h 2389440"/>
                <a:gd name="connsiteX949" fmla="*/ 470140 w 1755816"/>
                <a:gd name="connsiteY949" fmla="*/ 146158 h 2389440"/>
                <a:gd name="connsiteX950" fmla="*/ 465660 w 1755816"/>
                <a:gd name="connsiteY950" fmla="*/ 146158 h 2389440"/>
                <a:gd name="connsiteX951" fmla="*/ 470140 w 1755816"/>
                <a:gd name="connsiteY951" fmla="*/ 131627 h 2389440"/>
                <a:gd name="connsiteX952" fmla="*/ 470140 w 1755816"/>
                <a:gd name="connsiteY952" fmla="*/ 126632 h 2389440"/>
                <a:gd name="connsiteX953" fmla="*/ 465660 w 1755816"/>
                <a:gd name="connsiteY953" fmla="*/ 126632 h 2389440"/>
                <a:gd name="connsiteX954" fmla="*/ 465660 w 1755816"/>
                <a:gd name="connsiteY954" fmla="*/ 122148 h 2389440"/>
                <a:gd name="connsiteX955" fmla="*/ 460656 w 1755816"/>
                <a:gd name="connsiteY955" fmla="*/ 116643 h 2389440"/>
                <a:gd name="connsiteX956" fmla="*/ 446167 w 1755816"/>
                <a:gd name="connsiteY956" fmla="*/ 112102 h 2389440"/>
                <a:gd name="connsiteX957" fmla="*/ 450647 w 1755816"/>
                <a:gd name="connsiteY957" fmla="*/ 107107 h 2389440"/>
                <a:gd name="connsiteX958" fmla="*/ 450647 w 1755816"/>
                <a:gd name="connsiteY958" fmla="*/ 102623 h 2389440"/>
                <a:gd name="connsiteX959" fmla="*/ 441163 w 1755816"/>
                <a:gd name="connsiteY959" fmla="*/ 102623 h 2389440"/>
                <a:gd name="connsiteX960" fmla="*/ 441163 w 1755816"/>
                <a:gd name="connsiteY960" fmla="*/ 97628 h 2389440"/>
                <a:gd name="connsiteX961" fmla="*/ 456176 w 1755816"/>
                <a:gd name="connsiteY961" fmla="*/ 102623 h 2389440"/>
                <a:gd name="connsiteX962" fmla="*/ 460656 w 1755816"/>
                <a:gd name="connsiteY962" fmla="*/ 97628 h 2389440"/>
                <a:gd name="connsiteX963" fmla="*/ 460656 w 1755816"/>
                <a:gd name="connsiteY963" fmla="*/ 92576 h 2389440"/>
                <a:gd name="connsiteX964" fmla="*/ 475668 w 1755816"/>
                <a:gd name="connsiteY964" fmla="*/ 87581 h 2389440"/>
                <a:gd name="connsiteX965" fmla="*/ 485153 w 1755816"/>
                <a:gd name="connsiteY965" fmla="*/ 83097 h 2389440"/>
                <a:gd name="connsiteX966" fmla="*/ 500165 w 1755816"/>
                <a:gd name="connsiteY966" fmla="*/ 87581 h 2389440"/>
                <a:gd name="connsiteX967" fmla="*/ 509649 w 1755816"/>
                <a:gd name="connsiteY967" fmla="*/ 92576 h 2389440"/>
                <a:gd name="connsiteX968" fmla="*/ 514177 w 1755816"/>
                <a:gd name="connsiteY968" fmla="*/ 87581 h 2389440"/>
                <a:gd name="connsiteX969" fmla="*/ 524186 w 1755816"/>
                <a:gd name="connsiteY969" fmla="*/ 92576 h 2389440"/>
                <a:gd name="connsiteX970" fmla="*/ 524186 w 1755816"/>
                <a:gd name="connsiteY970" fmla="*/ 87581 h 2389440"/>
                <a:gd name="connsiteX971" fmla="*/ 529190 w 1755816"/>
                <a:gd name="connsiteY971" fmla="*/ 87581 h 2389440"/>
                <a:gd name="connsiteX972" fmla="*/ 543678 w 1755816"/>
                <a:gd name="connsiteY972" fmla="*/ 87581 h 2389440"/>
                <a:gd name="connsiteX973" fmla="*/ 543678 w 1755816"/>
                <a:gd name="connsiteY973" fmla="*/ 92576 h 2389440"/>
                <a:gd name="connsiteX974" fmla="*/ 553162 w 1755816"/>
                <a:gd name="connsiteY974" fmla="*/ 87581 h 2389440"/>
                <a:gd name="connsiteX975" fmla="*/ 558691 w 1755816"/>
                <a:gd name="connsiteY975" fmla="*/ 83097 h 2389440"/>
                <a:gd name="connsiteX976" fmla="*/ 568175 w 1755816"/>
                <a:gd name="connsiteY976" fmla="*/ 73561 h 2389440"/>
                <a:gd name="connsiteX977" fmla="*/ 578184 w 1755816"/>
                <a:gd name="connsiteY977" fmla="*/ 73561 h 2389440"/>
                <a:gd name="connsiteX978" fmla="*/ 573179 w 1755816"/>
                <a:gd name="connsiteY978" fmla="*/ 63572 h 2389440"/>
                <a:gd name="connsiteX979" fmla="*/ 573179 w 1755816"/>
                <a:gd name="connsiteY979" fmla="*/ 54036 h 2389440"/>
                <a:gd name="connsiteX980" fmla="*/ 587668 w 1755816"/>
                <a:gd name="connsiteY980" fmla="*/ 44046 h 2389440"/>
                <a:gd name="connsiteX981" fmla="*/ 607160 w 1755816"/>
                <a:gd name="connsiteY981" fmla="*/ 44046 h 2389440"/>
                <a:gd name="connsiteX982" fmla="*/ 607160 w 1755816"/>
                <a:gd name="connsiteY982" fmla="*/ 48530 h 2389440"/>
                <a:gd name="connsiteX983" fmla="*/ 597200 w 1755816"/>
                <a:gd name="connsiteY983" fmla="*/ 54036 h 2389440"/>
                <a:gd name="connsiteX984" fmla="*/ 597200 w 1755816"/>
                <a:gd name="connsiteY984" fmla="*/ 58577 h 2389440"/>
                <a:gd name="connsiteX985" fmla="*/ 607160 w 1755816"/>
                <a:gd name="connsiteY985" fmla="*/ 54036 h 2389440"/>
                <a:gd name="connsiteX986" fmla="*/ 631705 w 1755816"/>
                <a:gd name="connsiteY986" fmla="*/ 48530 h 2389440"/>
                <a:gd name="connsiteX987" fmla="*/ 631705 w 1755816"/>
                <a:gd name="connsiteY987" fmla="*/ 39051 h 2389440"/>
                <a:gd name="connsiteX988" fmla="*/ 641713 w 1755816"/>
                <a:gd name="connsiteY988" fmla="*/ 44046 h 2389440"/>
                <a:gd name="connsiteX989" fmla="*/ 646670 w 1755816"/>
                <a:gd name="connsiteY989" fmla="*/ 39051 h 2389440"/>
                <a:gd name="connsiteX990" fmla="*/ 651198 w 1755816"/>
                <a:gd name="connsiteY990" fmla="*/ 44046 h 2389440"/>
                <a:gd name="connsiteX991" fmla="*/ 666210 w 1755816"/>
                <a:gd name="connsiteY991" fmla="*/ 39051 h 2389440"/>
                <a:gd name="connsiteX992" fmla="*/ 685703 w 1755816"/>
                <a:gd name="connsiteY992" fmla="*/ 34510 h 2389440"/>
                <a:gd name="connsiteX993" fmla="*/ 695187 w 1755816"/>
                <a:gd name="connsiteY993" fmla="*/ 34510 h 2389440"/>
                <a:gd name="connsiteX994" fmla="*/ 699715 w 1755816"/>
                <a:gd name="connsiteY994" fmla="*/ 39051 h 2389440"/>
                <a:gd name="connsiteX995" fmla="*/ 709723 w 1755816"/>
                <a:gd name="connsiteY995" fmla="*/ 34510 h 2389440"/>
                <a:gd name="connsiteX996" fmla="*/ 729693 w 1755816"/>
                <a:gd name="connsiteY996" fmla="*/ 39051 h 2389440"/>
                <a:gd name="connsiteX997" fmla="*/ 724688 w 1755816"/>
                <a:gd name="connsiteY997" fmla="*/ 44046 h 2389440"/>
                <a:gd name="connsiteX998" fmla="*/ 719684 w 1755816"/>
                <a:gd name="connsiteY998" fmla="*/ 44046 h 2389440"/>
                <a:gd name="connsiteX999" fmla="*/ 714728 w 1755816"/>
                <a:gd name="connsiteY999" fmla="*/ 54036 h 2389440"/>
                <a:gd name="connsiteX1000" fmla="*/ 719684 w 1755816"/>
                <a:gd name="connsiteY1000" fmla="*/ 58577 h 2389440"/>
                <a:gd name="connsiteX1001" fmla="*/ 719684 w 1755816"/>
                <a:gd name="connsiteY1001" fmla="*/ 54036 h 2389440"/>
                <a:gd name="connsiteX1002" fmla="*/ 729693 w 1755816"/>
                <a:gd name="connsiteY1002" fmla="*/ 63572 h 2389440"/>
                <a:gd name="connsiteX1003" fmla="*/ 739225 w 1755816"/>
                <a:gd name="connsiteY1003" fmla="*/ 58577 h 2389440"/>
                <a:gd name="connsiteX1004" fmla="*/ 743704 w 1755816"/>
                <a:gd name="connsiteY1004" fmla="*/ 48530 h 2389440"/>
                <a:gd name="connsiteX1005" fmla="*/ 743704 w 1755816"/>
                <a:gd name="connsiteY1005" fmla="*/ 44046 h 2389440"/>
                <a:gd name="connsiteX1006" fmla="*/ 749233 w 1755816"/>
                <a:gd name="connsiteY1006" fmla="*/ 39051 h 2389440"/>
                <a:gd name="connsiteX1007" fmla="*/ 753713 w 1755816"/>
                <a:gd name="connsiteY1007" fmla="*/ 44046 h 2389440"/>
                <a:gd name="connsiteX1008" fmla="*/ 768726 w 1755816"/>
                <a:gd name="connsiteY1008" fmla="*/ 44046 h 2389440"/>
                <a:gd name="connsiteX1009" fmla="*/ 768726 w 1755816"/>
                <a:gd name="connsiteY1009" fmla="*/ 29004 h 2389440"/>
                <a:gd name="connsiteX1010" fmla="*/ 778210 w 1755816"/>
                <a:gd name="connsiteY1010" fmla="*/ 9536 h 238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Lst>
              <a:rect l="l" t="t" r="r" b="b"/>
              <a:pathLst>
                <a:path w="1755816" h="2389440">
                  <a:moveTo>
                    <a:pt x="788218" y="0"/>
                  </a:moveTo>
                  <a:lnTo>
                    <a:pt x="788218" y="4995"/>
                  </a:lnTo>
                  <a:lnTo>
                    <a:pt x="793223" y="4995"/>
                  </a:lnTo>
                  <a:lnTo>
                    <a:pt x="797703" y="4995"/>
                  </a:lnTo>
                  <a:lnTo>
                    <a:pt x="802707" y="19525"/>
                  </a:lnTo>
                  <a:lnTo>
                    <a:pt x="807711" y="19525"/>
                  </a:lnTo>
                  <a:lnTo>
                    <a:pt x="812715" y="29004"/>
                  </a:lnTo>
                  <a:lnTo>
                    <a:pt x="817243" y="29004"/>
                  </a:lnTo>
                  <a:lnTo>
                    <a:pt x="817243" y="24520"/>
                  </a:lnTo>
                  <a:lnTo>
                    <a:pt x="832208" y="29004"/>
                  </a:lnTo>
                  <a:lnTo>
                    <a:pt x="832208" y="39051"/>
                  </a:lnTo>
                  <a:lnTo>
                    <a:pt x="836736" y="39051"/>
                  </a:lnTo>
                  <a:lnTo>
                    <a:pt x="846220" y="34510"/>
                  </a:lnTo>
                  <a:lnTo>
                    <a:pt x="846220" y="39051"/>
                  </a:lnTo>
                  <a:lnTo>
                    <a:pt x="851748" y="48530"/>
                  </a:lnTo>
                  <a:lnTo>
                    <a:pt x="841740" y="58577"/>
                  </a:lnTo>
                  <a:lnTo>
                    <a:pt x="846220" y="63572"/>
                  </a:lnTo>
                  <a:lnTo>
                    <a:pt x="851748" y="63572"/>
                  </a:lnTo>
                  <a:lnTo>
                    <a:pt x="856228" y="68056"/>
                  </a:lnTo>
                  <a:lnTo>
                    <a:pt x="866237" y="58577"/>
                  </a:lnTo>
                  <a:lnTo>
                    <a:pt x="880725" y="63572"/>
                  </a:lnTo>
                  <a:lnTo>
                    <a:pt x="876245" y="73561"/>
                  </a:lnTo>
                  <a:lnTo>
                    <a:pt x="890257" y="68056"/>
                  </a:lnTo>
                  <a:lnTo>
                    <a:pt x="895738" y="83097"/>
                  </a:lnTo>
                  <a:lnTo>
                    <a:pt x="890257" y="87581"/>
                  </a:lnTo>
                  <a:lnTo>
                    <a:pt x="890257" y="97628"/>
                  </a:lnTo>
                  <a:lnTo>
                    <a:pt x="885729" y="102623"/>
                  </a:lnTo>
                  <a:lnTo>
                    <a:pt x="890257" y="112102"/>
                  </a:lnTo>
                  <a:lnTo>
                    <a:pt x="890257" y="116643"/>
                  </a:lnTo>
                  <a:lnTo>
                    <a:pt x="890257" y="122148"/>
                  </a:lnTo>
                  <a:lnTo>
                    <a:pt x="895738" y="136168"/>
                  </a:lnTo>
                  <a:lnTo>
                    <a:pt x="905222" y="131627"/>
                  </a:lnTo>
                  <a:lnTo>
                    <a:pt x="909750" y="126632"/>
                  </a:lnTo>
                  <a:lnTo>
                    <a:pt x="919758" y="131627"/>
                  </a:lnTo>
                  <a:lnTo>
                    <a:pt x="929242" y="131627"/>
                  </a:lnTo>
                  <a:lnTo>
                    <a:pt x="939727" y="136168"/>
                  </a:lnTo>
                  <a:lnTo>
                    <a:pt x="944255" y="131627"/>
                  </a:lnTo>
                  <a:lnTo>
                    <a:pt x="959268" y="126632"/>
                  </a:lnTo>
                  <a:lnTo>
                    <a:pt x="968752" y="122148"/>
                  </a:lnTo>
                  <a:lnTo>
                    <a:pt x="983240" y="122148"/>
                  </a:lnTo>
                  <a:lnTo>
                    <a:pt x="1003258" y="122148"/>
                  </a:lnTo>
                  <a:lnTo>
                    <a:pt x="1003258" y="116643"/>
                  </a:lnTo>
                  <a:lnTo>
                    <a:pt x="988245" y="112102"/>
                  </a:lnTo>
                  <a:lnTo>
                    <a:pt x="988245" y="102623"/>
                  </a:lnTo>
                  <a:lnTo>
                    <a:pt x="988245" y="97628"/>
                  </a:lnTo>
                  <a:lnTo>
                    <a:pt x="998253" y="97628"/>
                  </a:lnTo>
                  <a:lnTo>
                    <a:pt x="1007785" y="97628"/>
                  </a:lnTo>
                  <a:lnTo>
                    <a:pt x="1007785" y="102623"/>
                  </a:lnTo>
                  <a:lnTo>
                    <a:pt x="1007785" y="107107"/>
                  </a:lnTo>
                  <a:lnTo>
                    <a:pt x="1013266" y="107107"/>
                  </a:lnTo>
                  <a:lnTo>
                    <a:pt x="1022750" y="107107"/>
                  </a:lnTo>
                  <a:lnTo>
                    <a:pt x="1022750" y="112102"/>
                  </a:lnTo>
                  <a:lnTo>
                    <a:pt x="1037287" y="116643"/>
                  </a:lnTo>
                  <a:lnTo>
                    <a:pt x="1037287" y="126632"/>
                  </a:lnTo>
                  <a:lnTo>
                    <a:pt x="1037287" y="141674"/>
                  </a:lnTo>
                  <a:lnTo>
                    <a:pt x="1042291" y="151153"/>
                  </a:lnTo>
                  <a:lnTo>
                    <a:pt x="1042291" y="155694"/>
                  </a:lnTo>
                  <a:lnTo>
                    <a:pt x="1046771" y="165684"/>
                  </a:lnTo>
                  <a:lnTo>
                    <a:pt x="1051775" y="170679"/>
                  </a:lnTo>
                  <a:lnTo>
                    <a:pt x="1056255" y="175163"/>
                  </a:lnTo>
                  <a:lnTo>
                    <a:pt x="1061783" y="175163"/>
                  </a:lnTo>
                  <a:lnTo>
                    <a:pt x="1066263" y="175163"/>
                  </a:lnTo>
                  <a:lnTo>
                    <a:pt x="1061783" y="180214"/>
                  </a:lnTo>
                  <a:lnTo>
                    <a:pt x="1076796" y="185209"/>
                  </a:lnTo>
                  <a:lnTo>
                    <a:pt x="1071268" y="190204"/>
                  </a:lnTo>
                  <a:lnTo>
                    <a:pt x="1076796" y="199740"/>
                  </a:lnTo>
                  <a:lnTo>
                    <a:pt x="1081276" y="204224"/>
                  </a:lnTo>
                  <a:lnTo>
                    <a:pt x="1081276" y="219209"/>
                  </a:lnTo>
                  <a:lnTo>
                    <a:pt x="1086280" y="219209"/>
                  </a:lnTo>
                  <a:lnTo>
                    <a:pt x="1090760" y="233739"/>
                  </a:lnTo>
                  <a:lnTo>
                    <a:pt x="1095765" y="233739"/>
                  </a:lnTo>
                  <a:lnTo>
                    <a:pt x="1100769" y="238734"/>
                  </a:lnTo>
                  <a:lnTo>
                    <a:pt x="1105773" y="243275"/>
                  </a:lnTo>
                  <a:lnTo>
                    <a:pt x="1110301" y="248781"/>
                  </a:lnTo>
                  <a:lnTo>
                    <a:pt x="1115305" y="248781"/>
                  </a:lnTo>
                  <a:lnTo>
                    <a:pt x="1119785" y="262801"/>
                  </a:lnTo>
                  <a:lnTo>
                    <a:pt x="1119785" y="268307"/>
                  </a:lnTo>
                  <a:lnTo>
                    <a:pt x="1115305" y="277786"/>
                  </a:lnTo>
                  <a:lnTo>
                    <a:pt x="1115305" y="282326"/>
                  </a:lnTo>
                  <a:lnTo>
                    <a:pt x="1115305" y="292316"/>
                  </a:lnTo>
                  <a:lnTo>
                    <a:pt x="1105773" y="301795"/>
                  </a:lnTo>
                  <a:lnTo>
                    <a:pt x="1115305" y="316837"/>
                  </a:lnTo>
                  <a:lnTo>
                    <a:pt x="1115305" y="321321"/>
                  </a:lnTo>
                  <a:lnTo>
                    <a:pt x="1125266" y="326372"/>
                  </a:lnTo>
                  <a:lnTo>
                    <a:pt x="1125266" y="330857"/>
                  </a:lnTo>
                  <a:lnTo>
                    <a:pt x="1139278" y="336362"/>
                  </a:lnTo>
                  <a:lnTo>
                    <a:pt x="1144806" y="340846"/>
                  </a:lnTo>
                  <a:lnTo>
                    <a:pt x="1154290" y="340846"/>
                  </a:lnTo>
                  <a:lnTo>
                    <a:pt x="1159771" y="350382"/>
                  </a:lnTo>
                  <a:lnTo>
                    <a:pt x="1154290" y="355888"/>
                  </a:lnTo>
                  <a:lnTo>
                    <a:pt x="1188796" y="360372"/>
                  </a:lnTo>
                  <a:lnTo>
                    <a:pt x="1193276" y="365367"/>
                  </a:lnTo>
                  <a:lnTo>
                    <a:pt x="1202807" y="375413"/>
                  </a:lnTo>
                  <a:lnTo>
                    <a:pt x="1198280" y="379898"/>
                  </a:lnTo>
                  <a:lnTo>
                    <a:pt x="1202807" y="394428"/>
                  </a:lnTo>
                  <a:lnTo>
                    <a:pt x="1198280" y="394428"/>
                  </a:lnTo>
                  <a:lnTo>
                    <a:pt x="1202807" y="404418"/>
                  </a:lnTo>
                  <a:lnTo>
                    <a:pt x="1208288" y="408959"/>
                  </a:lnTo>
                  <a:lnTo>
                    <a:pt x="1217820" y="408959"/>
                  </a:lnTo>
                  <a:lnTo>
                    <a:pt x="1217820" y="413954"/>
                  </a:lnTo>
                  <a:lnTo>
                    <a:pt x="1227829" y="413954"/>
                  </a:lnTo>
                  <a:lnTo>
                    <a:pt x="1217820" y="428485"/>
                  </a:lnTo>
                  <a:lnTo>
                    <a:pt x="1223301" y="428485"/>
                  </a:lnTo>
                  <a:lnTo>
                    <a:pt x="1212816" y="443470"/>
                  </a:lnTo>
                  <a:lnTo>
                    <a:pt x="1208690" y="438453"/>
                  </a:lnTo>
                  <a:lnTo>
                    <a:pt x="1208690" y="439428"/>
                  </a:lnTo>
                  <a:lnTo>
                    <a:pt x="1208841" y="439189"/>
                  </a:lnTo>
                  <a:lnTo>
                    <a:pt x="1213346" y="444710"/>
                  </a:lnTo>
                  <a:lnTo>
                    <a:pt x="1218837" y="444710"/>
                  </a:lnTo>
                  <a:lnTo>
                    <a:pt x="1228302" y="439189"/>
                  </a:lnTo>
                  <a:lnTo>
                    <a:pt x="1228302" y="449185"/>
                  </a:lnTo>
                  <a:lnTo>
                    <a:pt x="1238298" y="449185"/>
                  </a:lnTo>
                  <a:lnTo>
                    <a:pt x="1243296" y="444710"/>
                  </a:lnTo>
                  <a:lnTo>
                    <a:pt x="1252800" y="444710"/>
                  </a:lnTo>
                  <a:lnTo>
                    <a:pt x="1257306" y="449185"/>
                  </a:lnTo>
                  <a:lnTo>
                    <a:pt x="1267264" y="449185"/>
                  </a:lnTo>
                  <a:lnTo>
                    <a:pt x="1267264" y="439189"/>
                  </a:lnTo>
                  <a:lnTo>
                    <a:pt x="1267264" y="434714"/>
                  </a:lnTo>
                  <a:lnTo>
                    <a:pt x="1282258" y="429695"/>
                  </a:lnTo>
                  <a:lnTo>
                    <a:pt x="1282258" y="434714"/>
                  </a:lnTo>
                  <a:lnTo>
                    <a:pt x="1286764" y="434714"/>
                  </a:lnTo>
                  <a:lnTo>
                    <a:pt x="1286764" y="439189"/>
                  </a:lnTo>
                  <a:lnTo>
                    <a:pt x="1291762" y="444710"/>
                  </a:lnTo>
                  <a:lnTo>
                    <a:pt x="1297252" y="449185"/>
                  </a:lnTo>
                  <a:lnTo>
                    <a:pt x="1306755" y="458679"/>
                  </a:lnTo>
                  <a:lnTo>
                    <a:pt x="1311223" y="458679"/>
                  </a:lnTo>
                  <a:lnTo>
                    <a:pt x="1311223" y="454204"/>
                  </a:lnTo>
                  <a:lnTo>
                    <a:pt x="1326217" y="444710"/>
                  </a:lnTo>
                  <a:lnTo>
                    <a:pt x="1326217" y="439189"/>
                  </a:lnTo>
                  <a:lnTo>
                    <a:pt x="1330723" y="439189"/>
                  </a:lnTo>
                  <a:lnTo>
                    <a:pt x="1330723" y="429695"/>
                  </a:lnTo>
                  <a:lnTo>
                    <a:pt x="1340227" y="429695"/>
                  </a:lnTo>
                  <a:lnTo>
                    <a:pt x="1345717" y="420201"/>
                  </a:lnTo>
                  <a:lnTo>
                    <a:pt x="1350185" y="425220"/>
                  </a:lnTo>
                  <a:lnTo>
                    <a:pt x="1355183" y="439189"/>
                  </a:lnTo>
                  <a:lnTo>
                    <a:pt x="1365179" y="434714"/>
                  </a:lnTo>
                  <a:lnTo>
                    <a:pt x="1370177" y="429695"/>
                  </a:lnTo>
                  <a:lnTo>
                    <a:pt x="1374683" y="425220"/>
                  </a:lnTo>
                  <a:lnTo>
                    <a:pt x="1380173" y="425220"/>
                  </a:lnTo>
                  <a:lnTo>
                    <a:pt x="1380173" y="434714"/>
                  </a:lnTo>
                  <a:lnTo>
                    <a:pt x="1384678" y="439189"/>
                  </a:lnTo>
                  <a:lnTo>
                    <a:pt x="1389676" y="444710"/>
                  </a:lnTo>
                  <a:lnTo>
                    <a:pt x="1394144" y="439189"/>
                  </a:lnTo>
                  <a:lnTo>
                    <a:pt x="1399142" y="429695"/>
                  </a:lnTo>
                  <a:lnTo>
                    <a:pt x="1404140" y="425220"/>
                  </a:lnTo>
                  <a:lnTo>
                    <a:pt x="1409138" y="425220"/>
                  </a:lnTo>
                  <a:lnTo>
                    <a:pt x="1413644" y="439189"/>
                  </a:lnTo>
                  <a:lnTo>
                    <a:pt x="1423148" y="439189"/>
                  </a:lnTo>
                  <a:lnTo>
                    <a:pt x="1428638" y="434714"/>
                  </a:lnTo>
                  <a:lnTo>
                    <a:pt x="1433106" y="420201"/>
                  </a:lnTo>
                  <a:lnTo>
                    <a:pt x="1433106" y="410247"/>
                  </a:lnTo>
                  <a:lnTo>
                    <a:pt x="1428638" y="410247"/>
                  </a:lnTo>
                  <a:lnTo>
                    <a:pt x="1448100" y="405730"/>
                  </a:lnTo>
                  <a:lnTo>
                    <a:pt x="1457603" y="420201"/>
                  </a:lnTo>
                  <a:lnTo>
                    <a:pt x="1467599" y="420201"/>
                  </a:lnTo>
                  <a:lnTo>
                    <a:pt x="1482063" y="420201"/>
                  </a:lnTo>
                  <a:lnTo>
                    <a:pt x="1482063" y="415224"/>
                  </a:lnTo>
                  <a:lnTo>
                    <a:pt x="1487061" y="415224"/>
                  </a:lnTo>
                  <a:lnTo>
                    <a:pt x="1496565" y="420201"/>
                  </a:lnTo>
                  <a:lnTo>
                    <a:pt x="1511559" y="415224"/>
                  </a:lnTo>
                  <a:lnTo>
                    <a:pt x="1516557" y="415224"/>
                  </a:lnTo>
                  <a:lnTo>
                    <a:pt x="1521025" y="415224"/>
                  </a:lnTo>
                  <a:lnTo>
                    <a:pt x="1521025" y="420201"/>
                  </a:lnTo>
                  <a:lnTo>
                    <a:pt x="1536019" y="425220"/>
                  </a:lnTo>
                  <a:lnTo>
                    <a:pt x="1550520" y="425220"/>
                  </a:lnTo>
                  <a:lnTo>
                    <a:pt x="1559986" y="429695"/>
                  </a:lnTo>
                  <a:lnTo>
                    <a:pt x="1564984" y="429695"/>
                  </a:lnTo>
                  <a:lnTo>
                    <a:pt x="1564984" y="425220"/>
                  </a:lnTo>
                  <a:lnTo>
                    <a:pt x="1574980" y="425220"/>
                  </a:lnTo>
                  <a:lnTo>
                    <a:pt x="1589974" y="425220"/>
                  </a:lnTo>
                  <a:lnTo>
                    <a:pt x="1594480" y="425220"/>
                  </a:lnTo>
                  <a:lnTo>
                    <a:pt x="1599478" y="420201"/>
                  </a:lnTo>
                  <a:lnTo>
                    <a:pt x="1609436" y="425220"/>
                  </a:lnTo>
                  <a:lnTo>
                    <a:pt x="1618940" y="425220"/>
                  </a:lnTo>
                  <a:lnTo>
                    <a:pt x="1628936" y="425220"/>
                  </a:lnTo>
                  <a:lnTo>
                    <a:pt x="1633441" y="429695"/>
                  </a:lnTo>
                  <a:lnTo>
                    <a:pt x="1633441" y="444710"/>
                  </a:lnTo>
                  <a:lnTo>
                    <a:pt x="1638439" y="449185"/>
                  </a:lnTo>
                  <a:lnTo>
                    <a:pt x="1642907" y="449185"/>
                  </a:lnTo>
                  <a:lnTo>
                    <a:pt x="1647905" y="449185"/>
                  </a:lnTo>
                  <a:lnTo>
                    <a:pt x="1652903" y="454204"/>
                  </a:lnTo>
                  <a:lnTo>
                    <a:pt x="1642907" y="458679"/>
                  </a:lnTo>
                  <a:lnTo>
                    <a:pt x="1642907" y="468674"/>
                  </a:lnTo>
                  <a:lnTo>
                    <a:pt x="1652903" y="478168"/>
                  </a:lnTo>
                  <a:lnTo>
                    <a:pt x="1657901" y="473693"/>
                  </a:lnTo>
                  <a:lnTo>
                    <a:pt x="1662899" y="483689"/>
                  </a:lnTo>
                  <a:lnTo>
                    <a:pt x="1667405" y="483689"/>
                  </a:lnTo>
                  <a:lnTo>
                    <a:pt x="1672895" y="473693"/>
                  </a:lnTo>
                  <a:lnTo>
                    <a:pt x="1682361" y="488666"/>
                  </a:lnTo>
                  <a:lnTo>
                    <a:pt x="1682361" y="498160"/>
                  </a:lnTo>
                  <a:lnTo>
                    <a:pt x="1686867" y="498160"/>
                  </a:lnTo>
                  <a:lnTo>
                    <a:pt x="1686867" y="493183"/>
                  </a:lnTo>
                  <a:lnTo>
                    <a:pt x="1692357" y="493183"/>
                  </a:lnTo>
                  <a:lnTo>
                    <a:pt x="1706366" y="503179"/>
                  </a:lnTo>
                  <a:lnTo>
                    <a:pt x="1711857" y="517650"/>
                  </a:lnTo>
                  <a:lnTo>
                    <a:pt x="1721360" y="522167"/>
                  </a:lnTo>
                  <a:lnTo>
                    <a:pt x="1721360" y="527646"/>
                  </a:lnTo>
                  <a:lnTo>
                    <a:pt x="1725828" y="541657"/>
                  </a:lnTo>
                  <a:lnTo>
                    <a:pt x="1725828" y="551652"/>
                  </a:lnTo>
                  <a:lnTo>
                    <a:pt x="1736316" y="561146"/>
                  </a:lnTo>
                  <a:lnTo>
                    <a:pt x="1740822" y="576119"/>
                  </a:lnTo>
                  <a:lnTo>
                    <a:pt x="1736316" y="590632"/>
                  </a:lnTo>
                  <a:lnTo>
                    <a:pt x="1736316" y="600126"/>
                  </a:lnTo>
                  <a:lnTo>
                    <a:pt x="1736316" y="605103"/>
                  </a:lnTo>
                  <a:lnTo>
                    <a:pt x="1745820" y="629109"/>
                  </a:lnTo>
                  <a:lnTo>
                    <a:pt x="1755816" y="634588"/>
                  </a:lnTo>
                  <a:lnTo>
                    <a:pt x="1755816" y="644082"/>
                  </a:lnTo>
                  <a:lnTo>
                    <a:pt x="1750326" y="658553"/>
                  </a:lnTo>
                  <a:lnTo>
                    <a:pt x="1755816" y="668047"/>
                  </a:lnTo>
                  <a:lnTo>
                    <a:pt x="1755816" y="673568"/>
                  </a:lnTo>
                  <a:lnTo>
                    <a:pt x="1740822" y="678043"/>
                  </a:lnTo>
                  <a:lnTo>
                    <a:pt x="1740822" y="683062"/>
                  </a:lnTo>
                  <a:lnTo>
                    <a:pt x="1736316" y="687537"/>
                  </a:lnTo>
                  <a:lnTo>
                    <a:pt x="1730826" y="697533"/>
                  </a:lnTo>
                  <a:lnTo>
                    <a:pt x="1736316" y="702552"/>
                  </a:lnTo>
                  <a:lnTo>
                    <a:pt x="1716362" y="722041"/>
                  </a:lnTo>
                  <a:lnTo>
                    <a:pt x="1711857" y="726516"/>
                  </a:lnTo>
                  <a:lnTo>
                    <a:pt x="1701861" y="726516"/>
                  </a:lnTo>
                  <a:lnTo>
                    <a:pt x="1692357" y="726516"/>
                  </a:lnTo>
                  <a:lnTo>
                    <a:pt x="1696863" y="736010"/>
                  </a:lnTo>
                  <a:lnTo>
                    <a:pt x="1692357" y="736010"/>
                  </a:lnTo>
                  <a:lnTo>
                    <a:pt x="1692357" y="741531"/>
                  </a:lnTo>
                  <a:lnTo>
                    <a:pt x="1682361" y="746006"/>
                  </a:lnTo>
                  <a:lnTo>
                    <a:pt x="1677401" y="741531"/>
                  </a:lnTo>
                  <a:lnTo>
                    <a:pt x="1672895" y="746006"/>
                  </a:lnTo>
                  <a:lnTo>
                    <a:pt x="1686867" y="770515"/>
                  </a:lnTo>
                  <a:lnTo>
                    <a:pt x="1686867" y="780009"/>
                  </a:lnTo>
                  <a:lnTo>
                    <a:pt x="1701861" y="784986"/>
                  </a:lnTo>
                  <a:lnTo>
                    <a:pt x="1711857" y="799498"/>
                  </a:lnTo>
                  <a:lnTo>
                    <a:pt x="1721360" y="809494"/>
                  </a:lnTo>
                  <a:lnTo>
                    <a:pt x="1721360" y="818988"/>
                  </a:lnTo>
                  <a:lnTo>
                    <a:pt x="1725828" y="818988"/>
                  </a:lnTo>
                  <a:lnTo>
                    <a:pt x="1725828" y="823463"/>
                  </a:lnTo>
                  <a:lnTo>
                    <a:pt x="1721360" y="828942"/>
                  </a:lnTo>
                  <a:lnTo>
                    <a:pt x="1725828" y="838436"/>
                  </a:lnTo>
                  <a:lnTo>
                    <a:pt x="1721360" y="842953"/>
                  </a:lnTo>
                  <a:lnTo>
                    <a:pt x="1721360" y="852949"/>
                  </a:lnTo>
                  <a:lnTo>
                    <a:pt x="1706366" y="852949"/>
                  </a:lnTo>
                  <a:lnTo>
                    <a:pt x="1706366" y="867922"/>
                  </a:lnTo>
                  <a:lnTo>
                    <a:pt x="1701861" y="872439"/>
                  </a:lnTo>
                  <a:lnTo>
                    <a:pt x="1711857" y="896905"/>
                  </a:lnTo>
                  <a:lnTo>
                    <a:pt x="1721360" y="896905"/>
                  </a:lnTo>
                  <a:lnTo>
                    <a:pt x="1721360" y="901422"/>
                  </a:lnTo>
                  <a:lnTo>
                    <a:pt x="1716362" y="910916"/>
                  </a:lnTo>
                  <a:lnTo>
                    <a:pt x="1721360" y="916395"/>
                  </a:lnTo>
                  <a:lnTo>
                    <a:pt x="1716362" y="925889"/>
                  </a:lnTo>
                  <a:lnTo>
                    <a:pt x="1721360" y="930406"/>
                  </a:lnTo>
                  <a:lnTo>
                    <a:pt x="1716362" y="940402"/>
                  </a:lnTo>
                  <a:lnTo>
                    <a:pt x="1716362" y="945379"/>
                  </a:lnTo>
                  <a:lnTo>
                    <a:pt x="1711857" y="955375"/>
                  </a:lnTo>
                  <a:lnTo>
                    <a:pt x="1711857" y="959892"/>
                  </a:lnTo>
                  <a:lnTo>
                    <a:pt x="1711857" y="974362"/>
                  </a:lnTo>
                  <a:lnTo>
                    <a:pt x="1725828" y="979381"/>
                  </a:lnTo>
                  <a:lnTo>
                    <a:pt x="1725828" y="993852"/>
                  </a:lnTo>
                  <a:lnTo>
                    <a:pt x="1711857" y="993852"/>
                  </a:lnTo>
                  <a:lnTo>
                    <a:pt x="1706366" y="998369"/>
                  </a:lnTo>
                  <a:lnTo>
                    <a:pt x="1701861" y="998369"/>
                  </a:lnTo>
                  <a:lnTo>
                    <a:pt x="1701861" y="993852"/>
                  </a:lnTo>
                  <a:lnTo>
                    <a:pt x="1696863" y="988875"/>
                  </a:lnTo>
                  <a:lnTo>
                    <a:pt x="1692357" y="988875"/>
                  </a:lnTo>
                  <a:lnTo>
                    <a:pt x="1682361" y="984358"/>
                  </a:lnTo>
                  <a:lnTo>
                    <a:pt x="1672895" y="974362"/>
                  </a:lnTo>
                  <a:lnTo>
                    <a:pt x="1662899" y="974362"/>
                  </a:lnTo>
                  <a:lnTo>
                    <a:pt x="1657901" y="974362"/>
                  </a:lnTo>
                  <a:lnTo>
                    <a:pt x="1662899" y="984358"/>
                  </a:lnTo>
                  <a:lnTo>
                    <a:pt x="1662899" y="988875"/>
                  </a:lnTo>
                  <a:lnTo>
                    <a:pt x="1662899" y="993852"/>
                  </a:lnTo>
                  <a:lnTo>
                    <a:pt x="1662899" y="1008365"/>
                  </a:lnTo>
                  <a:lnTo>
                    <a:pt x="1657901" y="1008365"/>
                  </a:lnTo>
                  <a:lnTo>
                    <a:pt x="1657901" y="1013342"/>
                  </a:lnTo>
                  <a:lnTo>
                    <a:pt x="1652903" y="1023338"/>
                  </a:lnTo>
                  <a:lnTo>
                    <a:pt x="1647905" y="1023338"/>
                  </a:lnTo>
                  <a:lnTo>
                    <a:pt x="1638439" y="1027855"/>
                  </a:lnTo>
                  <a:lnTo>
                    <a:pt x="1633441" y="1042828"/>
                  </a:lnTo>
                  <a:lnTo>
                    <a:pt x="1628936" y="1042828"/>
                  </a:lnTo>
                  <a:lnTo>
                    <a:pt x="1623445" y="1042828"/>
                  </a:lnTo>
                  <a:lnTo>
                    <a:pt x="1623445" y="1047344"/>
                  </a:lnTo>
                  <a:lnTo>
                    <a:pt x="1623445" y="1052321"/>
                  </a:lnTo>
                  <a:lnTo>
                    <a:pt x="1613942" y="1052321"/>
                  </a:lnTo>
                  <a:lnTo>
                    <a:pt x="1609436" y="1071811"/>
                  </a:lnTo>
                  <a:lnTo>
                    <a:pt x="1599478" y="1076286"/>
                  </a:lnTo>
                  <a:lnTo>
                    <a:pt x="1599478" y="1081305"/>
                  </a:lnTo>
                  <a:lnTo>
                    <a:pt x="1599478" y="1095776"/>
                  </a:lnTo>
                  <a:lnTo>
                    <a:pt x="1603946" y="1105270"/>
                  </a:lnTo>
                  <a:lnTo>
                    <a:pt x="1609436" y="1105270"/>
                  </a:lnTo>
                  <a:lnTo>
                    <a:pt x="1609436" y="1110791"/>
                  </a:lnTo>
                  <a:lnTo>
                    <a:pt x="1603946" y="1110791"/>
                  </a:lnTo>
                  <a:lnTo>
                    <a:pt x="1603946" y="1120285"/>
                  </a:lnTo>
                  <a:lnTo>
                    <a:pt x="1594480" y="1124760"/>
                  </a:lnTo>
                  <a:lnTo>
                    <a:pt x="1589974" y="1154245"/>
                  </a:lnTo>
                  <a:lnTo>
                    <a:pt x="1574980" y="1154245"/>
                  </a:lnTo>
                  <a:lnTo>
                    <a:pt x="1559986" y="1163739"/>
                  </a:lnTo>
                  <a:lnTo>
                    <a:pt x="1559986" y="1168758"/>
                  </a:lnTo>
                  <a:lnTo>
                    <a:pt x="1564984" y="1178754"/>
                  </a:lnTo>
                  <a:lnTo>
                    <a:pt x="1569982" y="1183229"/>
                  </a:lnTo>
                  <a:lnTo>
                    <a:pt x="1579486" y="1198244"/>
                  </a:lnTo>
                  <a:lnTo>
                    <a:pt x="1574980" y="1207738"/>
                  </a:lnTo>
                  <a:lnTo>
                    <a:pt x="1559986" y="1207738"/>
                  </a:lnTo>
                  <a:lnTo>
                    <a:pt x="1550520" y="1212213"/>
                  </a:lnTo>
                  <a:lnTo>
                    <a:pt x="1540524" y="1207738"/>
                  </a:lnTo>
                  <a:lnTo>
                    <a:pt x="1531021" y="1212213"/>
                  </a:lnTo>
                  <a:lnTo>
                    <a:pt x="1521025" y="1212213"/>
                  </a:lnTo>
                  <a:lnTo>
                    <a:pt x="1501563" y="1222209"/>
                  </a:lnTo>
                  <a:lnTo>
                    <a:pt x="1496565" y="1217733"/>
                  </a:lnTo>
                  <a:lnTo>
                    <a:pt x="1496565" y="1212213"/>
                  </a:lnTo>
                  <a:lnTo>
                    <a:pt x="1487061" y="1212213"/>
                  </a:lnTo>
                  <a:lnTo>
                    <a:pt x="1477065" y="1222209"/>
                  </a:lnTo>
                  <a:lnTo>
                    <a:pt x="1463094" y="1227227"/>
                  </a:lnTo>
                  <a:lnTo>
                    <a:pt x="1463094" y="1231702"/>
                  </a:lnTo>
                  <a:lnTo>
                    <a:pt x="1453098" y="1231702"/>
                  </a:lnTo>
                  <a:lnTo>
                    <a:pt x="1453098" y="1237223"/>
                  </a:lnTo>
                  <a:lnTo>
                    <a:pt x="1443594" y="1237223"/>
                  </a:lnTo>
                  <a:lnTo>
                    <a:pt x="1438104" y="1231702"/>
                  </a:lnTo>
                  <a:lnTo>
                    <a:pt x="1433106" y="1241698"/>
                  </a:lnTo>
                  <a:lnTo>
                    <a:pt x="1423148" y="1231702"/>
                  </a:lnTo>
                  <a:lnTo>
                    <a:pt x="1423148" y="1222209"/>
                  </a:lnTo>
                  <a:lnTo>
                    <a:pt x="1413644" y="1217733"/>
                  </a:lnTo>
                  <a:lnTo>
                    <a:pt x="1409138" y="1217733"/>
                  </a:lnTo>
                  <a:lnTo>
                    <a:pt x="1409138" y="1202719"/>
                  </a:lnTo>
                  <a:lnTo>
                    <a:pt x="1404140" y="1202719"/>
                  </a:lnTo>
                  <a:lnTo>
                    <a:pt x="1399142" y="1198244"/>
                  </a:lnTo>
                  <a:lnTo>
                    <a:pt x="1394144" y="1198244"/>
                  </a:lnTo>
                  <a:lnTo>
                    <a:pt x="1384678" y="1183229"/>
                  </a:lnTo>
                  <a:lnTo>
                    <a:pt x="1380173" y="1183229"/>
                  </a:lnTo>
                  <a:lnTo>
                    <a:pt x="1370177" y="1178754"/>
                  </a:lnTo>
                  <a:lnTo>
                    <a:pt x="1355183" y="1173735"/>
                  </a:lnTo>
                  <a:lnTo>
                    <a:pt x="1350185" y="1183229"/>
                  </a:lnTo>
                  <a:lnTo>
                    <a:pt x="1345717" y="1183229"/>
                  </a:lnTo>
                  <a:lnTo>
                    <a:pt x="1345717" y="1173735"/>
                  </a:lnTo>
                  <a:lnTo>
                    <a:pt x="1335721" y="1173735"/>
                  </a:lnTo>
                  <a:lnTo>
                    <a:pt x="1321219" y="1178754"/>
                  </a:lnTo>
                  <a:lnTo>
                    <a:pt x="1321219" y="1183229"/>
                  </a:lnTo>
                  <a:lnTo>
                    <a:pt x="1311223" y="1188248"/>
                  </a:lnTo>
                  <a:lnTo>
                    <a:pt x="1306755" y="1188248"/>
                  </a:lnTo>
                  <a:lnTo>
                    <a:pt x="1304925" y="1184770"/>
                  </a:lnTo>
                  <a:lnTo>
                    <a:pt x="1303194" y="1184770"/>
                  </a:lnTo>
                  <a:lnTo>
                    <a:pt x="1305594" y="1188917"/>
                  </a:lnTo>
                  <a:lnTo>
                    <a:pt x="1290573" y="1193893"/>
                  </a:lnTo>
                  <a:lnTo>
                    <a:pt x="1295602" y="1222883"/>
                  </a:lnTo>
                  <a:lnTo>
                    <a:pt x="1300108" y="1222883"/>
                  </a:lnTo>
                  <a:lnTo>
                    <a:pt x="1300108" y="1232362"/>
                  </a:lnTo>
                  <a:lnTo>
                    <a:pt x="1300108" y="1242394"/>
                  </a:lnTo>
                  <a:lnTo>
                    <a:pt x="1290573" y="1247371"/>
                  </a:lnTo>
                  <a:lnTo>
                    <a:pt x="1295602" y="1257403"/>
                  </a:lnTo>
                  <a:lnTo>
                    <a:pt x="1305594" y="1257403"/>
                  </a:lnTo>
                  <a:lnTo>
                    <a:pt x="1305594" y="1266882"/>
                  </a:lnTo>
                  <a:lnTo>
                    <a:pt x="1295602" y="1266882"/>
                  </a:lnTo>
                  <a:lnTo>
                    <a:pt x="1290573" y="1271385"/>
                  </a:lnTo>
                  <a:lnTo>
                    <a:pt x="1290573" y="1281338"/>
                  </a:lnTo>
                  <a:lnTo>
                    <a:pt x="1275618" y="1281338"/>
                  </a:lnTo>
                  <a:lnTo>
                    <a:pt x="1271112" y="1300375"/>
                  </a:lnTo>
                  <a:lnTo>
                    <a:pt x="1266084" y="1300375"/>
                  </a:lnTo>
                  <a:lnTo>
                    <a:pt x="1256092" y="1300375"/>
                  </a:lnTo>
                  <a:lnTo>
                    <a:pt x="1256092" y="1305825"/>
                  </a:lnTo>
                  <a:lnTo>
                    <a:pt x="1246557" y="1310328"/>
                  </a:lnTo>
                  <a:lnTo>
                    <a:pt x="1251586" y="1319886"/>
                  </a:lnTo>
                  <a:lnTo>
                    <a:pt x="1256092" y="1325336"/>
                  </a:lnTo>
                  <a:lnTo>
                    <a:pt x="1256092" y="1339318"/>
                  </a:lnTo>
                  <a:lnTo>
                    <a:pt x="1246557" y="1339318"/>
                  </a:lnTo>
                  <a:lnTo>
                    <a:pt x="1242051" y="1354326"/>
                  </a:lnTo>
                  <a:lnTo>
                    <a:pt x="1236566" y="1349350"/>
                  </a:lnTo>
                  <a:lnTo>
                    <a:pt x="1227031" y="1358829"/>
                  </a:lnTo>
                  <a:lnTo>
                    <a:pt x="1217039" y="1368861"/>
                  </a:lnTo>
                  <a:lnTo>
                    <a:pt x="1188043" y="1378340"/>
                  </a:lnTo>
                  <a:lnTo>
                    <a:pt x="1188043" y="1388293"/>
                  </a:lnTo>
                  <a:lnTo>
                    <a:pt x="1188043" y="1397851"/>
                  </a:lnTo>
                  <a:lnTo>
                    <a:pt x="1183015" y="1397851"/>
                  </a:lnTo>
                  <a:lnTo>
                    <a:pt x="1178509" y="1402828"/>
                  </a:lnTo>
                  <a:lnTo>
                    <a:pt x="1168517" y="1412781"/>
                  </a:lnTo>
                  <a:lnTo>
                    <a:pt x="1168517" y="1422339"/>
                  </a:lnTo>
                  <a:lnTo>
                    <a:pt x="1168517" y="1426841"/>
                  </a:lnTo>
                  <a:lnTo>
                    <a:pt x="1158982" y="1426841"/>
                  </a:lnTo>
                  <a:lnTo>
                    <a:pt x="1143962" y="1436794"/>
                  </a:lnTo>
                  <a:lnTo>
                    <a:pt x="1133970" y="1446273"/>
                  </a:lnTo>
                  <a:lnTo>
                    <a:pt x="1128942" y="1441771"/>
                  </a:lnTo>
                  <a:lnTo>
                    <a:pt x="1124435" y="1446273"/>
                  </a:lnTo>
                  <a:lnTo>
                    <a:pt x="1133970" y="1470761"/>
                  </a:lnTo>
                  <a:lnTo>
                    <a:pt x="1133970" y="1475816"/>
                  </a:lnTo>
                  <a:lnTo>
                    <a:pt x="1138476" y="1480793"/>
                  </a:lnTo>
                  <a:lnTo>
                    <a:pt x="1133970" y="1490272"/>
                  </a:lnTo>
                  <a:lnTo>
                    <a:pt x="1143962" y="1504807"/>
                  </a:lnTo>
                  <a:lnTo>
                    <a:pt x="1148990" y="1509783"/>
                  </a:lnTo>
                  <a:lnTo>
                    <a:pt x="1148990" y="1519736"/>
                  </a:lnTo>
                  <a:lnTo>
                    <a:pt x="1143962" y="1529294"/>
                  </a:lnTo>
                  <a:lnTo>
                    <a:pt x="1153497" y="1533797"/>
                  </a:lnTo>
                  <a:lnTo>
                    <a:pt x="1148990" y="1543750"/>
                  </a:lnTo>
                  <a:lnTo>
                    <a:pt x="1133970" y="1543750"/>
                  </a:lnTo>
                  <a:lnTo>
                    <a:pt x="1124435" y="1539247"/>
                  </a:lnTo>
                  <a:lnTo>
                    <a:pt x="1119472" y="1543750"/>
                  </a:lnTo>
                  <a:lnTo>
                    <a:pt x="1109480" y="1543750"/>
                  </a:lnTo>
                  <a:lnTo>
                    <a:pt x="1104974" y="1553229"/>
                  </a:lnTo>
                  <a:lnTo>
                    <a:pt x="1095440" y="1529294"/>
                  </a:lnTo>
                  <a:lnTo>
                    <a:pt x="1089954" y="1529294"/>
                  </a:lnTo>
                  <a:lnTo>
                    <a:pt x="1085448" y="1533797"/>
                  </a:lnTo>
                  <a:lnTo>
                    <a:pt x="1080419" y="1548726"/>
                  </a:lnTo>
                  <a:lnTo>
                    <a:pt x="1085448" y="1553229"/>
                  </a:lnTo>
                  <a:lnTo>
                    <a:pt x="1080419" y="1563261"/>
                  </a:lnTo>
                  <a:lnTo>
                    <a:pt x="1075913" y="1563261"/>
                  </a:lnTo>
                  <a:lnTo>
                    <a:pt x="1075913" y="1572740"/>
                  </a:lnTo>
                  <a:lnTo>
                    <a:pt x="1085448" y="1577716"/>
                  </a:lnTo>
                  <a:lnTo>
                    <a:pt x="1089954" y="1577716"/>
                  </a:lnTo>
                  <a:lnTo>
                    <a:pt x="1095440" y="1577716"/>
                  </a:lnTo>
                  <a:lnTo>
                    <a:pt x="1104974" y="1592251"/>
                  </a:lnTo>
                  <a:lnTo>
                    <a:pt x="1104974" y="1597227"/>
                  </a:lnTo>
                  <a:lnTo>
                    <a:pt x="1099946" y="1597227"/>
                  </a:lnTo>
                  <a:lnTo>
                    <a:pt x="1095440" y="1611762"/>
                  </a:lnTo>
                  <a:lnTo>
                    <a:pt x="1095440" y="1616739"/>
                  </a:lnTo>
                  <a:lnTo>
                    <a:pt x="1085448" y="1636250"/>
                  </a:lnTo>
                  <a:lnTo>
                    <a:pt x="1070428" y="1636250"/>
                  </a:lnTo>
                  <a:lnTo>
                    <a:pt x="1065399" y="1640752"/>
                  </a:lnTo>
                  <a:lnTo>
                    <a:pt x="1070428" y="1646203"/>
                  </a:lnTo>
                  <a:lnTo>
                    <a:pt x="1075913" y="1646203"/>
                  </a:lnTo>
                  <a:lnTo>
                    <a:pt x="1080419" y="1646203"/>
                  </a:lnTo>
                  <a:lnTo>
                    <a:pt x="1080419" y="1650705"/>
                  </a:lnTo>
                  <a:lnTo>
                    <a:pt x="1080419" y="1655682"/>
                  </a:lnTo>
                  <a:lnTo>
                    <a:pt x="1080419" y="1660184"/>
                  </a:lnTo>
                  <a:lnTo>
                    <a:pt x="1075913" y="1670216"/>
                  </a:lnTo>
                  <a:lnTo>
                    <a:pt x="1065399" y="1670216"/>
                  </a:lnTo>
                  <a:lnTo>
                    <a:pt x="1055930" y="1660184"/>
                  </a:lnTo>
                  <a:lnTo>
                    <a:pt x="1041367" y="1660184"/>
                  </a:lnTo>
                  <a:lnTo>
                    <a:pt x="1045873" y="1670216"/>
                  </a:lnTo>
                  <a:lnTo>
                    <a:pt x="1041367" y="1675193"/>
                  </a:lnTo>
                  <a:lnTo>
                    <a:pt x="1036403" y="1675193"/>
                  </a:lnTo>
                  <a:lnTo>
                    <a:pt x="1026346" y="1684672"/>
                  </a:lnTo>
                  <a:lnTo>
                    <a:pt x="1021905" y="1704183"/>
                  </a:lnTo>
                  <a:lnTo>
                    <a:pt x="1006885" y="1704183"/>
                  </a:lnTo>
                  <a:lnTo>
                    <a:pt x="997350" y="1723694"/>
                  </a:lnTo>
                  <a:lnTo>
                    <a:pt x="987358" y="1723694"/>
                  </a:lnTo>
                  <a:lnTo>
                    <a:pt x="982330" y="1714215"/>
                  </a:lnTo>
                  <a:lnTo>
                    <a:pt x="977824" y="1708685"/>
                  </a:lnTo>
                  <a:lnTo>
                    <a:pt x="967832" y="1694704"/>
                  </a:lnTo>
                  <a:lnTo>
                    <a:pt x="958297" y="1694704"/>
                  </a:lnTo>
                  <a:lnTo>
                    <a:pt x="948828" y="1704183"/>
                  </a:lnTo>
                  <a:lnTo>
                    <a:pt x="943277" y="1708685"/>
                  </a:lnTo>
                  <a:lnTo>
                    <a:pt x="938771" y="1704183"/>
                  </a:lnTo>
                  <a:lnTo>
                    <a:pt x="928322" y="1704183"/>
                  </a:lnTo>
                  <a:lnTo>
                    <a:pt x="928322" y="1708685"/>
                  </a:lnTo>
                  <a:lnTo>
                    <a:pt x="918787" y="1704183"/>
                  </a:lnTo>
                  <a:lnTo>
                    <a:pt x="908795" y="1704183"/>
                  </a:lnTo>
                  <a:lnTo>
                    <a:pt x="904289" y="1708685"/>
                  </a:lnTo>
                  <a:lnTo>
                    <a:pt x="899261" y="1723694"/>
                  </a:lnTo>
                  <a:lnTo>
                    <a:pt x="855245" y="1728197"/>
                  </a:lnTo>
                  <a:lnTo>
                    <a:pt x="850738" y="1738150"/>
                  </a:lnTo>
                  <a:lnTo>
                    <a:pt x="845253" y="1738150"/>
                  </a:lnTo>
                  <a:lnTo>
                    <a:pt x="835718" y="1733726"/>
                  </a:lnTo>
                  <a:lnTo>
                    <a:pt x="821220" y="1728197"/>
                  </a:lnTo>
                  <a:lnTo>
                    <a:pt x="821220" y="1723694"/>
                  </a:lnTo>
                  <a:lnTo>
                    <a:pt x="811686" y="1723694"/>
                  </a:lnTo>
                  <a:lnTo>
                    <a:pt x="806657" y="1723694"/>
                  </a:lnTo>
                  <a:lnTo>
                    <a:pt x="802216" y="1723694"/>
                  </a:lnTo>
                  <a:lnTo>
                    <a:pt x="796665" y="1733726"/>
                  </a:lnTo>
                  <a:lnTo>
                    <a:pt x="792159" y="1747708"/>
                  </a:lnTo>
                  <a:lnTo>
                    <a:pt x="781645" y="1743205"/>
                  </a:lnTo>
                  <a:lnTo>
                    <a:pt x="781645" y="1733726"/>
                  </a:lnTo>
                  <a:lnTo>
                    <a:pt x="777139" y="1733726"/>
                  </a:lnTo>
                  <a:lnTo>
                    <a:pt x="772176" y="1738150"/>
                  </a:lnTo>
                  <a:lnTo>
                    <a:pt x="757678" y="1738150"/>
                  </a:lnTo>
                  <a:lnTo>
                    <a:pt x="752649" y="1743205"/>
                  </a:lnTo>
                  <a:lnTo>
                    <a:pt x="752649" y="1752684"/>
                  </a:lnTo>
                  <a:lnTo>
                    <a:pt x="748143" y="1752684"/>
                  </a:lnTo>
                  <a:lnTo>
                    <a:pt x="757678" y="1776698"/>
                  </a:lnTo>
                  <a:lnTo>
                    <a:pt x="752649" y="1782148"/>
                  </a:lnTo>
                  <a:lnTo>
                    <a:pt x="738151" y="1786651"/>
                  </a:lnTo>
                  <a:lnTo>
                    <a:pt x="738151" y="1782148"/>
                  </a:lnTo>
                  <a:lnTo>
                    <a:pt x="723588" y="1767140"/>
                  </a:lnTo>
                  <a:lnTo>
                    <a:pt x="728617" y="1762637"/>
                  </a:lnTo>
                  <a:lnTo>
                    <a:pt x="728617" y="1752684"/>
                  </a:lnTo>
                  <a:lnTo>
                    <a:pt x="713596" y="1743205"/>
                  </a:lnTo>
                  <a:lnTo>
                    <a:pt x="713596" y="1747708"/>
                  </a:lnTo>
                  <a:lnTo>
                    <a:pt x="689107" y="1757661"/>
                  </a:lnTo>
                  <a:lnTo>
                    <a:pt x="689107" y="1767140"/>
                  </a:lnTo>
                  <a:lnTo>
                    <a:pt x="679572" y="1762637"/>
                  </a:lnTo>
                  <a:lnTo>
                    <a:pt x="674609" y="1762637"/>
                  </a:lnTo>
                  <a:lnTo>
                    <a:pt x="669580" y="1762637"/>
                  </a:lnTo>
                  <a:lnTo>
                    <a:pt x="660046" y="1767140"/>
                  </a:lnTo>
                  <a:lnTo>
                    <a:pt x="655539" y="1762637"/>
                  </a:lnTo>
                  <a:lnTo>
                    <a:pt x="645548" y="1772195"/>
                  </a:lnTo>
                  <a:lnTo>
                    <a:pt x="635033" y="1776698"/>
                  </a:lnTo>
                  <a:lnTo>
                    <a:pt x="630527" y="1782148"/>
                  </a:lnTo>
                  <a:lnTo>
                    <a:pt x="635033" y="1786651"/>
                  </a:lnTo>
                  <a:lnTo>
                    <a:pt x="640519" y="1791627"/>
                  </a:lnTo>
                  <a:lnTo>
                    <a:pt x="650054" y="1791627"/>
                  </a:lnTo>
                  <a:lnTo>
                    <a:pt x="650054" y="1801659"/>
                  </a:lnTo>
                  <a:lnTo>
                    <a:pt x="645548" y="1806162"/>
                  </a:lnTo>
                  <a:lnTo>
                    <a:pt x="650054" y="1815641"/>
                  </a:lnTo>
                  <a:lnTo>
                    <a:pt x="650054" y="1830649"/>
                  </a:lnTo>
                  <a:lnTo>
                    <a:pt x="640519" y="1830649"/>
                  </a:lnTo>
                  <a:lnTo>
                    <a:pt x="635033" y="1845105"/>
                  </a:lnTo>
                  <a:lnTo>
                    <a:pt x="640519" y="1859640"/>
                  </a:lnTo>
                  <a:lnTo>
                    <a:pt x="635033" y="1864142"/>
                  </a:lnTo>
                  <a:lnTo>
                    <a:pt x="645548" y="1864142"/>
                  </a:lnTo>
                  <a:lnTo>
                    <a:pt x="645548" y="1874095"/>
                  </a:lnTo>
                  <a:lnTo>
                    <a:pt x="640519" y="1874095"/>
                  </a:lnTo>
                  <a:lnTo>
                    <a:pt x="635033" y="1883653"/>
                  </a:lnTo>
                  <a:lnTo>
                    <a:pt x="625564" y="1889104"/>
                  </a:lnTo>
                  <a:lnTo>
                    <a:pt x="625564" y="1893606"/>
                  </a:lnTo>
                  <a:lnTo>
                    <a:pt x="621058" y="1898583"/>
                  </a:lnTo>
                  <a:lnTo>
                    <a:pt x="621058" y="1903085"/>
                  </a:lnTo>
                  <a:lnTo>
                    <a:pt x="625564" y="1908615"/>
                  </a:lnTo>
                  <a:lnTo>
                    <a:pt x="625564" y="1913117"/>
                  </a:lnTo>
                  <a:lnTo>
                    <a:pt x="621058" y="1918094"/>
                  </a:lnTo>
                  <a:lnTo>
                    <a:pt x="615507" y="1918094"/>
                  </a:lnTo>
                  <a:lnTo>
                    <a:pt x="615507" y="1922596"/>
                  </a:lnTo>
                  <a:lnTo>
                    <a:pt x="611001" y="1922596"/>
                  </a:lnTo>
                  <a:lnTo>
                    <a:pt x="611001" y="1932628"/>
                  </a:lnTo>
                  <a:lnTo>
                    <a:pt x="621058" y="1937605"/>
                  </a:lnTo>
                  <a:lnTo>
                    <a:pt x="621058" y="1947084"/>
                  </a:lnTo>
                  <a:lnTo>
                    <a:pt x="625564" y="1952060"/>
                  </a:lnTo>
                  <a:lnTo>
                    <a:pt x="635033" y="1952060"/>
                  </a:lnTo>
                  <a:lnTo>
                    <a:pt x="640519" y="1957116"/>
                  </a:lnTo>
                  <a:lnTo>
                    <a:pt x="650054" y="1947084"/>
                  </a:lnTo>
                  <a:lnTo>
                    <a:pt x="655539" y="1952060"/>
                  </a:lnTo>
                  <a:lnTo>
                    <a:pt x="660046" y="1957116"/>
                  </a:lnTo>
                  <a:lnTo>
                    <a:pt x="669580" y="1957116"/>
                  </a:lnTo>
                  <a:lnTo>
                    <a:pt x="684600" y="1957116"/>
                  </a:lnTo>
                  <a:lnTo>
                    <a:pt x="684600" y="1966595"/>
                  </a:lnTo>
                  <a:lnTo>
                    <a:pt x="684600" y="1976548"/>
                  </a:lnTo>
                  <a:lnTo>
                    <a:pt x="694070" y="1976548"/>
                  </a:lnTo>
                  <a:lnTo>
                    <a:pt x="698576" y="1986106"/>
                  </a:lnTo>
                  <a:lnTo>
                    <a:pt x="704127" y="1986106"/>
                  </a:lnTo>
                  <a:lnTo>
                    <a:pt x="704127" y="1990609"/>
                  </a:lnTo>
                  <a:lnTo>
                    <a:pt x="704127" y="1996059"/>
                  </a:lnTo>
                  <a:lnTo>
                    <a:pt x="704127" y="2000562"/>
                  </a:lnTo>
                  <a:lnTo>
                    <a:pt x="698576" y="2005538"/>
                  </a:lnTo>
                  <a:lnTo>
                    <a:pt x="708633" y="2015570"/>
                  </a:lnTo>
                  <a:lnTo>
                    <a:pt x="713596" y="2020073"/>
                  </a:lnTo>
                  <a:lnTo>
                    <a:pt x="708633" y="2020073"/>
                  </a:lnTo>
                  <a:lnTo>
                    <a:pt x="694070" y="2025049"/>
                  </a:lnTo>
                  <a:lnTo>
                    <a:pt x="694070" y="2034528"/>
                  </a:lnTo>
                  <a:lnTo>
                    <a:pt x="694070" y="2039584"/>
                  </a:lnTo>
                  <a:lnTo>
                    <a:pt x="698576" y="2044560"/>
                  </a:lnTo>
                  <a:lnTo>
                    <a:pt x="694070" y="2049063"/>
                  </a:lnTo>
                  <a:lnTo>
                    <a:pt x="698576" y="2054039"/>
                  </a:lnTo>
                  <a:lnTo>
                    <a:pt x="704127" y="2049063"/>
                  </a:lnTo>
                  <a:lnTo>
                    <a:pt x="708633" y="2039584"/>
                  </a:lnTo>
                  <a:lnTo>
                    <a:pt x="713596" y="2034528"/>
                  </a:lnTo>
                  <a:lnTo>
                    <a:pt x="719082" y="2034528"/>
                  </a:lnTo>
                  <a:lnTo>
                    <a:pt x="719082" y="2044560"/>
                  </a:lnTo>
                  <a:lnTo>
                    <a:pt x="723588" y="2044560"/>
                  </a:lnTo>
                  <a:lnTo>
                    <a:pt x="719082" y="2058542"/>
                  </a:lnTo>
                  <a:lnTo>
                    <a:pt x="719082" y="2064071"/>
                  </a:lnTo>
                  <a:lnTo>
                    <a:pt x="719082" y="2073550"/>
                  </a:lnTo>
                  <a:lnTo>
                    <a:pt x="719082" y="2078053"/>
                  </a:lnTo>
                  <a:lnTo>
                    <a:pt x="728617" y="2083503"/>
                  </a:lnTo>
                  <a:lnTo>
                    <a:pt x="728617" y="2088006"/>
                  </a:lnTo>
                  <a:lnTo>
                    <a:pt x="728617" y="2093061"/>
                  </a:lnTo>
                  <a:lnTo>
                    <a:pt x="723588" y="2097564"/>
                  </a:lnTo>
                  <a:lnTo>
                    <a:pt x="708633" y="2097564"/>
                  </a:lnTo>
                  <a:lnTo>
                    <a:pt x="704127" y="2097564"/>
                  </a:lnTo>
                  <a:lnTo>
                    <a:pt x="704127" y="2107517"/>
                  </a:lnTo>
                  <a:lnTo>
                    <a:pt x="698576" y="2116996"/>
                  </a:lnTo>
                  <a:lnTo>
                    <a:pt x="708633" y="2122526"/>
                  </a:lnTo>
                  <a:lnTo>
                    <a:pt x="704127" y="2127028"/>
                  </a:lnTo>
                  <a:lnTo>
                    <a:pt x="698576" y="2141484"/>
                  </a:lnTo>
                  <a:lnTo>
                    <a:pt x="694070" y="2151516"/>
                  </a:lnTo>
                  <a:lnTo>
                    <a:pt x="689107" y="2156018"/>
                  </a:lnTo>
                  <a:lnTo>
                    <a:pt x="684600" y="2156018"/>
                  </a:lnTo>
                  <a:lnTo>
                    <a:pt x="684600" y="2180506"/>
                  </a:lnTo>
                  <a:lnTo>
                    <a:pt x="674609" y="2180506"/>
                  </a:lnTo>
                  <a:lnTo>
                    <a:pt x="669580" y="2180506"/>
                  </a:lnTo>
                  <a:lnTo>
                    <a:pt x="669580" y="2175529"/>
                  </a:lnTo>
                  <a:lnTo>
                    <a:pt x="665074" y="2180506"/>
                  </a:lnTo>
                  <a:lnTo>
                    <a:pt x="660046" y="2194961"/>
                  </a:lnTo>
                  <a:lnTo>
                    <a:pt x="655539" y="2194961"/>
                  </a:lnTo>
                  <a:lnTo>
                    <a:pt x="655539" y="2204519"/>
                  </a:lnTo>
                  <a:lnTo>
                    <a:pt x="645548" y="2214473"/>
                  </a:lnTo>
                  <a:lnTo>
                    <a:pt x="635033" y="2209970"/>
                  </a:lnTo>
                  <a:lnTo>
                    <a:pt x="635033" y="2214473"/>
                  </a:lnTo>
                  <a:lnTo>
                    <a:pt x="635033" y="2238960"/>
                  </a:lnTo>
                  <a:lnTo>
                    <a:pt x="635033" y="2243463"/>
                  </a:lnTo>
                  <a:lnTo>
                    <a:pt x="640519" y="2243463"/>
                  </a:lnTo>
                  <a:lnTo>
                    <a:pt x="621058" y="2252942"/>
                  </a:lnTo>
                  <a:lnTo>
                    <a:pt x="615507" y="2248439"/>
                  </a:lnTo>
                  <a:lnTo>
                    <a:pt x="606038" y="2252942"/>
                  </a:lnTo>
                  <a:lnTo>
                    <a:pt x="606038" y="2267950"/>
                  </a:lnTo>
                  <a:lnTo>
                    <a:pt x="596503" y="2267950"/>
                  </a:lnTo>
                  <a:lnTo>
                    <a:pt x="591474" y="2291964"/>
                  </a:lnTo>
                  <a:lnTo>
                    <a:pt x="596503" y="2301917"/>
                  </a:lnTo>
                  <a:lnTo>
                    <a:pt x="596503" y="2311475"/>
                  </a:lnTo>
                  <a:lnTo>
                    <a:pt x="586511" y="2311475"/>
                  </a:lnTo>
                  <a:lnTo>
                    <a:pt x="576977" y="2316451"/>
                  </a:lnTo>
                  <a:lnTo>
                    <a:pt x="582005" y="2355395"/>
                  </a:lnTo>
                  <a:lnTo>
                    <a:pt x="527932" y="2379408"/>
                  </a:lnTo>
                  <a:lnTo>
                    <a:pt x="503442" y="2365427"/>
                  </a:lnTo>
                  <a:lnTo>
                    <a:pt x="483916" y="2389440"/>
                  </a:lnTo>
                  <a:lnTo>
                    <a:pt x="478887" y="2384938"/>
                  </a:lnTo>
                  <a:lnTo>
                    <a:pt x="474381" y="2384938"/>
                  </a:lnTo>
                  <a:lnTo>
                    <a:pt x="478887" y="2374906"/>
                  </a:lnTo>
                  <a:lnTo>
                    <a:pt x="464389" y="2374906"/>
                  </a:lnTo>
                  <a:lnTo>
                    <a:pt x="464389" y="2355395"/>
                  </a:lnTo>
                  <a:lnTo>
                    <a:pt x="449892" y="2345916"/>
                  </a:lnTo>
                  <a:lnTo>
                    <a:pt x="439900" y="2340465"/>
                  </a:lnTo>
                  <a:lnTo>
                    <a:pt x="439900" y="2335963"/>
                  </a:lnTo>
                  <a:lnTo>
                    <a:pt x="435394" y="2330907"/>
                  </a:lnTo>
                  <a:lnTo>
                    <a:pt x="425859" y="2330907"/>
                  </a:lnTo>
                  <a:lnTo>
                    <a:pt x="410839" y="2311475"/>
                  </a:lnTo>
                  <a:lnTo>
                    <a:pt x="420373" y="2311475"/>
                  </a:lnTo>
                  <a:lnTo>
                    <a:pt x="415345" y="2297414"/>
                  </a:lnTo>
                  <a:lnTo>
                    <a:pt x="410839" y="2291964"/>
                  </a:lnTo>
                  <a:lnTo>
                    <a:pt x="410839" y="2282485"/>
                  </a:lnTo>
                  <a:lnTo>
                    <a:pt x="395818" y="2282485"/>
                  </a:lnTo>
                  <a:lnTo>
                    <a:pt x="381320" y="2291964"/>
                  </a:lnTo>
                  <a:lnTo>
                    <a:pt x="352325" y="2287461"/>
                  </a:lnTo>
                  <a:lnTo>
                    <a:pt x="322284" y="2282485"/>
                  </a:lnTo>
                  <a:lnTo>
                    <a:pt x="317778" y="2282485"/>
                  </a:lnTo>
                  <a:lnTo>
                    <a:pt x="302758" y="2267950"/>
                  </a:lnTo>
                  <a:lnTo>
                    <a:pt x="273762" y="2252942"/>
                  </a:lnTo>
                  <a:lnTo>
                    <a:pt x="264227" y="2248439"/>
                  </a:lnTo>
                  <a:lnTo>
                    <a:pt x="258741" y="2252942"/>
                  </a:lnTo>
                  <a:lnTo>
                    <a:pt x="254235" y="2252942"/>
                  </a:lnTo>
                  <a:lnTo>
                    <a:pt x="249207" y="2243463"/>
                  </a:lnTo>
                  <a:lnTo>
                    <a:pt x="239215" y="2238960"/>
                  </a:lnTo>
                  <a:lnTo>
                    <a:pt x="220211" y="2229007"/>
                  </a:lnTo>
                  <a:lnTo>
                    <a:pt x="210154" y="2233984"/>
                  </a:lnTo>
                  <a:lnTo>
                    <a:pt x="205648" y="2233984"/>
                  </a:lnTo>
                  <a:lnTo>
                    <a:pt x="200685" y="2223952"/>
                  </a:lnTo>
                  <a:lnTo>
                    <a:pt x="185664" y="2219449"/>
                  </a:lnTo>
                  <a:lnTo>
                    <a:pt x="195199" y="2200017"/>
                  </a:lnTo>
                  <a:lnTo>
                    <a:pt x="200685" y="2194961"/>
                  </a:lnTo>
                  <a:lnTo>
                    <a:pt x="175672" y="2194961"/>
                  </a:lnTo>
                  <a:lnTo>
                    <a:pt x="166138" y="2238960"/>
                  </a:lnTo>
                  <a:lnTo>
                    <a:pt x="161632" y="2238960"/>
                  </a:lnTo>
                  <a:lnTo>
                    <a:pt x="132636" y="2229007"/>
                  </a:lnTo>
                  <a:lnTo>
                    <a:pt x="127085" y="2219449"/>
                  </a:lnTo>
                  <a:lnTo>
                    <a:pt x="122122" y="2204519"/>
                  </a:lnTo>
                  <a:lnTo>
                    <a:pt x="122122" y="2200017"/>
                  </a:lnTo>
                  <a:lnTo>
                    <a:pt x="142105" y="2185008"/>
                  </a:lnTo>
                  <a:lnTo>
                    <a:pt x="146611" y="2171027"/>
                  </a:lnTo>
                  <a:lnTo>
                    <a:pt x="161632" y="2127028"/>
                  </a:lnTo>
                  <a:lnTo>
                    <a:pt x="156146" y="2116996"/>
                  </a:lnTo>
                  <a:lnTo>
                    <a:pt x="151640" y="2107517"/>
                  </a:lnTo>
                  <a:lnTo>
                    <a:pt x="137142" y="2107517"/>
                  </a:lnTo>
                  <a:lnTo>
                    <a:pt x="122122" y="2097564"/>
                  </a:lnTo>
                  <a:lnTo>
                    <a:pt x="112065" y="2093061"/>
                  </a:lnTo>
                  <a:lnTo>
                    <a:pt x="102595" y="2093061"/>
                  </a:lnTo>
                  <a:lnTo>
                    <a:pt x="92603" y="2093061"/>
                  </a:lnTo>
                  <a:lnTo>
                    <a:pt x="83069" y="2112494"/>
                  </a:lnTo>
                  <a:lnTo>
                    <a:pt x="68571" y="2112494"/>
                  </a:lnTo>
                  <a:lnTo>
                    <a:pt x="63542" y="2097564"/>
                  </a:lnTo>
                  <a:lnTo>
                    <a:pt x="63542" y="2083503"/>
                  </a:lnTo>
                  <a:lnTo>
                    <a:pt x="59036" y="2083503"/>
                  </a:lnTo>
                  <a:lnTo>
                    <a:pt x="44016" y="2078053"/>
                  </a:lnTo>
                  <a:lnTo>
                    <a:pt x="34547" y="2083503"/>
                  </a:lnTo>
                  <a:lnTo>
                    <a:pt x="24490" y="2083503"/>
                  </a:lnTo>
                  <a:lnTo>
                    <a:pt x="19526" y="2083503"/>
                  </a:lnTo>
                  <a:lnTo>
                    <a:pt x="15020" y="2058542"/>
                  </a:lnTo>
                  <a:lnTo>
                    <a:pt x="9535" y="2058542"/>
                  </a:lnTo>
                  <a:lnTo>
                    <a:pt x="5028" y="2058542"/>
                  </a:lnTo>
                  <a:lnTo>
                    <a:pt x="0" y="2044560"/>
                  </a:lnTo>
                  <a:lnTo>
                    <a:pt x="15020" y="2039584"/>
                  </a:lnTo>
                  <a:lnTo>
                    <a:pt x="19526" y="2034528"/>
                  </a:lnTo>
                  <a:lnTo>
                    <a:pt x="24490" y="2039584"/>
                  </a:lnTo>
                  <a:lnTo>
                    <a:pt x="44016" y="2034528"/>
                  </a:lnTo>
                  <a:lnTo>
                    <a:pt x="48522" y="2034528"/>
                  </a:lnTo>
                  <a:lnTo>
                    <a:pt x="54073" y="2034528"/>
                  </a:lnTo>
                  <a:lnTo>
                    <a:pt x="54073" y="2029552"/>
                  </a:lnTo>
                  <a:lnTo>
                    <a:pt x="68571" y="2020073"/>
                  </a:lnTo>
                  <a:lnTo>
                    <a:pt x="73534" y="2020073"/>
                  </a:lnTo>
                  <a:lnTo>
                    <a:pt x="78563" y="2015570"/>
                  </a:lnTo>
                  <a:lnTo>
                    <a:pt x="83069" y="2005538"/>
                  </a:lnTo>
                  <a:lnTo>
                    <a:pt x="88097" y="1996059"/>
                  </a:lnTo>
                  <a:lnTo>
                    <a:pt x="92603" y="1990609"/>
                  </a:lnTo>
                  <a:lnTo>
                    <a:pt x="102595" y="1981051"/>
                  </a:lnTo>
                  <a:lnTo>
                    <a:pt x="107624" y="1966595"/>
                  </a:lnTo>
                  <a:lnTo>
                    <a:pt x="112065" y="1961618"/>
                  </a:lnTo>
                  <a:lnTo>
                    <a:pt x="127085" y="1942107"/>
                  </a:lnTo>
                  <a:lnTo>
                    <a:pt x="132636" y="1932628"/>
                  </a:lnTo>
                  <a:lnTo>
                    <a:pt x="137142" y="1918094"/>
                  </a:lnTo>
                  <a:lnTo>
                    <a:pt x="146611" y="1893606"/>
                  </a:lnTo>
                  <a:lnTo>
                    <a:pt x="146611" y="1879151"/>
                  </a:lnTo>
                  <a:lnTo>
                    <a:pt x="151640" y="1850161"/>
                  </a:lnTo>
                  <a:lnTo>
                    <a:pt x="161632" y="1825673"/>
                  </a:lnTo>
                  <a:lnTo>
                    <a:pt x="161632" y="1815641"/>
                  </a:lnTo>
                  <a:lnTo>
                    <a:pt x="171166" y="1796130"/>
                  </a:lnTo>
                  <a:lnTo>
                    <a:pt x="175672" y="1772195"/>
                  </a:lnTo>
                  <a:lnTo>
                    <a:pt x="190693" y="1708685"/>
                  </a:lnTo>
                  <a:lnTo>
                    <a:pt x="205648" y="1665240"/>
                  </a:lnTo>
                  <a:lnTo>
                    <a:pt x="210154" y="1640752"/>
                  </a:lnTo>
                  <a:lnTo>
                    <a:pt x="225174" y="1563261"/>
                  </a:lnTo>
                  <a:lnTo>
                    <a:pt x="225174" y="1543750"/>
                  </a:lnTo>
                  <a:lnTo>
                    <a:pt x="229680" y="1529294"/>
                  </a:lnTo>
                  <a:lnTo>
                    <a:pt x="244701" y="1456305"/>
                  </a:lnTo>
                  <a:lnTo>
                    <a:pt x="234709" y="1407330"/>
                  </a:lnTo>
                  <a:lnTo>
                    <a:pt x="249207" y="1407330"/>
                  </a:lnTo>
                  <a:lnTo>
                    <a:pt x="264227" y="1378340"/>
                  </a:lnTo>
                  <a:lnTo>
                    <a:pt x="268733" y="1364358"/>
                  </a:lnTo>
                  <a:lnTo>
                    <a:pt x="268733" y="1354326"/>
                  </a:lnTo>
                  <a:lnTo>
                    <a:pt x="279247" y="1354326"/>
                  </a:lnTo>
                  <a:lnTo>
                    <a:pt x="288717" y="1349350"/>
                  </a:lnTo>
                  <a:lnTo>
                    <a:pt x="293223" y="1354326"/>
                  </a:lnTo>
                  <a:lnTo>
                    <a:pt x="298251" y="1358829"/>
                  </a:lnTo>
                  <a:lnTo>
                    <a:pt x="302758" y="1364358"/>
                  </a:lnTo>
                  <a:lnTo>
                    <a:pt x="308243" y="1364358"/>
                  </a:lnTo>
                  <a:lnTo>
                    <a:pt x="332276" y="1358829"/>
                  </a:lnTo>
                  <a:lnTo>
                    <a:pt x="337304" y="1349350"/>
                  </a:lnTo>
                  <a:lnTo>
                    <a:pt x="322284" y="1334815"/>
                  </a:lnTo>
                  <a:lnTo>
                    <a:pt x="327770" y="1334815"/>
                  </a:lnTo>
                  <a:lnTo>
                    <a:pt x="332276" y="1339318"/>
                  </a:lnTo>
                  <a:lnTo>
                    <a:pt x="332276" y="1334815"/>
                  </a:lnTo>
                  <a:lnTo>
                    <a:pt x="317778" y="1325336"/>
                  </a:lnTo>
                  <a:lnTo>
                    <a:pt x="302758" y="1310328"/>
                  </a:lnTo>
                  <a:lnTo>
                    <a:pt x="288717" y="1300375"/>
                  </a:lnTo>
                  <a:lnTo>
                    <a:pt x="258741" y="1325336"/>
                  </a:lnTo>
                  <a:lnTo>
                    <a:pt x="254235" y="1358829"/>
                  </a:lnTo>
                  <a:lnTo>
                    <a:pt x="249207" y="1378340"/>
                  </a:lnTo>
                  <a:lnTo>
                    <a:pt x="244701" y="1373838"/>
                  </a:lnTo>
                  <a:lnTo>
                    <a:pt x="249207" y="1349350"/>
                  </a:lnTo>
                  <a:lnTo>
                    <a:pt x="258741" y="1271385"/>
                  </a:lnTo>
                  <a:lnTo>
                    <a:pt x="268733" y="1212930"/>
                  </a:lnTo>
                  <a:lnTo>
                    <a:pt x="279247" y="1135439"/>
                  </a:lnTo>
                  <a:lnTo>
                    <a:pt x="288717" y="1101472"/>
                  </a:lnTo>
                  <a:lnTo>
                    <a:pt x="293223" y="1037963"/>
                  </a:lnTo>
                  <a:lnTo>
                    <a:pt x="298251" y="1018452"/>
                  </a:lnTo>
                  <a:lnTo>
                    <a:pt x="302758" y="960471"/>
                  </a:lnTo>
                  <a:lnTo>
                    <a:pt x="302758" y="950518"/>
                  </a:lnTo>
                  <a:lnTo>
                    <a:pt x="308243" y="926505"/>
                  </a:lnTo>
                  <a:lnTo>
                    <a:pt x="308243" y="917026"/>
                  </a:lnTo>
                  <a:lnTo>
                    <a:pt x="302758" y="912049"/>
                  </a:lnTo>
                  <a:lnTo>
                    <a:pt x="317778" y="892538"/>
                  </a:lnTo>
                  <a:lnTo>
                    <a:pt x="322284" y="888035"/>
                  </a:lnTo>
                  <a:lnTo>
                    <a:pt x="332276" y="868524"/>
                  </a:lnTo>
                  <a:lnTo>
                    <a:pt x="341810" y="863074"/>
                  </a:lnTo>
                  <a:lnTo>
                    <a:pt x="352325" y="878003"/>
                  </a:lnTo>
                  <a:lnTo>
                    <a:pt x="341810" y="878003"/>
                  </a:lnTo>
                  <a:lnTo>
                    <a:pt x="337304" y="892538"/>
                  </a:lnTo>
                  <a:lnTo>
                    <a:pt x="347296" y="902017"/>
                  </a:lnTo>
                  <a:lnTo>
                    <a:pt x="356831" y="906994"/>
                  </a:lnTo>
                  <a:lnTo>
                    <a:pt x="361794" y="912049"/>
                  </a:lnTo>
                  <a:lnTo>
                    <a:pt x="361794" y="917026"/>
                  </a:lnTo>
                  <a:lnTo>
                    <a:pt x="371786" y="926505"/>
                  </a:lnTo>
                  <a:lnTo>
                    <a:pt x="391312" y="931007"/>
                  </a:lnTo>
                  <a:lnTo>
                    <a:pt x="400847" y="950518"/>
                  </a:lnTo>
                  <a:lnTo>
                    <a:pt x="415345" y="965527"/>
                  </a:lnTo>
                  <a:lnTo>
                    <a:pt x="425859" y="970029"/>
                  </a:lnTo>
                  <a:lnTo>
                    <a:pt x="430365" y="975480"/>
                  </a:lnTo>
                  <a:lnTo>
                    <a:pt x="435394" y="984959"/>
                  </a:lnTo>
                  <a:lnTo>
                    <a:pt x="439900" y="994991"/>
                  </a:lnTo>
                  <a:lnTo>
                    <a:pt x="444863" y="1008972"/>
                  </a:lnTo>
                  <a:lnTo>
                    <a:pt x="454920" y="1023981"/>
                  </a:lnTo>
                  <a:lnTo>
                    <a:pt x="459361" y="1052971"/>
                  </a:lnTo>
                  <a:lnTo>
                    <a:pt x="459361" y="1072482"/>
                  </a:lnTo>
                  <a:lnTo>
                    <a:pt x="464389" y="1082435"/>
                  </a:lnTo>
                  <a:lnTo>
                    <a:pt x="468896" y="1101472"/>
                  </a:lnTo>
                  <a:lnTo>
                    <a:pt x="474381" y="1120904"/>
                  </a:lnTo>
                  <a:lnTo>
                    <a:pt x="478887" y="1130936"/>
                  </a:lnTo>
                  <a:lnTo>
                    <a:pt x="478887" y="1135439"/>
                  </a:lnTo>
                  <a:lnTo>
                    <a:pt x="483916" y="1144918"/>
                  </a:lnTo>
                  <a:lnTo>
                    <a:pt x="488422" y="1154950"/>
                  </a:lnTo>
                  <a:lnTo>
                    <a:pt x="493908" y="1154950"/>
                  </a:lnTo>
                  <a:lnTo>
                    <a:pt x="493908" y="1159927"/>
                  </a:lnTo>
                  <a:lnTo>
                    <a:pt x="498936" y="1164429"/>
                  </a:lnTo>
                  <a:lnTo>
                    <a:pt x="508928" y="1169959"/>
                  </a:lnTo>
                  <a:lnTo>
                    <a:pt x="518463" y="1174382"/>
                  </a:lnTo>
                  <a:lnTo>
                    <a:pt x="522969" y="1183940"/>
                  </a:lnTo>
                  <a:lnTo>
                    <a:pt x="532438" y="1188917"/>
                  </a:lnTo>
                  <a:lnTo>
                    <a:pt x="532438" y="1193893"/>
                  </a:lnTo>
                  <a:lnTo>
                    <a:pt x="537989" y="1193893"/>
                  </a:lnTo>
                  <a:lnTo>
                    <a:pt x="537989" y="1188917"/>
                  </a:lnTo>
                  <a:lnTo>
                    <a:pt x="513434" y="1159927"/>
                  </a:lnTo>
                  <a:lnTo>
                    <a:pt x="508928" y="1154950"/>
                  </a:lnTo>
                  <a:lnTo>
                    <a:pt x="518463" y="1159927"/>
                  </a:lnTo>
                  <a:lnTo>
                    <a:pt x="542495" y="1169959"/>
                  </a:lnTo>
                  <a:lnTo>
                    <a:pt x="547458" y="1179438"/>
                  </a:lnTo>
                  <a:lnTo>
                    <a:pt x="551964" y="1179438"/>
                  </a:lnTo>
                  <a:lnTo>
                    <a:pt x="551964" y="1174382"/>
                  </a:lnTo>
                  <a:lnTo>
                    <a:pt x="542495" y="1169959"/>
                  </a:lnTo>
                  <a:lnTo>
                    <a:pt x="532438" y="1159927"/>
                  </a:lnTo>
                  <a:lnTo>
                    <a:pt x="518463" y="1154950"/>
                  </a:lnTo>
                  <a:lnTo>
                    <a:pt x="513434" y="1154950"/>
                  </a:lnTo>
                  <a:lnTo>
                    <a:pt x="508928" y="1150448"/>
                  </a:lnTo>
                  <a:lnTo>
                    <a:pt x="503442" y="1144918"/>
                  </a:lnTo>
                  <a:lnTo>
                    <a:pt x="498936" y="1135439"/>
                  </a:lnTo>
                  <a:lnTo>
                    <a:pt x="498936" y="1130936"/>
                  </a:lnTo>
                  <a:lnTo>
                    <a:pt x="493908" y="1115928"/>
                  </a:lnTo>
                  <a:lnTo>
                    <a:pt x="488422" y="1101472"/>
                  </a:lnTo>
                  <a:lnTo>
                    <a:pt x="488422" y="1096417"/>
                  </a:lnTo>
                  <a:lnTo>
                    <a:pt x="488422" y="1086938"/>
                  </a:lnTo>
                  <a:lnTo>
                    <a:pt x="488422" y="1076985"/>
                  </a:lnTo>
                  <a:lnTo>
                    <a:pt x="478887" y="1063003"/>
                  </a:lnTo>
                  <a:lnTo>
                    <a:pt x="478887" y="1047995"/>
                  </a:lnTo>
                  <a:lnTo>
                    <a:pt x="478887" y="1023981"/>
                  </a:lnTo>
                  <a:lnTo>
                    <a:pt x="474381" y="999493"/>
                  </a:lnTo>
                  <a:lnTo>
                    <a:pt x="476993" y="1000023"/>
                  </a:lnTo>
                  <a:lnTo>
                    <a:pt x="476993" y="998374"/>
                  </a:lnTo>
                  <a:lnTo>
                    <a:pt x="475668" y="998076"/>
                  </a:lnTo>
                  <a:lnTo>
                    <a:pt x="470140" y="978550"/>
                  </a:lnTo>
                  <a:lnTo>
                    <a:pt x="465660" y="954995"/>
                  </a:lnTo>
                  <a:lnTo>
                    <a:pt x="460656" y="945005"/>
                  </a:lnTo>
                  <a:lnTo>
                    <a:pt x="456176" y="935469"/>
                  </a:lnTo>
                  <a:lnTo>
                    <a:pt x="450647" y="929963"/>
                  </a:lnTo>
                  <a:lnTo>
                    <a:pt x="450647" y="920484"/>
                  </a:lnTo>
                  <a:lnTo>
                    <a:pt x="441163" y="910495"/>
                  </a:lnTo>
                  <a:lnTo>
                    <a:pt x="421670" y="890969"/>
                  </a:lnTo>
                  <a:lnTo>
                    <a:pt x="406658" y="886428"/>
                  </a:lnTo>
                  <a:lnTo>
                    <a:pt x="402130" y="881433"/>
                  </a:lnTo>
                  <a:lnTo>
                    <a:pt x="402130" y="876949"/>
                  </a:lnTo>
                  <a:lnTo>
                    <a:pt x="397126" y="871954"/>
                  </a:lnTo>
                  <a:lnTo>
                    <a:pt x="387117" y="871954"/>
                  </a:lnTo>
                  <a:lnTo>
                    <a:pt x="377633" y="861908"/>
                  </a:lnTo>
                  <a:lnTo>
                    <a:pt x="377633" y="857424"/>
                  </a:lnTo>
                  <a:lnTo>
                    <a:pt x="373153" y="857424"/>
                  </a:lnTo>
                  <a:lnTo>
                    <a:pt x="373153" y="847888"/>
                  </a:lnTo>
                  <a:lnTo>
                    <a:pt x="363145" y="842382"/>
                  </a:lnTo>
                  <a:lnTo>
                    <a:pt x="367625" y="837898"/>
                  </a:lnTo>
                  <a:lnTo>
                    <a:pt x="363145" y="832903"/>
                  </a:lnTo>
                  <a:lnTo>
                    <a:pt x="353613" y="832903"/>
                  </a:lnTo>
                  <a:lnTo>
                    <a:pt x="348609" y="828362"/>
                  </a:lnTo>
                  <a:lnTo>
                    <a:pt x="338648" y="822856"/>
                  </a:lnTo>
                  <a:lnTo>
                    <a:pt x="319107" y="808837"/>
                  </a:lnTo>
                  <a:lnTo>
                    <a:pt x="314103" y="808837"/>
                  </a:lnTo>
                  <a:lnTo>
                    <a:pt x="299615" y="798847"/>
                  </a:lnTo>
                  <a:lnTo>
                    <a:pt x="294611" y="798847"/>
                  </a:lnTo>
                  <a:lnTo>
                    <a:pt x="290131" y="803331"/>
                  </a:lnTo>
                  <a:lnTo>
                    <a:pt x="284602" y="803331"/>
                  </a:lnTo>
                  <a:lnTo>
                    <a:pt x="280122" y="789368"/>
                  </a:lnTo>
                  <a:lnTo>
                    <a:pt x="275118" y="783862"/>
                  </a:lnTo>
                  <a:lnTo>
                    <a:pt x="280122" y="740781"/>
                  </a:lnTo>
                  <a:lnTo>
                    <a:pt x="275118" y="735275"/>
                  </a:lnTo>
                  <a:lnTo>
                    <a:pt x="294611" y="735275"/>
                  </a:lnTo>
                  <a:lnTo>
                    <a:pt x="304142" y="730791"/>
                  </a:lnTo>
                  <a:lnTo>
                    <a:pt x="314103" y="730791"/>
                  </a:lnTo>
                  <a:lnTo>
                    <a:pt x="319107" y="735275"/>
                  </a:lnTo>
                  <a:lnTo>
                    <a:pt x="314103" y="740781"/>
                  </a:lnTo>
                  <a:lnTo>
                    <a:pt x="323635" y="740781"/>
                  </a:lnTo>
                  <a:lnTo>
                    <a:pt x="329116" y="735275"/>
                  </a:lnTo>
                  <a:lnTo>
                    <a:pt x="323635" y="730791"/>
                  </a:lnTo>
                  <a:lnTo>
                    <a:pt x="323635" y="725796"/>
                  </a:lnTo>
                  <a:lnTo>
                    <a:pt x="319107" y="721255"/>
                  </a:lnTo>
                  <a:lnTo>
                    <a:pt x="309623" y="715749"/>
                  </a:lnTo>
                  <a:lnTo>
                    <a:pt x="309623" y="711265"/>
                  </a:lnTo>
                  <a:lnTo>
                    <a:pt x="329116" y="706270"/>
                  </a:lnTo>
                  <a:lnTo>
                    <a:pt x="333644" y="701730"/>
                  </a:lnTo>
                  <a:lnTo>
                    <a:pt x="338648" y="691740"/>
                  </a:lnTo>
                  <a:lnTo>
                    <a:pt x="343128" y="691740"/>
                  </a:lnTo>
                  <a:lnTo>
                    <a:pt x="348609" y="682204"/>
                  </a:lnTo>
                  <a:lnTo>
                    <a:pt x="348609" y="667219"/>
                  </a:lnTo>
                  <a:lnTo>
                    <a:pt x="348609" y="662678"/>
                  </a:lnTo>
                  <a:lnTo>
                    <a:pt x="343128" y="662678"/>
                  </a:lnTo>
                  <a:lnTo>
                    <a:pt x="343128" y="657683"/>
                  </a:lnTo>
                  <a:lnTo>
                    <a:pt x="353613" y="657683"/>
                  </a:lnTo>
                  <a:lnTo>
                    <a:pt x="353613" y="653199"/>
                  </a:lnTo>
                  <a:lnTo>
                    <a:pt x="353613" y="647694"/>
                  </a:lnTo>
                  <a:lnTo>
                    <a:pt x="348609" y="647694"/>
                  </a:lnTo>
                  <a:lnTo>
                    <a:pt x="348609" y="638158"/>
                  </a:lnTo>
                  <a:lnTo>
                    <a:pt x="343128" y="628168"/>
                  </a:lnTo>
                  <a:lnTo>
                    <a:pt x="348609" y="628168"/>
                  </a:lnTo>
                  <a:lnTo>
                    <a:pt x="358140" y="628168"/>
                  </a:lnTo>
                  <a:lnTo>
                    <a:pt x="363145" y="623684"/>
                  </a:lnTo>
                  <a:lnTo>
                    <a:pt x="358140" y="614148"/>
                  </a:lnTo>
                  <a:lnTo>
                    <a:pt x="358140" y="599163"/>
                  </a:lnTo>
                  <a:lnTo>
                    <a:pt x="348609" y="594623"/>
                  </a:lnTo>
                  <a:lnTo>
                    <a:pt x="343128" y="575097"/>
                  </a:lnTo>
                  <a:lnTo>
                    <a:pt x="338648" y="570102"/>
                  </a:lnTo>
                  <a:lnTo>
                    <a:pt x="333644" y="575097"/>
                  </a:lnTo>
                  <a:lnTo>
                    <a:pt x="329116" y="570102"/>
                  </a:lnTo>
                  <a:lnTo>
                    <a:pt x="323635" y="565107"/>
                  </a:lnTo>
                  <a:lnTo>
                    <a:pt x="323635" y="555571"/>
                  </a:lnTo>
                  <a:lnTo>
                    <a:pt x="314103" y="546092"/>
                  </a:lnTo>
                  <a:lnTo>
                    <a:pt x="314103" y="540587"/>
                  </a:lnTo>
                  <a:lnTo>
                    <a:pt x="304142" y="546092"/>
                  </a:lnTo>
                  <a:lnTo>
                    <a:pt x="294611" y="536046"/>
                  </a:lnTo>
                  <a:lnTo>
                    <a:pt x="299615" y="521061"/>
                  </a:lnTo>
                  <a:lnTo>
                    <a:pt x="309623" y="521061"/>
                  </a:lnTo>
                  <a:lnTo>
                    <a:pt x="304142" y="511525"/>
                  </a:lnTo>
                  <a:lnTo>
                    <a:pt x="309623" y="507041"/>
                  </a:lnTo>
                  <a:lnTo>
                    <a:pt x="319107" y="501535"/>
                  </a:lnTo>
                  <a:lnTo>
                    <a:pt x="333644" y="492000"/>
                  </a:lnTo>
                  <a:lnTo>
                    <a:pt x="333644" y="487516"/>
                  </a:lnTo>
                  <a:lnTo>
                    <a:pt x="343128" y="482010"/>
                  </a:lnTo>
                  <a:lnTo>
                    <a:pt x="338648" y="457489"/>
                  </a:lnTo>
                  <a:lnTo>
                    <a:pt x="338648" y="453005"/>
                  </a:lnTo>
                  <a:lnTo>
                    <a:pt x="358140" y="453005"/>
                  </a:lnTo>
                  <a:lnTo>
                    <a:pt x="363145" y="443470"/>
                  </a:lnTo>
                  <a:lnTo>
                    <a:pt x="367625" y="437964"/>
                  </a:lnTo>
                  <a:lnTo>
                    <a:pt x="397126" y="433480"/>
                  </a:lnTo>
                  <a:lnTo>
                    <a:pt x="402130" y="428485"/>
                  </a:lnTo>
                  <a:lnTo>
                    <a:pt x="406658" y="428485"/>
                  </a:lnTo>
                  <a:lnTo>
                    <a:pt x="412138" y="428485"/>
                  </a:lnTo>
                  <a:lnTo>
                    <a:pt x="412138" y="433480"/>
                  </a:lnTo>
                  <a:lnTo>
                    <a:pt x="406658" y="443470"/>
                  </a:lnTo>
                  <a:lnTo>
                    <a:pt x="402130" y="447954"/>
                  </a:lnTo>
                  <a:lnTo>
                    <a:pt x="412138" y="457489"/>
                  </a:lnTo>
                  <a:lnTo>
                    <a:pt x="421670" y="457489"/>
                  </a:lnTo>
                  <a:lnTo>
                    <a:pt x="426627" y="453005"/>
                  </a:lnTo>
                  <a:lnTo>
                    <a:pt x="431155" y="447954"/>
                  </a:lnTo>
                  <a:lnTo>
                    <a:pt x="441163" y="453005"/>
                  </a:lnTo>
                  <a:lnTo>
                    <a:pt x="446167" y="453005"/>
                  </a:lnTo>
                  <a:lnTo>
                    <a:pt x="446167" y="443470"/>
                  </a:lnTo>
                  <a:lnTo>
                    <a:pt x="456176" y="447954"/>
                  </a:lnTo>
                  <a:lnTo>
                    <a:pt x="460656" y="447954"/>
                  </a:lnTo>
                  <a:lnTo>
                    <a:pt x="460656" y="453005"/>
                  </a:lnTo>
                  <a:lnTo>
                    <a:pt x="470140" y="457489"/>
                  </a:lnTo>
                  <a:lnTo>
                    <a:pt x="480148" y="462995"/>
                  </a:lnTo>
                  <a:lnTo>
                    <a:pt x="489680" y="462995"/>
                  </a:lnTo>
                  <a:lnTo>
                    <a:pt x="495161" y="457489"/>
                  </a:lnTo>
                  <a:lnTo>
                    <a:pt x="500165" y="453005"/>
                  </a:lnTo>
                  <a:lnTo>
                    <a:pt x="509649" y="457489"/>
                  </a:lnTo>
                  <a:lnTo>
                    <a:pt x="519658" y="457489"/>
                  </a:lnTo>
                  <a:lnTo>
                    <a:pt x="524186" y="457489"/>
                  </a:lnTo>
                  <a:lnTo>
                    <a:pt x="524186" y="447954"/>
                  </a:lnTo>
                  <a:lnTo>
                    <a:pt x="533670" y="447954"/>
                  </a:lnTo>
                  <a:lnTo>
                    <a:pt x="539151" y="437964"/>
                  </a:lnTo>
                  <a:lnTo>
                    <a:pt x="548682" y="437964"/>
                  </a:lnTo>
                  <a:lnTo>
                    <a:pt x="558691" y="433480"/>
                  </a:lnTo>
                  <a:lnTo>
                    <a:pt x="563171" y="423944"/>
                  </a:lnTo>
                  <a:lnTo>
                    <a:pt x="553162" y="413954"/>
                  </a:lnTo>
                  <a:lnTo>
                    <a:pt x="543678" y="408959"/>
                  </a:lnTo>
                  <a:lnTo>
                    <a:pt x="539151" y="408959"/>
                  </a:lnTo>
                  <a:lnTo>
                    <a:pt x="533670" y="418438"/>
                  </a:lnTo>
                  <a:lnTo>
                    <a:pt x="529190" y="413954"/>
                  </a:lnTo>
                  <a:lnTo>
                    <a:pt x="529190" y="408959"/>
                  </a:lnTo>
                  <a:lnTo>
                    <a:pt x="524186" y="404418"/>
                  </a:lnTo>
                  <a:lnTo>
                    <a:pt x="529190" y="398912"/>
                  </a:lnTo>
                  <a:lnTo>
                    <a:pt x="533670" y="389433"/>
                  </a:lnTo>
                  <a:lnTo>
                    <a:pt x="539151" y="384892"/>
                  </a:lnTo>
                  <a:lnTo>
                    <a:pt x="533670" y="369908"/>
                  </a:lnTo>
                  <a:lnTo>
                    <a:pt x="533670" y="355888"/>
                  </a:lnTo>
                  <a:lnTo>
                    <a:pt x="529190" y="355888"/>
                  </a:lnTo>
                  <a:lnTo>
                    <a:pt x="529190" y="345841"/>
                  </a:lnTo>
                  <a:lnTo>
                    <a:pt x="543678" y="345841"/>
                  </a:lnTo>
                  <a:lnTo>
                    <a:pt x="543678" y="336362"/>
                  </a:lnTo>
                  <a:lnTo>
                    <a:pt x="543678" y="326372"/>
                  </a:lnTo>
                  <a:lnTo>
                    <a:pt x="539151" y="326372"/>
                  </a:lnTo>
                  <a:lnTo>
                    <a:pt x="533670" y="316837"/>
                  </a:lnTo>
                  <a:lnTo>
                    <a:pt x="539151" y="311331"/>
                  </a:lnTo>
                  <a:lnTo>
                    <a:pt x="533670" y="301795"/>
                  </a:lnTo>
                  <a:lnTo>
                    <a:pt x="539151" y="292316"/>
                  </a:lnTo>
                  <a:lnTo>
                    <a:pt x="533670" y="282326"/>
                  </a:lnTo>
                  <a:lnTo>
                    <a:pt x="524186" y="282326"/>
                  </a:lnTo>
                  <a:lnTo>
                    <a:pt x="524186" y="277786"/>
                  </a:lnTo>
                  <a:lnTo>
                    <a:pt x="533670" y="272791"/>
                  </a:lnTo>
                  <a:lnTo>
                    <a:pt x="529190" y="268307"/>
                  </a:lnTo>
                  <a:lnTo>
                    <a:pt x="524186" y="262801"/>
                  </a:lnTo>
                  <a:lnTo>
                    <a:pt x="519658" y="258260"/>
                  </a:lnTo>
                  <a:lnTo>
                    <a:pt x="524186" y="248781"/>
                  </a:lnTo>
                  <a:lnTo>
                    <a:pt x="519658" y="233739"/>
                  </a:lnTo>
                  <a:lnTo>
                    <a:pt x="514177" y="233739"/>
                  </a:lnTo>
                  <a:lnTo>
                    <a:pt x="509649" y="219209"/>
                  </a:lnTo>
                  <a:lnTo>
                    <a:pt x="509649" y="223750"/>
                  </a:lnTo>
                  <a:lnTo>
                    <a:pt x="500165" y="219209"/>
                  </a:lnTo>
                  <a:lnTo>
                    <a:pt x="504645" y="199740"/>
                  </a:lnTo>
                  <a:lnTo>
                    <a:pt x="504645" y="194688"/>
                  </a:lnTo>
                  <a:lnTo>
                    <a:pt x="514177" y="190204"/>
                  </a:lnTo>
                  <a:lnTo>
                    <a:pt x="509649" y="180214"/>
                  </a:lnTo>
                  <a:lnTo>
                    <a:pt x="489680" y="175163"/>
                  </a:lnTo>
                  <a:lnTo>
                    <a:pt x="485153" y="170679"/>
                  </a:lnTo>
                  <a:lnTo>
                    <a:pt x="480148" y="165684"/>
                  </a:lnTo>
                  <a:lnTo>
                    <a:pt x="475668" y="161200"/>
                  </a:lnTo>
                  <a:lnTo>
                    <a:pt x="475668" y="155694"/>
                  </a:lnTo>
                  <a:lnTo>
                    <a:pt x="470140" y="146158"/>
                  </a:lnTo>
                  <a:lnTo>
                    <a:pt x="465660" y="146158"/>
                  </a:lnTo>
                  <a:lnTo>
                    <a:pt x="470140" y="131627"/>
                  </a:lnTo>
                  <a:lnTo>
                    <a:pt x="470140" y="126632"/>
                  </a:lnTo>
                  <a:lnTo>
                    <a:pt x="465660" y="126632"/>
                  </a:lnTo>
                  <a:lnTo>
                    <a:pt x="465660" y="122148"/>
                  </a:lnTo>
                  <a:lnTo>
                    <a:pt x="460656" y="116643"/>
                  </a:lnTo>
                  <a:lnTo>
                    <a:pt x="446167" y="112102"/>
                  </a:lnTo>
                  <a:lnTo>
                    <a:pt x="450647" y="107107"/>
                  </a:lnTo>
                  <a:lnTo>
                    <a:pt x="450647" y="102623"/>
                  </a:lnTo>
                  <a:lnTo>
                    <a:pt x="441163" y="102623"/>
                  </a:lnTo>
                  <a:lnTo>
                    <a:pt x="441163" y="97628"/>
                  </a:lnTo>
                  <a:lnTo>
                    <a:pt x="456176" y="102623"/>
                  </a:lnTo>
                  <a:lnTo>
                    <a:pt x="460656" y="97628"/>
                  </a:lnTo>
                  <a:lnTo>
                    <a:pt x="460656" y="92576"/>
                  </a:lnTo>
                  <a:lnTo>
                    <a:pt x="475668" y="87581"/>
                  </a:lnTo>
                  <a:lnTo>
                    <a:pt x="485153" y="83097"/>
                  </a:lnTo>
                  <a:lnTo>
                    <a:pt x="500165" y="87581"/>
                  </a:lnTo>
                  <a:lnTo>
                    <a:pt x="509649" y="92576"/>
                  </a:lnTo>
                  <a:lnTo>
                    <a:pt x="514177" y="87581"/>
                  </a:lnTo>
                  <a:lnTo>
                    <a:pt x="524186" y="92576"/>
                  </a:lnTo>
                  <a:lnTo>
                    <a:pt x="524186" y="87581"/>
                  </a:lnTo>
                  <a:lnTo>
                    <a:pt x="529190" y="87581"/>
                  </a:lnTo>
                  <a:lnTo>
                    <a:pt x="543678" y="87581"/>
                  </a:lnTo>
                  <a:lnTo>
                    <a:pt x="543678" y="92576"/>
                  </a:lnTo>
                  <a:lnTo>
                    <a:pt x="553162" y="87581"/>
                  </a:lnTo>
                  <a:lnTo>
                    <a:pt x="558691" y="83097"/>
                  </a:lnTo>
                  <a:lnTo>
                    <a:pt x="568175" y="73561"/>
                  </a:lnTo>
                  <a:lnTo>
                    <a:pt x="578184" y="73561"/>
                  </a:lnTo>
                  <a:lnTo>
                    <a:pt x="573179" y="63572"/>
                  </a:lnTo>
                  <a:lnTo>
                    <a:pt x="573179" y="54036"/>
                  </a:lnTo>
                  <a:lnTo>
                    <a:pt x="587668" y="44046"/>
                  </a:lnTo>
                  <a:lnTo>
                    <a:pt x="607160" y="44046"/>
                  </a:lnTo>
                  <a:lnTo>
                    <a:pt x="607160" y="48530"/>
                  </a:lnTo>
                  <a:lnTo>
                    <a:pt x="597200" y="54036"/>
                  </a:lnTo>
                  <a:lnTo>
                    <a:pt x="597200" y="58577"/>
                  </a:lnTo>
                  <a:lnTo>
                    <a:pt x="607160" y="54036"/>
                  </a:lnTo>
                  <a:lnTo>
                    <a:pt x="631705" y="48530"/>
                  </a:lnTo>
                  <a:lnTo>
                    <a:pt x="631705" y="39051"/>
                  </a:lnTo>
                  <a:lnTo>
                    <a:pt x="641713" y="44046"/>
                  </a:lnTo>
                  <a:lnTo>
                    <a:pt x="646670" y="39051"/>
                  </a:lnTo>
                  <a:lnTo>
                    <a:pt x="651198" y="44046"/>
                  </a:lnTo>
                  <a:lnTo>
                    <a:pt x="666210" y="39051"/>
                  </a:lnTo>
                  <a:lnTo>
                    <a:pt x="685703" y="34510"/>
                  </a:lnTo>
                  <a:lnTo>
                    <a:pt x="695187" y="34510"/>
                  </a:lnTo>
                  <a:lnTo>
                    <a:pt x="699715" y="39051"/>
                  </a:lnTo>
                  <a:lnTo>
                    <a:pt x="709723" y="34510"/>
                  </a:lnTo>
                  <a:lnTo>
                    <a:pt x="729693" y="39051"/>
                  </a:lnTo>
                  <a:lnTo>
                    <a:pt x="724688" y="44046"/>
                  </a:lnTo>
                  <a:lnTo>
                    <a:pt x="719684" y="44046"/>
                  </a:lnTo>
                  <a:lnTo>
                    <a:pt x="714728" y="54036"/>
                  </a:lnTo>
                  <a:lnTo>
                    <a:pt x="719684" y="58577"/>
                  </a:lnTo>
                  <a:lnTo>
                    <a:pt x="719684" y="54036"/>
                  </a:lnTo>
                  <a:lnTo>
                    <a:pt x="729693" y="63572"/>
                  </a:lnTo>
                  <a:lnTo>
                    <a:pt x="739225" y="58577"/>
                  </a:lnTo>
                  <a:lnTo>
                    <a:pt x="743704" y="48530"/>
                  </a:lnTo>
                  <a:lnTo>
                    <a:pt x="743704" y="44046"/>
                  </a:lnTo>
                  <a:lnTo>
                    <a:pt x="749233" y="39051"/>
                  </a:lnTo>
                  <a:lnTo>
                    <a:pt x="753713" y="44046"/>
                  </a:lnTo>
                  <a:lnTo>
                    <a:pt x="768726" y="44046"/>
                  </a:lnTo>
                  <a:lnTo>
                    <a:pt x="768726" y="29004"/>
                  </a:lnTo>
                  <a:lnTo>
                    <a:pt x="778210" y="9536"/>
                  </a:lnTo>
                  <a:close/>
                </a:path>
              </a:pathLst>
            </a:custGeom>
            <a:solidFill>
              <a:srgbClr val="E11A81">
                <a:lumMod val="20000"/>
                <a:lumOff val="80000"/>
              </a:srgbClr>
            </a:solidFill>
            <a:ln w="6350" cap="flat" cmpd="sng" algn="ctr">
              <a:solidFill>
                <a:sysClr val="window" lastClr="FFFFFF"/>
              </a:solidFill>
              <a:prstDash val="solid"/>
              <a:miter lim="800000"/>
            </a:ln>
            <a:effectLst/>
          </p:spPr>
          <p:txBody>
            <a:bodyPr rot="0" spcFirstLastPara="0" vert="horz" wrap="square" lIns="58652" tIns="29326" rIns="58652" bIns="2932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586496">
                <a:defRPr/>
              </a:pPr>
              <a:endParaRPr lang="fr-FR" sz="1400">
                <a:solidFill>
                  <a:srgbClr val="FFFFFF"/>
                </a:solidFill>
                <a:latin typeface="Helvetica Neue"/>
              </a:endParaRPr>
            </a:p>
          </p:txBody>
        </p:sp>
        <p:sp>
          <p:nvSpPr>
            <p:cNvPr id="54" name="Forme libre 14">
              <a:extLst>
                <a:ext uri="{FF2B5EF4-FFF2-40B4-BE49-F238E27FC236}">
                  <a16:creationId xmlns:a16="http://schemas.microsoft.com/office/drawing/2014/main" id="{6B2D9246-C1D3-444C-A057-7F81EC80A10A}"/>
                </a:ext>
              </a:extLst>
            </p:cNvPr>
            <p:cNvSpPr/>
            <p:nvPr/>
          </p:nvSpPr>
          <p:spPr>
            <a:xfrm>
              <a:off x="3395318" y="4357221"/>
              <a:ext cx="287131" cy="202497"/>
            </a:xfrm>
            <a:custGeom>
              <a:avLst/>
              <a:gdLst>
                <a:gd name="connsiteX0" fmla="*/ 758191 w 2068442"/>
                <a:gd name="connsiteY0" fmla="*/ 0 h 1480687"/>
                <a:gd name="connsiteX1" fmla="*/ 767742 w 2068442"/>
                <a:gd name="connsiteY1" fmla="*/ 0 h 1480687"/>
                <a:gd name="connsiteX2" fmla="*/ 767742 w 2068442"/>
                <a:gd name="connsiteY2" fmla="*/ 9473 h 1480687"/>
                <a:gd name="connsiteX3" fmla="*/ 772214 w 2068442"/>
                <a:gd name="connsiteY3" fmla="*/ 9473 h 1480687"/>
                <a:gd name="connsiteX4" fmla="*/ 777216 w 2068442"/>
                <a:gd name="connsiteY4" fmla="*/ 0 h 1480687"/>
                <a:gd name="connsiteX5" fmla="*/ 792224 w 2068442"/>
                <a:gd name="connsiteY5" fmla="*/ 5007 h 1480687"/>
                <a:gd name="connsiteX6" fmla="*/ 802229 w 2068442"/>
                <a:gd name="connsiteY6" fmla="*/ 9473 h 1480687"/>
                <a:gd name="connsiteX7" fmla="*/ 806777 w 2068442"/>
                <a:gd name="connsiteY7" fmla="*/ 9473 h 1480687"/>
                <a:gd name="connsiteX8" fmla="*/ 816251 w 2068442"/>
                <a:gd name="connsiteY8" fmla="*/ 24496 h 1480687"/>
                <a:gd name="connsiteX9" fmla="*/ 821785 w 2068442"/>
                <a:gd name="connsiteY9" fmla="*/ 24496 h 1480687"/>
                <a:gd name="connsiteX10" fmla="*/ 826257 w 2068442"/>
                <a:gd name="connsiteY10" fmla="*/ 29029 h 1480687"/>
                <a:gd name="connsiteX11" fmla="*/ 831259 w 2068442"/>
                <a:gd name="connsiteY11" fmla="*/ 29029 h 1480687"/>
                <a:gd name="connsiteX12" fmla="*/ 831259 w 2068442"/>
                <a:gd name="connsiteY12" fmla="*/ 44052 h 1480687"/>
                <a:gd name="connsiteX13" fmla="*/ 835807 w 2068442"/>
                <a:gd name="connsiteY13" fmla="*/ 44052 h 1480687"/>
                <a:gd name="connsiteX14" fmla="*/ 845812 w 2068442"/>
                <a:gd name="connsiteY14" fmla="*/ 48518 h 1480687"/>
                <a:gd name="connsiteX15" fmla="*/ 845812 w 2068442"/>
                <a:gd name="connsiteY15" fmla="*/ 58533 h 1480687"/>
                <a:gd name="connsiteX16" fmla="*/ 855287 w 2068442"/>
                <a:gd name="connsiteY16" fmla="*/ 68074 h 1480687"/>
                <a:gd name="connsiteX17" fmla="*/ 860289 w 2068442"/>
                <a:gd name="connsiteY17" fmla="*/ 58533 h 1480687"/>
                <a:gd name="connsiteX18" fmla="*/ 865822 w 2068442"/>
                <a:gd name="connsiteY18" fmla="*/ 63540 h 1480687"/>
                <a:gd name="connsiteX19" fmla="*/ 875297 w 2068442"/>
                <a:gd name="connsiteY19" fmla="*/ 63540 h 1480687"/>
                <a:gd name="connsiteX20" fmla="*/ 875297 w 2068442"/>
                <a:gd name="connsiteY20" fmla="*/ 58533 h 1480687"/>
                <a:gd name="connsiteX21" fmla="*/ 885302 w 2068442"/>
                <a:gd name="connsiteY21" fmla="*/ 58533 h 1480687"/>
                <a:gd name="connsiteX22" fmla="*/ 885302 w 2068442"/>
                <a:gd name="connsiteY22" fmla="*/ 54067 h 1480687"/>
                <a:gd name="connsiteX23" fmla="*/ 899325 w 2068442"/>
                <a:gd name="connsiteY23" fmla="*/ 48518 h 1480687"/>
                <a:gd name="connsiteX24" fmla="*/ 909330 w 2068442"/>
                <a:gd name="connsiteY24" fmla="*/ 39044 h 1480687"/>
                <a:gd name="connsiteX25" fmla="*/ 918880 w 2068442"/>
                <a:gd name="connsiteY25" fmla="*/ 39044 h 1480687"/>
                <a:gd name="connsiteX26" fmla="*/ 918880 w 2068442"/>
                <a:gd name="connsiteY26" fmla="*/ 44052 h 1480687"/>
                <a:gd name="connsiteX27" fmla="*/ 923883 w 2068442"/>
                <a:gd name="connsiteY27" fmla="*/ 48518 h 1480687"/>
                <a:gd name="connsiteX28" fmla="*/ 943362 w 2068442"/>
                <a:gd name="connsiteY28" fmla="*/ 39044 h 1480687"/>
                <a:gd name="connsiteX29" fmla="*/ 953367 w 2068442"/>
                <a:gd name="connsiteY29" fmla="*/ 39044 h 1480687"/>
                <a:gd name="connsiteX30" fmla="*/ 962918 w 2068442"/>
                <a:gd name="connsiteY30" fmla="*/ 34511 h 1480687"/>
                <a:gd name="connsiteX31" fmla="*/ 972923 w 2068442"/>
                <a:gd name="connsiteY31" fmla="*/ 39044 h 1480687"/>
                <a:gd name="connsiteX32" fmla="*/ 972923 w 2068442"/>
                <a:gd name="connsiteY32" fmla="*/ 54067 h 1480687"/>
                <a:gd name="connsiteX33" fmla="*/ 977925 w 2068442"/>
                <a:gd name="connsiteY33" fmla="*/ 58533 h 1480687"/>
                <a:gd name="connsiteX34" fmla="*/ 987930 w 2068442"/>
                <a:gd name="connsiteY34" fmla="*/ 73555 h 1480687"/>
                <a:gd name="connsiteX35" fmla="*/ 977925 w 2068442"/>
                <a:gd name="connsiteY35" fmla="*/ 78021 h 1480687"/>
                <a:gd name="connsiteX36" fmla="*/ 982397 w 2068442"/>
                <a:gd name="connsiteY36" fmla="*/ 92570 h 1480687"/>
                <a:gd name="connsiteX37" fmla="*/ 987930 w 2068442"/>
                <a:gd name="connsiteY37" fmla="*/ 107051 h 1480687"/>
                <a:gd name="connsiteX38" fmla="*/ 997405 w 2068442"/>
                <a:gd name="connsiteY38" fmla="*/ 112058 h 1480687"/>
                <a:gd name="connsiteX39" fmla="*/ 997405 w 2068442"/>
                <a:gd name="connsiteY39" fmla="*/ 122073 h 1480687"/>
                <a:gd name="connsiteX40" fmla="*/ 1001953 w 2068442"/>
                <a:gd name="connsiteY40" fmla="*/ 126607 h 1480687"/>
                <a:gd name="connsiteX41" fmla="*/ 1006955 w 2068442"/>
                <a:gd name="connsiteY41" fmla="*/ 126607 h 1480687"/>
                <a:gd name="connsiteX42" fmla="*/ 1006955 w 2068442"/>
                <a:gd name="connsiteY42" fmla="*/ 136080 h 1480687"/>
                <a:gd name="connsiteX43" fmla="*/ 1012489 w 2068442"/>
                <a:gd name="connsiteY43" fmla="*/ 136080 h 1480687"/>
                <a:gd name="connsiteX44" fmla="*/ 1012489 w 2068442"/>
                <a:gd name="connsiteY44" fmla="*/ 141561 h 1480687"/>
                <a:gd name="connsiteX45" fmla="*/ 1012489 w 2068442"/>
                <a:gd name="connsiteY45" fmla="*/ 146095 h 1480687"/>
                <a:gd name="connsiteX46" fmla="*/ 1001953 w 2068442"/>
                <a:gd name="connsiteY46" fmla="*/ 151103 h 1480687"/>
                <a:gd name="connsiteX47" fmla="*/ 1001953 w 2068442"/>
                <a:gd name="connsiteY47" fmla="*/ 161118 h 1480687"/>
                <a:gd name="connsiteX48" fmla="*/ 1001953 w 2068442"/>
                <a:gd name="connsiteY48" fmla="*/ 180132 h 1480687"/>
                <a:gd name="connsiteX49" fmla="*/ 997405 w 2068442"/>
                <a:gd name="connsiteY49" fmla="*/ 185140 h 1480687"/>
                <a:gd name="connsiteX50" fmla="*/ 992402 w 2068442"/>
                <a:gd name="connsiteY50" fmla="*/ 190147 h 1480687"/>
                <a:gd name="connsiteX51" fmla="*/ 997405 w 2068442"/>
                <a:gd name="connsiteY51" fmla="*/ 194613 h 1480687"/>
                <a:gd name="connsiteX52" fmla="*/ 1006955 w 2068442"/>
                <a:gd name="connsiteY52" fmla="*/ 190147 h 1480687"/>
                <a:gd name="connsiteX53" fmla="*/ 1012489 w 2068442"/>
                <a:gd name="connsiteY53" fmla="*/ 204154 h 1480687"/>
                <a:gd name="connsiteX54" fmla="*/ 1012489 w 2068442"/>
                <a:gd name="connsiteY54" fmla="*/ 214169 h 1480687"/>
                <a:gd name="connsiteX55" fmla="*/ 1012489 w 2068442"/>
                <a:gd name="connsiteY55" fmla="*/ 223643 h 1480687"/>
                <a:gd name="connsiteX56" fmla="*/ 1021963 w 2068442"/>
                <a:gd name="connsiteY56" fmla="*/ 233658 h 1480687"/>
                <a:gd name="connsiteX57" fmla="*/ 1031968 w 2068442"/>
                <a:gd name="connsiteY57" fmla="*/ 233658 h 1480687"/>
                <a:gd name="connsiteX58" fmla="*/ 1026435 w 2068442"/>
                <a:gd name="connsiteY58" fmla="*/ 219109 h 1480687"/>
                <a:gd name="connsiteX59" fmla="*/ 1036440 w 2068442"/>
                <a:gd name="connsiteY59" fmla="*/ 214169 h 1480687"/>
                <a:gd name="connsiteX60" fmla="*/ 1041519 w 2068442"/>
                <a:gd name="connsiteY60" fmla="*/ 214169 h 1480687"/>
                <a:gd name="connsiteX61" fmla="*/ 1051524 w 2068442"/>
                <a:gd name="connsiteY61" fmla="*/ 209635 h 1480687"/>
                <a:gd name="connsiteX62" fmla="*/ 1070473 w 2068442"/>
                <a:gd name="connsiteY62" fmla="*/ 209635 h 1480687"/>
                <a:gd name="connsiteX63" fmla="*/ 1075551 w 2068442"/>
                <a:gd name="connsiteY63" fmla="*/ 209635 h 1480687"/>
                <a:gd name="connsiteX64" fmla="*/ 1075551 w 2068442"/>
                <a:gd name="connsiteY64" fmla="*/ 219109 h 1480687"/>
                <a:gd name="connsiteX65" fmla="*/ 1085556 w 2068442"/>
                <a:gd name="connsiteY65" fmla="*/ 219109 h 1480687"/>
                <a:gd name="connsiteX66" fmla="*/ 1095561 w 2068442"/>
                <a:gd name="connsiteY66" fmla="*/ 219109 h 1480687"/>
                <a:gd name="connsiteX67" fmla="*/ 1100033 w 2068442"/>
                <a:gd name="connsiteY67" fmla="*/ 219109 h 1480687"/>
                <a:gd name="connsiteX68" fmla="*/ 1115041 w 2068442"/>
                <a:gd name="connsiteY68" fmla="*/ 223643 h 1480687"/>
                <a:gd name="connsiteX69" fmla="*/ 1119589 w 2068442"/>
                <a:gd name="connsiteY69" fmla="*/ 219109 h 1480687"/>
                <a:gd name="connsiteX70" fmla="*/ 1124591 w 2068442"/>
                <a:gd name="connsiteY70" fmla="*/ 219109 h 1480687"/>
                <a:gd name="connsiteX71" fmla="*/ 1129063 w 2068442"/>
                <a:gd name="connsiteY71" fmla="*/ 214169 h 1480687"/>
                <a:gd name="connsiteX72" fmla="*/ 1134596 w 2068442"/>
                <a:gd name="connsiteY72" fmla="*/ 214169 h 1480687"/>
                <a:gd name="connsiteX73" fmla="*/ 1139068 w 2068442"/>
                <a:gd name="connsiteY73" fmla="*/ 194613 h 1480687"/>
                <a:gd name="connsiteX74" fmla="*/ 1144071 w 2068442"/>
                <a:gd name="connsiteY74" fmla="*/ 190147 h 1480687"/>
                <a:gd name="connsiteX75" fmla="*/ 1153621 w 2068442"/>
                <a:gd name="connsiteY75" fmla="*/ 185140 h 1480687"/>
                <a:gd name="connsiteX76" fmla="*/ 1159079 w 2068442"/>
                <a:gd name="connsiteY76" fmla="*/ 175125 h 1480687"/>
                <a:gd name="connsiteX77" fmla="*/ 1163627 w 2068442"/>
                <a:gd name="connsiteY77" fmla="*/ 170591 h 1480687"/>
                <a:gd name="connsiteX78" fmla="*/ 1159079 w 2068442"/>
                <a:gd name="connsiteY78" fmla="*/ 170591 h 1480687"/>
                <a:gd name="connsiteX79" fmla="*/ 1159079 w 2068442"/>
                <a:gd name="connsiteY79" fmla="*/ 161118 h 1480687"/>
                <a:gd name="connsiteX80" fmla="*/ 1163627 w 2068442"/>
                <a:gd name="connsiteY80" fmla="*/ 146095 h 1480687"/>
                <a:gd name="connsiteX81" fmla="*/ 1173101 w 2068442"/>
                <a:gd name="connsiteY81" fmla="*/ 146095 h 1480687"/>
                <a:gd name="connsiteX82" fmla="*/ 1178634 w 2068442"/>
                <a:gd name="connsiteY82" fmla="*/ 141561 h 1480687"/>
                <a:gd name="connsiteX83" fmla="*/ 1178634 w 2068442"/>
                <a:gd name="connsiteY83" fmla="*/ 122073 h 1480687"/>
                <a:gd name="connsiteX84" fmla="*/ 1183106 w 2068442"/>
                <a:gd name="connsiteY84" fmla="*/ 116592 h 1480687"/>
                <a:gd name="connsiteX85" fmla="*/ 1178634 w 2068442"/>
                <a:gd name="connsiteY85" fmla="*/ 112058 h 1480687"/>
                <a:gd name="connsiteX86" fmla="*/ 1192657 w 2068442"/>
                <a:gd name="connsiteY86" fmla="*/ 97577 h 1480687"/>
                <a:gd name="connsiteX87" fmla="*/ 1198114 w 2068442"/>
                <a:gd name="connsiteY87" fmla="*/ 97577 h 1480687"/>
                <a:gd name="connsiteX88" fmla="*/ 1207664 w 2068442"/>
                <a:gd name="connsiteY88" fmla="*/ 83029 h 1480687"/>
                <a:gd name="connsiteX89" fmla="*/ 1212136 w 2068442"/>
                <a:gd name="connsiteY89" fmla="*/ 78021 h 1480687"/>
                <a:gd name="connsiteX90" fmla="*/ 1217669 w 2068442"/>
                <a:gd name="connsiteY90" fmla="*/ 78021 h 1480687"/>
                <a:gd name="connsiteX91" fmla="*/ 1222141 w 2068442"/>
                <a:gd name="connsiteY91" fmla="*/ 63540 h 1480687"/>
                <a:gd name="connsiteX92" fmla="*/ 1227144 w 2068442"/>
                <a:gd name="connsiteY92" fmla="*/ 68074 h 1480687"/>
                <a:gd name="connsiteX93" fmla="*/ 1232146 w 2068442"/>
                <a:gd name="connsiteY93" fmla="*/ 58533 h 1480687"/>
                <a:gd name="connsiteX94" fmla="*/ 1246699 w 2068442"/>
                <a:gd name="connsiteY94" fmla="*/ 73555 h 1480687"/>
                <a:gd name="connsiteX95" fmla="*/ 1246699 w 2068442"/>
                <a:gd name="connsiteY95" fmla="*/ 87563 h 1480687"/>
                <a:gd name="connsiteX96" fmla="*/ 1242152 w 2068442"/>
                <a:gd name="connsiteY96" fmla="*/ 102585 h 1480687"/>
                <a:gd name="connsiteX97" fmla="*/ 1246699 w 2068442"/>
                <a:gd name="connsiteY97" fmla="*/ 107051 h 1480687"/>
                <a:gd name="connsiteX98" fmla="*/ 1256174 w 2068442"/>
                <a:gd name="connsiteY98" fmla="*/ 97577 h 1480687"/>
                <a:gd name="connsiteX99" fmla="*/ 1275729 w 2068442"/>
                <a:gd name="connsiteY99" fmla="*/ 92570 h 1480687"/>
                <a:gd name="connsiteX100" fmla="*/ 1281187 w 2068442"/>
                <a:gd name="connsiteY100" fmla="*/ 97577 h 1480687"/>
                <a:gd name="connsiteX101" fmla="*/ 1285735 w 2068442"/>
                <a:gd name="connsiteY101" fmla="*/ 136080 h 1480687"/>
                <a:gd name="connsiteX102" fmla="*/ 1290737 w 2068442"/>
                <a:gd name="connsiteY102" fmla="*/ 136080 h 1480687"/>
                <a:gd name="connsiteX103" fmla="*/ 1295209 w 2068442"/>
                <a:gd name="connsiteY103" fmla="*/ 146095 h 1480687"/>
                <a:gd name="connsiteX104" fmla="*/ 1300742 w 2068442"/>
                <a:gd name="connsiteY104" fmla="*/ 141561 h 1480687"/>
                <a:gd name="connsiteX105" fmla="*/ 1310217 w 2068442"/>
                <a:gd name="connsiteY105" fmla="*/ 146095 h 1480687"/>
                <a:gd name="connsiteX106" fmla="*/ 1305745 w 2068442"/>
                <a:gd name="connsiteY106" fmla="*/ 155569 h 1480687"/>
                <a:gd name="connsiteX107" fmla="*/ 1300742 w 2068442"/>
                <a:gd name="connsiteY107" fmla="*/ 151103 h 1480687"/>
                <a:gd name="connsiteX108" fmla="*/ 1300742 w 2068442"/>
                <a:gd name="connsiteY108" fmla="*/ 155569 h 1480687"/>
                <a:gd name="connsiteX109" fmla="*/ 1305745 w 2068442"/>
                <a:gd name="connsiteY109" fmla="*/ 165584 h 1480687"/>
                <a:gd name="connsiteX110" fmla="*/ 1300742 w 2068442"/>
                <a:gd name="connsiteY110" fmla="*/ 170591 h 1480687"/>
                <a:gd name="connsiteX111" fmla="*/ 1305745 w 2068442"/>
                <a:gd name="connsiteY111" fmla="*/ 180132 h 1480687"/>
                <a:gd name="connsiteX112" fmla="*/ 1310217 w 2068442"/>
                <a:gd name="connsiteY112" fmla="*/ 204154 h 1480687"/>
                <a:gd name="connsiteX113" fmla="*/ 1319767 w 2068442"/>
                <a:gd name="connsiteY113" fmla="*/ 214169 h 1480687"/>
                <a:gd name="connsiteX114" fmla="*/ 1319767 w 2068442"/>
                <a:gd name="connsiteY114" fmla="*/ 219109 h 1480687"/>
                <a:gd name="connsiteX115" fmla="*/ 1325224 w 2068442"/>
                <a:gd name="connsiteY115" fmla="*/ 219109 h 1480687"/>
                <a:gd name="connsiteX116" fmla="*/ 1325948 w 2068442"/>
                <a:gd name="connsiteY116" fmla="*/ 219830 h 1480687"/>
                <a:gd name="connsiteX117" fmla="*/ 1330182 w 2068442"/>
                <a:gd name="connsiteY117" fmla="*/ 210897 h 1480687"/>
                <a:gd name="connsiteX118" fmla="*/ 1339696 w 2068442"/>
                <a:gd name="connsiteY118" fmla="*/ 181863 h 1480687"/>
                <a:gd name="connsiteX119" fmla="*/ 1349712 w 2068442"/>
                <a:gd name="connsiteY119" fmla="*/ 181863 h 1480687"/>
                <a:gd name="connsiteX120" fmla="*/ 1345205 w 2068442"/>
                <a:gd name="connsiteY120" fmla="*/ 171849 h 1480687"/>
                <a:gd name="connsiteX121" fmla="*/ 1349712 w 2068442"/>
                <a:gd name="connsiteY121" fmla="*/ 156864 h 1480687"/>
                <a:gd name="connsiteX122" fmla="*/ 1354719 w 2068442"/>
                <a:gd name="connsiteY122" fmla="*/ 152397 h 1480687"/>
                <a:gd name="connsiteX123" fmla="*/ 1354719 w 2068442"/>
                <a:gd name="connsiteY123" fmla="*/ 147354 h 1480687"/>
                <a:gd name="connsiteX124" fmla="*/ 1349712 w 2068442"/>
                <a:gd name="connsiteY124" fmla="*/ 137844 h 1480687"/>
                <a:gd name="connsiteX125" fmla="*/ 1359226 w 2068442"/>
                <a:gd name="connsiteY125" fmla="*/ 123363 h 1480687"/>
                <a:gd name="connsiteX126" fmla="*/ 1364735 w 2068442"/>
                <a:gd name="connsiteY126" fmla="*/ 123363 h 1480687"/>
                <a:gd name="connsiteX127" fmla="*/ 1359226 w 2068442"/>
                <a:gd name="connsiteY127" fmla="*/ 118320 h 1480687"/>
                <a:gd name="connsiteX128" fmla="*/ 1369179 w 2068442"/>
                <a:gd name="connsiteY128" fmla="*/ 118320 h 1480687"/>
                <a:gd name="connsiteX129" fmla="*/ 1374187 w 2068442"/>
                <a:gd name="connsiteY129" fmla="*/ 118320 h 1480687"/>
                <a:gd name="connsiteX130" fmla="*/ 1374187 w 2068442"/>
                <a:gd name="connsiteY130" fmla="*/ 113853 h 1480687"/>
                <a:gd name="connsiteX131" fmla="*/ 1374187 w 2068442"/>
                <a:gd name="connsiteY131" fmla="*/ 103839 h 1480687"/>
                <a:gd name="connsiteX132" fmla="*/ 1374187 w 2068442"/>
                <a:gd name="connsiteY132" fmla="*/ 98868 h 1480687"/>
                <a:gd name="connsiteX133" fmla="*/ 1374187 w 2068442"/>
                <a:gd name="connsiteY133" fmla="*/ 88853 h 1480687"/>
                <a:gd name="connsiteX134" fmla="*/ 1383702 w 2068442"/>
                <a:gd name="connsiteY134" fmla="*/ 79343 h 1480687"/>
                <a:gd name="connsiteX135" fmla="*/ 1389210 w 2068442"/>
                <a:gd name="connsiteY135" fmla="*/ 79343 h 1480687"/>
                <a:gd name="connsiteX136" fmla="*/ 1393717 w 2068442"/>
                <a:gd name="connsiteY136" fmla="*/ 84315 h 1480687"/>
                <a:gd name="connsiteX137" fmla="*/ 1398725 w 2068442"/>
                <a:gd name="connsiteY137" fmla="*/ 88853 h 1480687"/>
                <a:gd name="connsiteX138" fmla="*/ 1403232 w 2068442"/>
                <a:gd name="connsiteY138" fmla="*/ 98868 h 1480687"/>
                <a:gd name="connsiteX139" fmla="*/ 1422699 w 2068442"/>
                <a:gd name="connsiteY139" fmla="*/ 88853 h 1480687"/>
                <a:gd name="connsiteX140" fmla="*/ 1428207 w 2068442"/>
                <a:gd name="connsiteY140" fmla="*/ 88853 h 1480687"/>
                <a:gd name="connsiteX141" fmla="*/ 1422699 w 2068442"/>
                <a:gd name="connsiteY141" fmla="*/ 74805 h 1480687"/>
                <a:gd name="connsiteX142" fmla="*/ 1428207 w 2068442"/>
                <a:gd name="connsiteY142" fmla="*/ 69329 h 1480687"/>
                <a:gd name="connsiteX143" fmla="*/ 1428207 w 2068442"/>
                <a:gd name="connsiteY143" fmla="*/ 59819 h 1480687"/>
                <a:gd name="connsiteX144" fmla="*/ 1432714 w 2068442"/>
                <a:gd name="connsiteY144" fmla="*/ 55280 h 1480687"/>
                <a:gd name="connsiteX145" fmla="*/ 1437722 w 2068442"/>
                <a:gd name="connsiteY145" fmla="*/ 59819 h 1480687"/>
                <a:gd name="connsiteX146" fmla="*/ 1437722 w 2068442"/>
                <a:gd name="connsiteY146" fmla="*/ 64790 h 1480687"/>
                <a:gd name="connsiteX147" fmla="*/ 1447738 w 2068442"/>
                <a:gd name="connsiteY147" fmla="*/ 64790 h 1480687"/>
                <a:gd name="connsiteX148" fmla="*/ 1466767 w 2068442"/>
                <a:gd name="connsiteY148" fmla="*/ 49805 h 1480687"/>
                <a:gd name="connsiteX149" fmla="*/ 1472213 w 2068442"/>
                <a:gd name="connsiteY149" fmla="*/ 49805 h 1480687"/>
                <a:gd name="connsiteX150" fmla="*/ 1472213 w 2068442"/>
                <a:gd name="connsiteY150" fmla="*/ 40295 h 1480687"/>
                <a:gd name="connsiteX151" fmla="*/ 1476720 w 2068442"/>
                <a:gd name="connsiteY151" fmla="*/ 40295 h 1480687"/>
                <a:gd name="connsiteX152" fmla="*/ 1486234 w 2068442"/>
                <a:gd name="connsiteY152" fmla="*/ 49805 h 1480687"/>
                <a:gd name="connsiteX153" fmla="*/ 1491743 w 2068442"/>
                <a:gd name="connsiteY153" fmla="*/ 49805 h 1480687"/>
                <a:gd name="connsiteX154" fmla="*/ 1491743 w 2068442"/>
                <a:gd name="connsiteY154" fmla="*/ 55280 h 1480687"/>
                <a:gd name="connsiteX155" fmla="*/ 1496250 w 2068442"/>
                <a:gd name="connsiteY155" fmla="*/ 55280 h 1480687"/>
                <a:gd name="connsiteX156" fmla="*/ 1496250 w 2068442"/>
                <a:gd name="connsiteY156" fmla="*/ 69329 h 1480687"/>
                <a:gd name="connsiteX157" fmla="*/ 1501257 w 2068442"/>
                <a:gd name="connsiteY157" fmla="*/ 88853 h 1480687"/>
                <a:gd name="connsiteX158" fmla="*/ 1505764 w 2068442"/>
                <a:gd name="connsiteY158" fmla="*/ 103839 h 1480687"/>
                <a:gd name="connsiteX159" fmla="*/ 1520787 w 2068442"/>
                <a:gd name="connsiteY159" fmla="*/ 127830 h 1480687"/>
                <a:gd name="connsiteX160" fmla="*/ 1526233 w 2068442"/>
                <a:gd name="connsiteY160" fmla="*/ 132873 h 1480687"/>
                <a:gd name="connsiteX161" fmla="*/ 1535748 w 2068442"/>
                <a:gd name="connsiteY161" fmla="*/ 123363 h 1480687"/>
                <a:gd name="connsiteX162" fmla="*/ 1555278 w 2068442"/>
                <a:gd name="connsiteY162" fmla="*/ 118320 h 1480687"/>
                <a:gd name="connsiteX163" fmla="*/ 1555278 w 2068442"/>
                <a:gd name="connsiteY163" fmla="*/ 113853 h 1480687"/>
                <a:gd name="connsiteX164" fmla="*/ 1559785 w 2068442"/>
                <a:gd name="connsiteY164" fmla="*/ 113853 h 1480687"/>
                <a:gd name="connsiteX165" fmla="*/ 1559785 w 2068442"/>
                <a:gd name="connsiteY165" fmla="*/ 118320 h 1480687"/>
                <a:gd name="connsiteX166" fmla="*/ 1564793 w 2068442"/>
                <a:gd name="connsiteY166" fmla="*/ 118320 h 1480687"/>
                <a:gd name="connsiteX167" fmla="*/ 1564793 w 2068442"/>
                <a:gd name="connsiteY167" fmla="*/ 88853 h 1480687"/>
                <a:gd name="connsiteX168" fmla="*/ 1569300 w 2068442"/>
                <a:gd name="connsiteY168" fmla="*/ 88853 h 1480687"/>
                <a:gd name="connsiteX169" fmla="*/ 1579252 w 2068442"/>
                <a:gd name="connsiteY169" fmla="*/ 88853 h 1480687"/>
                <a:gd name="connsiteX170" fmla="*/ 1588767 w 2068442"/>
                <a:gd name="connsiteY170" fmla="*/ 88853 h 1480687"/>
                <a:gd name="connsiteX171" fmla="*/ 1594275 w 2068442"/>
                <a:gd name="connsiteY171" fmla="*/ 103839 h 1480687"/>
                <a:gd name="connsiteX172" fmla="*/ 1594275 w 2068442"/>
                <a:gd name="connsiteY172" fmla="*/ 108306 h 1480687"/>
                <a:gd name="connsiteX173" fmla="*/ 1588767 w 2068442"/>
                <a:gd name="connsiteY173" fmla="*/ 113853 h 1480687"/>
                <a:gd name="connsiteX174" fmla="*/ 1594275 w 2068442"/>
                <a:gd name="connsiteY174" fmla="*/ 118320 h 1480687"/>
                <a:gd name="connsiteX175" fmla="*/ 1623320 w 2068442"/>
                <a:gd name="connsiteY175" fmla="*/ 113853 h 1480687"/>
                <a:gd name="connsiteX176" fmla="*/ 1628265 w 2068442"/>
                <a:gd name="connsiteY176" fmla="*/ 123363 h 1480687"/>
                <a:gd name="connsiteX177" fmla="*/ 1632772 w 2068442"/>
                <a:gd name="connsiteY177" fmla="*/ 132873 h 1480687"/>
                <a:gd name="connsiteX178" fmla="*/ 1642788 w 2068442"/>
                <a:gd name="connsiteY178" fmla="*/ 137844 h 1480687"/>
                <a:gd name="connsiteX179" fmla="*/ 1647795 w 2068442"/>
                <a:gd name="connsiteY179" fmla="*/ 147354 h 1480687"/>
                <a:gd name="connsiteX180" fmla="*/ 1652302 w 2068442"/>
                <a:gd name="connsiteY180" fmla="*/ 147354 h 1480687"/>
                <a:gd name="connsiteX181" fmla="*/ 1662318 w 2068442"/>
                <a:gd name="connsiteY181" fmla="*/ 147354 h 1480687"/>
                <a:gd name="connsiteX182" fmla="*/ 1657811 w 2068442"/>
                <a:gd name="connsiteY182" fmla="*/ 156864 h 1480687"/>
                <a:gd name="connsiteX183" fmla="*/ 1662318 w 2068442"/>
                <a:gd name="connsiteY183" fmla="*/ 156864 h 1480687"/>
                <a:gd name="connsiteX184" fmla="*/ 1662318 w 2068442"/>
                <a:gd name="connsiteY184" fmla="*/ 162339 h 1480687"/>
                <a:gd name="connsiteX185" fmla="*/ 1672834 w 2068442"/>
                <a:gd name="connsiteY185" fmla="*/ 162339 h 1480687"/>
                <a:gd name="connsiteX186" fmla="*/ 1677341 w 2068442"/>
                <a:gd name="connsiteY186" fmla="*/ 162339 h 1480687"/>
                <a:gd name="connsiteX187" fmla="*/ 1672834 w 2068442"/>
                <a:gd name="connsiteY187" fmla="*/ 181863 h 1480687"/>
                <a:gd name="connsiteX188" fmla="*/ 1672834 w 2068442"/>
                <a:gd name="connsiteY188" fmla="*/ 186402 h 1480687"/>
                <a:gd name="connsiteX189" fmla="*/ 1682286 w 2068442"/>
                <a:gd name="connsiteY189" fmla="*/ 186402 h 1480687"/>
                <a:gd name="connsiteX190" fmla="*/ 1677341 w 2068442"/>
                <a:gd name="connsiteY190" fmla="*/ 195912 h 1480687"/>
                <a:gd name="connsiteX191" fmla="*/ 1682286 w 2068442"/>
                <a:gd name="connsiteY191" fmla="*/ 210897 h 1480687"/>
                <a:gd name="connsiteX192" fmla="*/ 1686793 w 2068442"/>
                <a:gd name="connsiteY192" fmla="*/ 215436 h 1480687"/>
                <a:gd name="connsiteX193" fmla="*/ 1682286 w 2068442"/>
                <a:gd name="connsiteY193" fmla="*/ 230421 h 1480687"/>
                <a:gd name="connsiteX194" fmla="*/ 1686793 w 2068442"/>
                <a:gd name="connsiteY194" fmla="*/ 234888 h 1480687"/>
                <a:gd name="connsiteX195" fmla="*/ 1692301 w 2068442"/>
                <a:gd name="connsiteY195" fmla="*/ 234888 h 1480687"/>
                <a:gd name="connsiteX196" fmla="*/ 1692301 w 2068442"/>
                <a:gd name="connsiteY196" fmla="*/ 244398 h 1480687"/>
                <a:gd name="connsiteX197" fmla="*/ 1696808 w 2068442"/>
                <a:gd name="connsiteY197" fmla="*/ 254412 h 1480687"/>
                <a:gd name="connsiteX198" fmla="*/ 1706323 w 2068442"/>
                <a:gd name="connsiteY198" fmla="*/ 254412 h 1480687"/>
                <a:gd name="connsiteX199" fmla="*/ 1711331 w 2068442"/>
                <a:gd name="connsiteY199" fmla="*/ 263922 h 1480687"/>
                <a:gd name="connsiteX200" fmla="*/ 1715837 w 2068442"/>
                <a:gd name="connsiteY200" fmla="*/ 273937 h 1480687"/>
                <a:gd name="connsiteX201" fmla="*/ 1721346 w 2068442"/>
                <a:gd name="connsiteY201" fmla="*/ 283446 h 1480687"/>
                <a:gd name="connsiteX202" fmla="*/ 1721346 w 2068442"/>
                <a:gd name="connsiteY202" fmla="*/ 288922 h 1480687"/>
                <a:gd name="connsiteX203" fmla="*/ 1721346 w 2068442"/>
                <a:gd name="connsiteY203" fmla="*/ 302971 h 1480687"/>
                <a:gd name="connsiteX204" fmla="*/ 1725853 w 2068442"/>
                <a:gd name="connsiteY204" fmla="*/ 317956 h 1480687"/>
                <a:gd name="connsiteX205" fmla="*/ 1735305 w 2068442"/>
                <a:gd name="connsiteY205" fmla="*/ 317956 h 1480687"/>
                <a:gd name="connsiteX206" fmla="*/ 1740813 w 2068442"/>
                <a:gd name="connsiteY206" fmla="*/ 322495 h 1480687"/>
                <a:gd name="connsiteX207" fmla="*/ 1745821 w 2068442"/>
                <a:gd name="connsiteY207" fmla="*/ 332509 h 1480687"/>
                <a:gd name="connsiteX208" fmla="*/ 1755837 w 2068442"/>
                <a:gd name="connsiteY208" fmla="*/ 346990 h 1480687"/>
                <a:gd name="connsiteX209" fmla="*/ 1755837 w 2068442"/>
                <a:gd name="connsiteY209" fmla="*/ 351457 h 1480687"/>
                <a:gd name="connsiteX210" fmla="*/ 1745821 w 2068442"/>
                <a:gd name="connsiteY210" fmla="*/ 351457 h 1480687"/>
                <a:gd name="connsiteX211" fmla="*/ 1745821 w 2068442"/>
                <a:gd name="connsiteY211" fmla="*/ 357004 h 1480687"/>
                <a:gd name="connsiteX212" fmla="*/ 1750328 w 2068442"/>
                <a:gd name="connsiteY212" fmla="*/ 361471 h 1480687"/>
                <a:gd name="connsiteX213" fmla="*/ 1750328 w 2068442"/>
                <a:gd name="connsiteY213" fmla="*/ 370981 h 1480687"/>
                <a:gd name="connsiteX214" fmla="*/ 1750328 w 2068442"/>
                <a:gd name="connsiteY214" fmla="*/ 380995 h 1480687"/>
                <a:gd name="connsiteX215" fmla="*/ 1745821 w 2068442"/>
                <a:gd name="connsiteY215" fmla="*/ 386038 h 1480687"/>
                <a:gd name="connsiteX216" fmla="*/ 1750328 w 2068442"/>
                <a:gd name="connsiteY216" fmla="*/ 390505 h 1480687"/>
                <a:gd name="connsiteX217" fmla="*/ 1750328 w 2068442"/>
                <a:gd name="connsiteY217" fmla="*/ 396052 h 1480687"/>
                <a:gd name="connsiteX218" fmla="*/ 1755837 w 2068442"/>
                <a:gd name="connsiteY218" fmla="*/ 396052 h 1480687"/>
                <a:gd name="connsiteX219" fmla="*/ 1760343 w 2068442"/>
                <a:gd name="connsiteY219" fmla="*/ 386038 h 1480687"/>
                <a:gd name="connsiteX220" fmla="*/ 1769858 w 2068442"/>
                <a:gd name="connsiteY220" fmla="*/ 386038 h 1480687"/>
                <a:gd name="connsiteX221" fmla="*/ 1775367 w 2068442"/>
                <a:gd name="connsiteY221" fmla="*/ 386038 h 1480687"/>
                <a:gd name="connsiteX222" fmla="*/ 1779874 w 2068442"/>
                <a:gd name="connsiteY222" fmla="*/ 380995 h 1480687"/>
                <a:gd name="connsiteX223" fmla="*/ 1784819 w 2068442"/>
                <a:gd name="connsiteY223" fmla="*/ 386038 h 1480687"/>
                <a:gd name="connsiteX224" fmla="*/ 1784819 w 2068442"/>
                <a:gd name="connsiteY224" fmla="*/ 396052 h 1480687"/>
                <a:gd name="connsiteX225" fmla="*/ 1798840 w 2068442"/>
                <a:gd name="connsiteY225" fmla="*/ 390505 h 1480687"/>
                <a:gd name="connsiteX226" fmla="*/ 1804349 w 2068442"/>
                <a:gd name="connsiteY226" fmla="*/ 400519 h 1480687"/>
                <a:gd name="connsiteX227" fmla="*/ 1819372 w 2068442"/>
                <a:gd name="connsiteY227" fmla="*/ 405490 h 1480687"/>
                <a:gd name="connsiteX228" fmla="*/ 1823879 w 2068442"/>
                <a:gd name="connsiteY228" fmla="*/ 415505 h 1480687"/>
                <a:gd name="connsiteX229" fmla="*/ 1833393 w 2068442"/>
                <a:gd name="connsiteY229" fmla="*/ 420043 h 1480687"/>
                <a:gd name="connsiteX230" fmla="*/ 1843346 w 2068442"/>
                <a:gd name="connsiteY230" fmla="*/ 405490 h 1480687"/>
                <a:gd name="connsiteX231" fmla="*/ 1843346 w 2068442"/>
                <a:gd name="connsiteY231" fmla="*/ 390505 h 1480687"/>
                <a:gd name="connsiteX232" fmla="*/ 1852861 w 2068442"/>
                <a:gd name="connsiteY232" fmla="*/ 390505 h 1480687"/>
                <a:gd name="connsiteX233" fmla="*/ 1858369 w 2068442"/>
                <a:gd name="connsiteY233" fmla="*/ 380995 h 1480687"/>
                <a:gd name="connsiteX234" fmla="*/ 1877399 w 2068442"/>
                <a:gd name="connsiteY234" fmla="*/ 380995 h 1480687"/>
                <a:gd name="connsiteX235" fmla="*/ 1881905 w 2068442"/>
                <a:gd name="connsiteY235" fmla="*/ 376528 h 1480687"/>
                <a:gd name="connsiteX236" fmla="*/ 1887351 w 2068442"/>
                <a:gd name="connsiteY236" fmla="*/ 376528 h 1480687"/>
                <a:gd name="connsiteX237" fmla="*/ 1887351 w 2068442"/>
                <a:gd name="connsiteY237" fmla="*/ 386038 h 1480687"/>
                <a:gd name="connsiteX238" fmla="*/ 1887351 w 2068442"/>
                <a:gd name="connsiteY238" fmla="*/ 400519 h 1480687"/>
                <a:gd name="connsiteX239" fmla="*/ 1892359 w 2068442"/>
                <a:gd name="connsiteY239" fmla="*/ 405490 h 1480687"/>
                <a:gd name="connsiteX240" fmla="*/ 1906881 w 2068442"/>
                <a:gd name="connsiteY240" fmla="*/ 405490 h 1480687"/>
                <a:gd name="connsiteX241" fmla="*/ 1906881 w 2068442"/>
                <a:gd name="connsiteY241" fmla="*/ 400519 h 1480687"/>
                <a:gd name="connsiteX242" fmla="*/ 1906881 w 2068442"/>
                <a:gd name="connsiteY242" fmla="*/ 380995 h 1480687"/>
                <a:gd name="connsiteX243" fmla="*/ 1911889 w 2068442"/>
                <a:gd name="connsiteY243" fmla="*/ 380995 h 1480687"/>
                <a:gd name="connsiteX244" fmla="*/ 1911889 w 2068442"/>
                <a:gd name="connsiteY244" fmla="*/ 376528 h 1480687"/>
                <a:gd name="connsiteX245" fmla="*/ 1931419 w 2068442"/>
                <a:gd name="connsiteY245" fmla="*/ 376528 h 1480687"/>
                <a:gd name="connsiteX246" fmla="*/ 1931419 w 2068442"/>
                <a:gd name="connsiteY246" fmla="*/ 380995 h 1480687"/>
                <a:gd name="connsiteX247" fmla="*/ 1945879 w 2068442"/>
                <a:gd name="connsiteY247" fmla="*/ 386038 h 1480687"/>
                <a:gd name="connsiteX248" fmla="*/ 1950887 w 2068442"/>
                <a:gd name="connsiteY248" fmla="*/ 400519 h 1480687"/>
                <a:gd name="connsiteX249" fmla="*/ 1960401 w 2068442"/>
                <a:gd name="connsiteY249" fmla="*/ 396052 h 1480687"/>
                <a:gd name="connsiteX250" fmla="*/ 1965910 w 2068442"/>
                <a:gd name="connsiteY250" fmla="*/ 400519 h 1480687"/>
                <a:gd name="connsiteX251" fmla="*/ 1970417 w 2068442"/>
                <a:gd name="connsiteY251" fmla="*/ 400519 h 1480687"/>
                <a:gd name="connsiteX252" fmla="*/ 1975424 w 2068442"/>
                <a:gd name="connsiteY252" fmla="*/ 410029 h 1480687"/>
                <a:gd name="connsiteX253" fmla="*/ 1979931 w 2068442"/>
                <a:gd name="connsiteY253" fmla="*/ 405490 h 1480687"/>
                <a:gd name="connsiteX254" fmla="*/ 1989947 w 2068442"/>
                <a:gd name="connsiteY254" fmla="*/ 410029 h 1480687"/>
                <a:gd name="connsiteX255" fmla="*/ 1989947 w 2068442"/>
                <a:gd name="connsiteY255" fmla="*/ 420043 h 1480687"/>
                <a:gd name="connsiteX256" fmla="*/ 1999399 w 2068442"/>
                <a:gd name="connsiteY256" fmla="*/ 429553 h 1480687"/>
                <a:gd name="connsiteX257" fmla="*/ 1999399 w 2068442"/>
                <a:gd name="connsiteY257" fmla="*/ 439063 h 1480687"/>
                <a:gd name="connsiteX258" fmla="*/ 1999399 w 2068442"/>
                <a:gd name="connsiteY258" fmla="*/ 444539 h 1480687"/>
                <a:gd name="connsiteX259" fmla="*/ 2014422 w 2068442"/>
                <a:gd name="connsiteY259" fmla="*/ 444539 h 1480687"/>
                <a:gd name="connsiteX260" fmla="*/ 2009414 w 2068442"/>
                <a:gd name="connsiteY260" fmla="*/ 449077 h 1480687"/>
                <a:gd name="connsiteX261" fmla="*/ 2018929 w 2068442"/>
                <a:gd name="connsiteY261" fmla="*/ 454049 h 1480687"/>
                <a:gd name="connsiteX262" fmla="*/ 2018929 w 2068442"/>
                <a:gd name="connsiteY262" fmla="*/ 468530 h 1480687"/>
                <a:gd name="connsiteX263" fmla="*/ 2014422 w 2068442"/>
                <a:gd name="connsiteY263" fmla="*/ 468530 h 1480687"/>
                <a:gd name="connsiteX264" fmla="*/ 2014422 w 2068442"/>
                <a:gd name="connsiteY264" fmla="*/ 478039 h 1480687"/>
                <a:gd name="connsiteX265" fmla="*/ 2014422 w 2068442"/>
                <a:gd name="connsiteY265" fmla="*/ 503111 h 1480687"/>
                <a:gd name="connsiteX266" fmla="*/ 2018929 w 2068442"/>
                <a:gd name="connsiteY266" fmla="*/ 512621 h 1480687"/>
                <a:gd name="connsiteX267" fmla="*/ 2024437 w 2068442"/>
                <a:gd name="connsiteY267" fmla="*/ 517088 h 1480687"/>
                <a:gd name="connsiteX268" fmla="*/ 2029445 w 2068442"/>
                <a:gd name="connsiteY268" fmla="*/ 512621 h 1480687"/>
                <a:gd name="connsiteX269" fmla="*/ 2033952 w 2068442"/>
                <a:gd name="connsiteY269" fmla="*/ 512621 h 1480687"/>
                <a:gd name="connsiteX270" fmla="*/ 2033952 w 2068442"/>
                <a:gd name="connsiteY270" fmla="*/ 517088 h 1480687"/>
                <a:gd name="connsiteX271" fmla="*/ 2043404 w 2068442"/>
                <a:gd name="connsiteY271" fmla="*/ 522131 h 1480687"/>
                <a:gd name="connsiteX272" fmla="*/ 2048912 w 2068442"/>
                <a:gd name="connsiteY272" fmla="*/ 532073 h 1480687"/>
                <a:gd name="connsiteX273" fmla="*/ 2053419 w 2068442"/>
                <a:gd name="connsiteY273" fmla="*/ 536612 h 1480687"/>
                <a:gd name="connsiteX274" fmla="*/ 2058427 w 2068442"/>
                <a:gd name="connsiteY274" fmla="*/ 541583 h 1480687"/>
                <a:gd name="connsiteX275" fmla="*/ 2058427 w 2068442"/>
                <a:gd name="connsiteY275" fmla="*/ 546122 h 1480687"/>
                <a:gd name="connsiteX276" fmla="*/ 2068442 w 2068442"/>
                <a:gd name="connsiteY276" fmla="*/ 551597 h 1480687"/>
                <a:gd name="connsiteX277" fmla="*/ 2068442 w 2068442"/>
                <a:gd name="connsiteY277" fmla="*/ 556136 h 1480687"/>
                <a:gd name="connsiteX278" fmla="*/ 2068442 w 2068442"/>
                <a:gd name="connsiteY278" fmla="*/ 561107 h 1480687"/>
                <a:gd name="connsiteX279" fmla="*/ 2068442 w 2068442"/>
                <a:gd name="connsiteY279" fmla="*/ 565646 h 1480687"/>
                <a:gd name="connsiteX280" fmla="*/ 2058427 w 2068442"/>
                <a:gd name="connsiteY280" fmla="*/ 565646 h 1480687"/>
                <a:gd name="connsiteX281" fmla="*/ 2058427 w 2068442"/>
                <a:gd name="connsiteY281" fmla="*/ 575660 h 1480687"/>
                <a:gd name="connsiteX282" fmla="*/ 2048912 w 2068442"/>
                <a:gd name="connsiteY282" fmla="*/ 585170 h 1480687"/>
                <a:gd name="connsiteX283" fmla="*/ 2043404 w 2068442"/>
                <a:gd name="connsiteY283" fmla="*/ 590645 h 1480687"/>
                <a:gd name="connsiteX284" fmla="*/ 2029445 w 2068442"/>
                <a:gd name="connsiteY284" fmla="*/ 595112 h 1480687"/>
                <a:gd name="connsiteX285" fmla="*/ 2029445 w 2068442"/>
                <a:gd name="connsiteY285" fmla="*/ 600155 h 1480687"/>
                <a:gd name="connsiteX286" fmla="*/ 2014422 w 2068442"/>
                <a:gd name="connsiteY286" fmla="*/ 614636 h 1480687"/>
                <a:gd name="connsiteX287" fmla="*/ 1999399 w 2068442"/>
                <a:gd name="connsiteY287" fmla="*/ 629189 h 1480687"/>
                <a:gd name="connsiteX288" fmla="*/ 1989947 w 2068442"/>
                <a:gd name="connsiteY288" fmla="*/ 633656 h 1480687"/>
                <a:gd name="connsiteX289" fmla="*/ 1989947 w 2068442"/>
                <a:gd name="connsiteY289" fmla="*/ 639204 h 1480687"/>
                <a:gd name="connsiteX290" fmla="*/ 1999399 w 2068442"/>
                <a:gd name="connsiteY290" fmla="*/ 639204 h 1480687"/>
                <a:gd name="connsiteX291" fmla="*/ 1999399 w 2068442"/>
                <a:gd name="connsiteY291" fmla="*/ 643670 h 1480687"/>
                <a:gd name="connsiteX292" fmla="*/ 1989947 w 2068442"/>
                <a:gd name="connsiteY292" fmla="*/ 653180 h 1480687"/>
                <a:gd name="connsiteX293" fmla="*/ 1999399 w 2068442"/>
                <a:gd name="connsiteY293" fmla="*/ 672704 h 1480687"/>
                <a:gd name="connsiteX294" fmla="*/ 1989947 w 2068442"/>
                <a:gd name="connsiteY294" fmla="*/ 692229 h 1480687"/>
                <a:gd name="connsiteX295" fmla="*/ 1979931 w 2068442"/>
                <a:gd name="connsiteY295" fmla="*/ 711681 h 1480687"/>
                <a:gd name="connsiteX296" fmla="*/ 1989947 w 2068442"/>
                <a:gd name="connsiteY296" fmla="*/ 731205 h 1480687"/>
                <a:gd name="connsiteX297" fmla="*/ 1975424 w 2068442"/>
                <a:gd name="connsiteY297" fmla="*/ 731205 h 1480687"/>
                <a:gd name="connsiteX298" fmla="*/ 1955393 w 2068442"/>
                <a:gd name="connsiteY298" fmla="*/ 721695 h 1480687"/>
                <a:gd name="connsiteX299" fmla="*/ 1931419 w 2068442"/>
                <a:gd name="connsiteY299" fmla="*/ 726738 h 1480687"/>
                <a:gd name="connsiteX300" fmla="*/ 1931419 w 2068442"/>
                <a:gd name="connsiteY300" fmla="*/ 740715 h 1480687"/>
                <a:gd name="connsiteX301" fmla="*/ 1921904 w 2068442"/>
                <a:gd name="connsiteY301" fmla="*/ 740715 h 1480687"/>
                <a:gd name="connsiteX302" fmla="*/ 1911889 w 2068442"/>
                <a:gd name="connsiteY302" fmla="*/ 765714 h 1480687"/>
                <a:gd name="connsiteX303" fmla="*/ 1916396 w 2068442"/>
                <a:gd name="connsiteY303" fmla="*/ 775224 h 1480687"/>
                <a:gd name="connsiteX304" fmla="*/ 1921904 w 2068442"/>
                <a:gd name="connsiteY304" fmla="*/ 775224 h 1480687"/>
                <a:gd name="connsiteX305" fmla="*/ 1926411 w 2068442"/>
                <a:gd name="connsiteY305" fmla="*/ 770253 h 1480687"/>
                <a:gd name="connsiteX306" fmla="*/ 1931419 w 2068442"/>
                <a:gd name="connsiteY306" fmla="*/ 775224 h 1480687"/>
                <a:gd name="connsiteX307" fmla="*/ 1921904 w 2068442"/>
                <a:gd name="connsiteY307" fmla="*/ 789777 h 1480687"/>
                <a:gd name="connsiteX308" fmla="*/ 1906881 w 2068442"/>
                <a:gd name="connsiteY308" fmla="*/ 789777 h 1480687"/>
                <a:gd name="connsiteX309" fmla="*/ 1902374 w 2068442"/>
                <a:gd name="connsiteY309" fmla="*/ 794748 h 1480687"/>
                <a:gd name="connsiteX310" fmla="*/ 1906881 w 2068442"/>
                <a:gd name="connsiteY310" fmla="*/ 799287 h 1480687"/>
                <a:gd name="connsiteX311" fmla="*/ 1887351 w 2068442"/>
                <a:gd name="connsiteY311" fmla="*/ 814273 h 1480687"/>
                <a:gd name="connsiteX312" fmla="*/ 1881905 w 2068442"/>
                <a:gd name="connsiteY312" fmla="*/ 809301 h 1480687"/>
                <a:gd name="connsiteX313" fmla="*/ 1872391 w 2068442"/>
                <a:gd name="connsiteY313" fmla="*/ 818811 h 1480687"/>
                <a:gd name="connsiteX314" fmla="*/ 1867884 w 2068442"/>
                <a:gd name="connsiteY314" fmla="*/ 814273 h 1480687"/>
                <a:gd name="connsiteX315" fmla="*/ 1867884 w 2068442"/>
                <a:gd name="connsiteY315" fmla="*/ 809301 h 1480687"/>
                <a:gd name="connsiteX316" fmla="*/ 1867884 w 2068442"/>
                <a:gd name="connsiteY316" fmla="*/ 804763 h 1480687"/>
                <a:gd name="connsiteX317" fmla="*/ 1862876 w 2068442"/>
                <a:gd name="connsiteY317" fmla="*/ 809301 h 1480687"/>
                <a:gd name="connsiteX318" fmla="*/ 1867884 w 2068442"/>
                <a:gd name="connsiteY318" fmla="*/ 818811 h 1480687"/>
                <a:gd name="connsiteX319" fmla="*/ 1838839 w 2068442"/>
                <a:gd name="connsiteY319" fmla="*/ 838263 h 1480687"/>
                <a:gd name="connsiteX320" fmla="*/ 1833393 w 2068442"/>
                <a:gd name="connsiteY320" fmla="*/ 838263 h 1480687"/>
                <a:gd name="connsiteX321" fmla="*/ 1833393 w 2068442"/>
                <a:gd name="connsiteY321" fmla="*/ 857788 h 1480687"/>
                <a:gd name="connsiteX322" fmla="*/ 1808856 w 2068442"/>
                <a:gd name="connsiteY322" fmla="*/ 857788 h 1480687"/>
                <a:gd name="connsiteX323" fmla="*/ 1789326 w 2068442"/>
                <a:gd name="connsiteY323" fmla="*/ 843307 h 1480687"/>
                <a:gd name="connsiteX324" fmla="*/ 1789326 w 2068442"/>
                <a:gd name="connsiteY324" fmla="*/ 838263 h 1480687"/>
                <a:gd name="connsiteX325" fmla="*/ 1794333 w 2068442"/>
                <a:gd name="connsiteY325" fmla="*/ 823782 h 1480687"/>
                <a:gd name="connsiteX326" fmla="*/ 1779874 w 2068442"/>
                <a:gd name="connsiteY326" fmla="*/ 809301 h 1480687"/>
                <a:gd name="connsiteX327" fmla="*/ 1750328 w 2068442"/>
                <a:gd name="connsiteY327" fmla="*/ 809301 h 1480687"/>
                <a:gd name="connsiteX328" fmla="*/ 1730798 w 2068442"/>
                <a:gd name="connsiteY328" fmla="*/ 814273 h 1480687"/>
                <a:gd name="connsiteX329" fmla="*/ 1701816 w 2068442"/>
                <a:gd name="connsiteY329" fmla="*/ 828754 h 1480687"/>
                <a:gd name="connsiteX330" fmla="*/ 1672834 w 2068442"/>
                <a:gd name="connsiteY330" fmla="*/ 857788 h 1480687"/>
                <a:gd name="connsiteX331" fmla="*/ 1657811 w 2068442"/>
                <a:gd name="connsiteY331" fmla="*/ 872845 h 1480687"/>
                <a:gd name="connsiteX332" fmla="*/ 1632772 w 2068442"/>
                <a:gd name="connsiteY332" fmla="*/ 886822 h 1480687"/>
                <a:gd name="connsiteX333" fmla="*/ 1618813 w 2068442"/>
                <a:gd name="connsiteY333" fmla="*/ 901807 h 1480687"/>
                <a:gd name="connsiteX334" fmla="*/ 1603790 w 2068442"/>
                <a:gd name="connsiteY334" fmla="*/ 901807 h 1480687"/>
                <a:gd name="connsiteX335" fmla="*/ 1594275 w 2068442"/>
                <a:gd name="connsiteY335" fmla="*/ 911317 h 1480687"/>
                <a:gd name="connsiteX336" fmla="*/ 1569300 w 2068442"/>
                <a:gd name="connsiteY336" fmla="*/ 935380 h 1480687"/>
                <a:gd name="connsiteX337" fmla="*/ 1564793 w 2068442"/>
                <a:gd name="connsiteY337" fmla="*/ 945394 h 1480687"/>
                <a:gd name="connsiteX338" fmla="*/ 1555278 w 2068442"/>
                <a:gd name="connsiteY338" fmla="*/ 950365 h 1480687"/>
                <a:gd name="connsiteX339" fmla="*/ 1549770 w 2068442"/>
                <a:gd name="connsiteY339" fmla="*/ 964846 h 1480687"/>
                <a:gd name="connsiteX340" fmla="*/ 1545263 w 2068442"/>
                <a:gd name="connsiteY340" fmla="*/ 969889 h 1480687"/>
                <a:gd name="connsiteX341" fmla="*/ 1511273 w 2068442"/>
                <a:gd name="connsiteY341" fmla="*/ 960379 h 1480687"/>
                <a:gd name="connsiteX342" fmla="*/ 1486234 w 2068442"/>
                <a:gd name="connsiteY342" fmla="*/ 964846 h 1480687"/>
                <a:gd name="connsiteX343" fmla="*/ 1476720 w 2068442"/>
                <a:gd name="connsiteY343" fmla="*/ 969889 h 1480687"/>
                <a:gd name="connsiteX344" fmla="*/ 1466767 w 2068442"/>
                <a:gd name="connsiteY344" fmla="*/ 979904 h 1480687"/>
                <a:gd name="connsiteX345" fmla="*/ 1462260 w 2068442"/>
                <a:gd name="connsiteY345" fmla="*/ 979904 h 1480687"/>
                <a:gd name="connsiteX346" fmla="*/ 1452745 w 2068442"/>
                <a:gd name="connsiteY346" fmla="*/ 989413 h 1480687"/>
                <a:gd name="connsiteX347" fmla="*/ 1437722 w 2068442"/>
                <a:gd name="connsiteY347" fmla="*/ 999428 h 1480687"/>
                <a:gd name="connsiteX348" fmla="*/ 1413247 w 2068442"/>
                <a:gd name="connsiteY348" fmla="*/ 1023419 h 1480687"/>
                <a:gd name="connsiteX349" fmla="*/ 1403232 w 2068442"/>
                <a:gd name="connsiteY349" fmla="*/ 1042438 h 1480687"/>
                <a:gd name="connsiteX350" fmla="*/ 1379195 w 2068442"/>
                <a:gd name="connsiteY350" fmla="*/ 1081415 h 1480687"/>
                <a:gd name="connsiteX351" fmla="*/ 1374187 w 2068442"/>
                <a:gd name="connsiteY351" fmla="*/ 1081415 h 1480687"/>
                <a:gd name="connsiteX352" fmla="*/ 1374187 w 2068442"/>
                <a:gd name="connsiteY352" fmla="*/ 1071905 h 1480687"/>
                <a:gd name="connsiteX353" fmla="*/ 1359226 w 2068442"/>
                <a:gd name="connsiteY353" fmla="*/ 1067438 h 1480687"/>
                <a:gd name="connsiteX354" fmla="*/ 1359226 w 2068442"/>
                <a:gd name="connsiteY354" fmla="*/ 1061963 h 1480687"/>
                <a:gd name="connsiteX355" fmla="*/ 1354719 w 2068442"/>
                <a:gd name="connsiteY355" fmla="*/ 1057424 h 1480687"/>
                <a:gd name="connsiteX356" fmla="*/ 1354719 w 2068442"/>
                <a:gd name="connsiteY356" fmla="*/ 1076948 h 1480687"/>
                <a:gd name="connsiteX357" fmla="*/ 1354719 w 2068442"/>
                <a:gd name="connsiteY357" fmla="*/ 1081415 h 1480687"/>
                <a:gd name="connsiteX358" fmla="*/ 1369179 w 2068442"/>
                <a:gd name="connsiteY358" fmla="*/ 1091429 h 1480687"/>
                <a:gd name="connsiteX359" fmla="*/ 1369179 w 2068442"/>
                <a:gd name="connsiteY359" fmla="*/ 1086962 h 1480687"/>
                <a:gd name="connsiteX360" fmla="*/ 1374187 w 2068442"/>
                <a:gd name="connsiteY360" fmla="*/ 1086962 h 1480687"/>
                <a:gd name="connsiteX361" fmla="*/ 1359226 w 2068442"/>
                <a:gd name="connsiteY361" fmla="*/ 1135448 h 1480687"/>
                <a:gd name="connsiteX362" fmla="*/ 1359226 w 2068442"/>
                <a:gd name="connsiteY362" fmla="*/ 1149497 h 1480687"/>
                <a:gd name="connsiteX363" fmla="*/ 1349712 w 2068442"/>
                <a:gd name="connsiteY363" fmla="*/ 1144958 h 1480687"/>
                <a:gd name="connsiteX364" fmla="*/ 1354719 w 2068442"/>
                <a:gd name="connsiteY364" fmla="*/ 1125506 h 1480687"/>
                <a:gd name="connsiteX365" fmla="*/ 1345205 w 2068442"/>
                <a:gd name="connsiteY365" fmla="*/ 1129973 h 1480687"/>
                <a:gd name="connsiteX366" fmla="*/ 1339696 w 2068442"/>
                <a:gd name="connsiteY366" fmla="*/ 1139987 h 1480687"/>
                <a:gd name="connsiteX367" fmla="*/ 1349712 w 2068442"/>
                <a:gd name="connsiteY367" fmla="*/ 1149497 h 1480687"/>
                <a:gd name="connsiteX368" fmla="*/ 1359226 w 2068442"/>
                <a:gd name="connsiteY368" fmla="*/ 1154972 h 1480687"/>
                <a:gd name="connsiteX369" fmla="*/ 1359226 w 2068442"/>
                <a:gd name="connsiteY369" fmla="*/ 1159511 h 1480687"/>
                <a:gd name="connsiteX370" fmla="*/ 1369179 w 2068442"/>
                <a:gd name="connsiteY370" fmla="*/ 1159511 h 1480687"/>
                <a:gd name="connsiteX371" fmla="*/ 1359226 w 2068442"/>
                <a:gd name="connsiteY371" fmla="*/ 1207997 h 1480687"/>
                <a:gd name="connsiteX372" fmla="*/ 1359226 w 2068442"/>
                <a:gd name="connsiteY372" fmla="*/ 1242579 h 1480687"/>
                <a:gd name="connsiteX373" fmla="*/ 1359226 w 2068442"/>
                <a:gd name="connsiteY373" fmla="*/ 1262031 h 1480687"/>
                <a:gd name="connsiteX374" fmla="*/ 1359226 w 2068442"/>
                <a:gd name="connsiteY374" fmla="*/ 1271541 h 1480687"/>
                <a:gd name="connsiteX375" fmla="*/ 1359226 w 2068442"/>
                <a:gd name="connsiteY375" fmla="*/ 1295604 h 1480687"/>
                <a:gd name="connsiteX376" fmla="*/ 1359226 w 2068442"/>
                <a:gd name="connsiteY376" fmla="*/ 1315056 h 1480687"/>
                <a:gd name="connsiteX377" fmla="*/ 1364735 w 2068442"/>
                <a:gd name="connsiteY377" fmla="*/ 1339623 h 1480687"/>
                <a:gd name="connsiteX378" fmla="*/ 1364735 w 2068442"/>
                <a:gd name="connsiteY378" fmla="*/ 1344090 h 1480687"/>
                <a:gd name="connsiteX379" fmla="*/ 1364735 w 2068442"/>
                <a:gd name="connsiteY379" fmla="*/ 1369089 h 1480687"/>
                <a:gd name="connsiteX380" fmla="*/ 1374187 w 2068442"/>
                <a:gd name="connsiteY380" fmla="*/ 1373628 h 1480687"/>
                <a:gd name="connsiteX381" fmla="*/ 1379195 w 2068442"/>
                <a:gd name="connsiteY381" fmla="*/ 1373628 h 1480687"/>
                <a:gd name="connsiteX382" fmla="*/ 1383702 w 2068442"/>
                <a:gd name="connsiteY382" fmla="*/ 1378599 h 1480687"/>
                <a:gd name="connsiteX383" fmla="*/ 1398725 w 2068442"/>
                <a:gd name="connsiteY383" fmla="*/ 1378599 h 1480687"/>
                <a:gd name="connsiteX384" fmla="*/ 1403232 w 2068442"/>
                <a:gd name="connsiteY384" fmla="*/ 1383138 h 1480687"/>
                <a:gd name="connsiteX385" fmla="*/ 1398725 w 2068442"/>
                <a:gd name="connsiteY385" fmla="*/ 1388614 h 1480687"/>
                <a:gd name="connsiteX386" fmla="*/ 1398725 w 2068442"/>
                <a:gd name="connsiteY386" fmla="*/ 1402662 h 1480687"/>
                <a:gd name="connsiteX387" fmla="*/ 1408740 w 2068442"/>
                <a:gd name="connsiteY387" fmla="*/ 1402662 h 1480687"/>
                <a:gd name="connsiteX388" fmla="*/ 1413247 w 2068442"/>
                <a:gd name="connsiteY388" fmla="*/ 1417648 h 1480687"/>
                <a:gd name="connsiteX389" fmla="*/ 1418192 w 2068442"/>
                <a:gd name="connsiteY389" fmla="*/ 1422186 h 1480687"/>
                <a:gd name="connsiteX390" fmla="*/ 1393717 w 2068442"/>
                <a:gd name="connsiteY390" fmla="*/ 1427158 h 1480687"/>
                <a:gd name="connsiteX391" fmla="*/ 1379195 w 2068442"/>
                <a:gd name="connsiteY391" fmla="*/ 1431696 h 1480687"/>
                <a:gd name="connsiteX392" fmla="*/ 1364735 w 2068442"/>
                <a:gd name="connsiteY392" fmla="*/ 1407633 h 1480687"/>
                <a:gd name="connsiteX393" fmla="*/ 1349712 w 2068442"/>
                <a:gd name="connsiteY393" fmla="*/ 1407633 h 1480687"/>
                <a:gd name="connsiteX394" fmla="*/ 1330182 w 2068442"/>
                <a:gd name="connsiteY394" fmla="*/ 1407633 h 1480687"/>
                <a:gd name="connsiteX395" fmla="*/ 1325675 w 2068442"/>
                <a:gd name="connsiteY395" fmla="*/ 1402662 h 1480687"/>
                <a:gd name="connsiteX396" fmla="*/ 1315659 w 2068442"/>
                <a:gd name="connsiteY396" fmla="*/ 1407633 h 1480687"/>
                <a:gd name="connsiteX397" fmla="*/ 1315659 w 2068442"/>
                <a:gd name="connsiteY397" fmla="*/ 1412677 h 1480687"/>
                <a:gd name="connsiteX398" fmla="*/ 1295691 w 2068442"/>
                <a:gd name="connsiteY398" fmla="*/ 1412677 h 1480687"/>
                <a:gd name="connsiteX399" fmla="*/ 1291184 w 2068442"/>
                <a:gd name="connsiteY399" fmla="*/ 1417648 h 1480687"/>
                <a:gd name="connsiteX400" fmla="*/ 1281670 w 2068442"/>
                <a:gd name="connsiteY400" fmla="*/ 1417648 h 1480687"/>
                <a:gd name="connsiteX401" fmla="*/ 1252187 w 2068442"/>
                <a:gd name="connsiteY401" fmla="*/ 1441639 h 1480687"/>
                <a:gd name="connsiteX402" fmla="*/ 1247179 w 2068442"/>
                <a:gd name="connsiteY402" fmla="*/ 1431696 h 1480687"/>
                <a:gd name="connsiteX403" fmla="*/ 1237164 w 2068442"/>
                <a:gd name="connsiteY403" fmla="*/ 1431696 h 1480687"/>
                <a:gd name="connsiteX404" fmla="*/ 1232657 w 2068442"/>
                <a:gd name="connsiteY404" fmla="*/ 1431696 h 1480687"/>
                <a:gd name="connsiteX405" fmla="*/ 1212626 w 2068442"/>
                <a:gd name="connsiteY405" fmla="*/ 1441639 h 1480687"/>
                <a:gd name="connsiteX406" fmla="*/ 1212626 w 2068442"/>
                <a:gd name="connsiteY406" fmla="*/ 1451149 h 1480687"/>
                <a:gd name="connsiteX407" fmla="*/ 1208182 w 2068442"/>
                <a:gd name="connsiteY407" fmla="*/ 1456696 h 1480687"/>
                <a:gd name="connsiteX408" fmla="*/ 1208182 w 2068442"/>
                <a:gd name="connsiteY408" fmla="*/ 1461163 h 1480687"/>
                <a:gd name="connsiteX409" fmla="*/ 1212626 w 2068442"/>
                <a:gd name="connsiteY409" fmla="*/ 1466206 h 1480687"/>
                <a:gd name="connsiteX410" fmla="*/ 1212626 w 2068442"/>
                <a:gd name="connsiteY410" fmla="*/ 1476220 h 1480687"/>
                <a:gd name="connsiteX411" fmla="*/ 1193158 w 2068442"/>
                <a:gd name="connsiteY411" fmla="*/ 1476220 h 1480687"/>
                <a:gd name="connsiteX412" fmla="*/ 1179137 w 2068442"/>
                <a:gd name="connsiteY412" fmla="*/ 1470673 h 1480687"/>
                <a:gd name="connsiteX413" fmla="*/ 1169121 w 2068442"/>
                <a:gd name="connsiteY413" fmla="*/ 1470673 h 1480687"/>
                <a:gd name="connsiteX414" fmla="*/ 1159607 w 2068442"/>
                <a:gd name="connsiteY414" fmla="*/ 1480687 h 1480687"/>
                <a:gd name="connsiteX415" fmla="*/ 1149153 w 2068442"/>
                <a:gd name="connsiteY415" fmla="*/ 1480687 h 1480687"/>
                <a:gd name="connsiteX416" fmla="*/ 1144646 w 2068442"/>
                <a:gd name="connsiteY416" fmla="*/ 1476220 h 1480687"/>
                <a:gd name="connsiteX417" fmla="*/ 1134631 w 2068442"/>
                <a:gd name="connsiteY417" fmla="*/ 1476220 h 1480687"/>
                <a:gd name="connsiteX418" fmla="*/ 1134631 w 2068442"/>
                <a:gd name="connsiteY418" fmla="*/ 1470673 h 1480687"/>
                <a:gd name="connsiteX419" fmla="*/ 1115602 w 2068442"/>
                <a:gd name="connsiteY419" fmla="*/ 1451149 h 1480687"/>
                <a:gd name="connsiteX420" fmla="*/ 1071096 w 2068442"/>
                <a:gd name="connsiteY420" fmla="*/ 1431696 h 1480687"/>
                <a:gd name="connsiteX421" fmla="*/ 1046620 w 2068442"/>
                <a:gd name="connsiteY421" fmla="*/ 1427158 h 1480687"/>
                <a:gd name="connsiteX422" fmla="*/ 1022583 w 2068442"/>
                <a:gd name="connsiteY422" fmla="*/ 1437172 h 1480687"/>
                <a:gd name="connsiteX423" fmla="*/ 1007560 w 2068442"/>
                <a:gd name="connsiteY423" fmla="*/ 1437172 h 1480687"/>
                <a:gd name="connsiteX424" fmla="*/ 992600 w 2068442"/>
                <a:gd name="connsiteY424" fmla="*/ 1441639 h 1480687"/>
                <a:gd name="connsiteX425" fmla="*/ 988093 w 2068442"/>
                <a:gd name="connsiteY425" fmla="*/ 1451149 h 1480687"/>
                <a:gd name="connsiteX426" fmla="*/ 988093 w 2068442"/>
                <a:gd name="connsiteY426" fmla="*/ 1456696 h 1480687"/>
                <a:gd name="connsiteX427" fmla="*/ 978578 w 2068442"/>
                <a:gd name="connsiteY427" fmla="*/ 1461163 h 1480687"/>
                <a:gd name="connsiteX428" fmla="*/ 973571 w 2068442"/>
                <a:gd name="connsiteY428" fmla="*/ 1466206 h 1480687"/>
                <a:gd name="connsiteX429" fmla="*/ 949534 w 2068442"/>
                <a:gd name="connsiteY429" fmla="*/ 1470673 h 1480687"/>
                <a:gd name="connsiteX430" fmla="*/ 944088 w 2068442"/>
                <a:gd name="connsiteY430" fmla="*/ 1476220 h 1480687"/>
                <a:gd name="connsiteX431" fmla="*/ 934573 w 2068442"/>
                <a:gd name="connsiteY431" fmla="*/ 1466206 h 1480687"/>
                <a:gd name="connsiteX432" fmla="*/ 924558 w 2068442"/>
                <a:gd name="connsiteY432" fmla="*/ 1456696 h 1480687"/>
                <a:gd name="connsiteX433" fmla="*/ 919550 w 2068442"/>
                <a:gd name="connsiteY433" fmla="*/ 1437172 h 1480687"/>
                <a:gd name="connsiteX434" fmla="*/ 915043 w 2068442"/>
                <a:gd name="connsiteY434" fmla="*/ 1431696 h 1480687"/>
                <a:gd name="connsiteX435" fmla="*/ 915043 w 2068442"/>
                <a:gd name="connsiteY435" fmla="*/ 1422186 h 1480687"/>
                <a:gd name="connsiteX436" fmla="*/ 909535 w 2068442"/>
                <a:gd name="connsiteY436" fmla="*/ 1417648 h 1480687"/>
                <a:gd name="connsiteX437" fmla="*/ 905028 w 2068442"/>
                <a:gd name="connsiteY437" fmla="*/ 1422186 h 1480687"/>
                <a:gd name="connsiteX438" fmla="*/ 900020 w 2068442"/>
                <a:gd name="connsiteY438" fmla="*/ 1417648 h 1480687"/>
                <a:gd name="connsiteX439" fmla="*/ 895513 w 2068442"/>
                <a:gd name="connsiteY439" fmla="*/ 1422186 h 1480687"/>
                <a:gd name="connsiteX440" fmla="*/ 876046 w 2068442"/>
                <a:gd name="connsiteY440" fmla="*/ 1402662 h 1480687"/>
                <a:gd name="connsiteX441" fmla="*/ 832040 w 2068442"/>
                <a:gd name="connsiteY441" fmla="*/ 1393152 h 1480687"/>
                <a:gd name="connsiteX442" fmla="*/ 826532 w 2068442"/>
                <a:gd name="connsiteY442" fmla="*/ 1378599 h 1480687"/>
                <a:gd name="connsiteX443" fmla="*/ 836547 w 2068442"/>
                <a:gd name="connsiteY443" fmla="*/ 1359147 h 1480687"/>
                <a:gd name="connsiteX444" fmla="*/ 845999 w 2068442"/>
                <a:gd name="connsiteY444" fmla="*/ 1354104 h 1480687"/>
                <a:gd name="connsiteX445" fmla="*/ 851508 w 2068442"/>
                <a:gd name="connsiteY445" fmla="*/ 1354104 h 1480687"/>
                <a:gd name="connsiteX446" fmla="*/ 854599 w 2068442"/>
                <a:gd name="connsiteY446" fmla="*/ 1353397 h 1480687"/>
                <a:gd name="connsiteX447" fmla="*/ 854599 w 2068442"/>
                <a:gd name="connsiteY447" fmla="*/ 1352004 h 1480687"/>
                <a:gd name="connsiteX448" fmla="*/ 850815 w 2068442"/>
                <a:gd name="connsiteY448" fmla="*/ 1352885 h 1480687"/>
                <a:gd name="connsiteX449" fmla="*/ 850815 w 2068442"/>
                <a:gd name="connsiteY449" fmla="*/ 1342870 h 1480687"/>
                <a:gd name="connsiteX450" fmla="*/ 831259 w 2068442"/>
                <a:gd name="connsiteY450" fmla="*/ 1342870 h 1480687"/>
                <a:gd name="connsiteX451" fmla="*/ 831259 w 2068442"/>
                <a:gd name="connsiteY451" fmla="*/ 1328862 h 1480687"/>
                <a:gd name="connsiteX452" fmla="*/ 777216 w 2068442"/>
                <a:gd name="connsiteY452" fmla="*/ 1318848 h 1480687"/>
                <a:gd name="connsiteX453" fmla="*/ 767742 w 2068442"/>
                <a:gd name="connsiteY453" fmla="*/ 1309306 h 1480687"/>
                <a:gd name="connsiteX454" fmla="*/ 762739 w 2068442"/>
                <a:gd name="connsiteY454" fmla="*/ 1309306 h 1480687"/>
                <a:gd name="connsiteX455" fmla="*/ 748186 w 2068442"/>
                <a:gd name="connsiteY455" fmla="*/ 1309306 h 1480687"/>
                <a:gd name="connsiteX456" fmla="*/ 743183 w 2068442"/>
                <a:gd name="connsiteY456" fmla="*/ 1313840 h 1480687"/>
                <a:gd name="connsiteX457" fmla="*/ 738711 w 2068442"/>
                <a:gd name="connsiteY457" fmla="*/ 1309306 h 1480687"/>
                <a:gd name="connsiteX458" fmla="*/ 738711 w 2068442"/>
                <a:gd name="connsiteY458" fmla="*/ 1303825 h 1480687"/>
                <a:gd name="connsiteX459" fmla="*/ 728706 w 2068442"/>
                <a:gd name="connsiteY459" fmla="*/ 1309306 h 1480687"/>
                <a:gd name="connsiteX460" fmla="*/ 728706 w 2068442"/>
                <a:gd name="connsiteY460" fmla="*/ 1328862 h 1480687"/>
                <a:gd name="connsiteX461" fmla="*/ 713699 w 2068442"/>
                <a:gd name="connsiteY461" fmla="*/ 1333328 h 1480687"/>
                <a:gd name="connsiteX462" fmla="*/ 689141 w 2068442"/>
                <a:gd name="connsiteY462" fmla="*/ 1284811 h 1480687"/>
                <a:gd name="connsiteX463" fmla="*/ 679666 w 2068442"/>
                <a:gd name="connsiteY463" fmla="*/ 1279803 h 1480687"/>
                <a:gd name="connsiteX464" fmla="*/ 679666 w 2068442"/>
                <a:gd name="connsiteY464" fmla="*/ 1270330 h 1480687"/>
                <a:gd name="connsiteX465" fmla="*/ 669661 w 2068442"/>
                <a:gd name="connsiteY465" fmla="*/ 1265322 h 1480687"/>
                <a:gd name="connsiteX466" fmla="*/ 640631 w 2068442"/>
                <a:gd name="connsiteY466" fmla="*/ 1270330 h 1480687"/>
                <a:gd name="connsiteX467" fmla="*/ 625623 w 2068442"/>
                <a:gd name="connsiteY467" fmla="*/ 1260789 h 1480687"/>
                <a:gd name="connsiteX468" fmla="*/ 606068 w 2068442"/>
                <a:gd name="connsiteY468" fmla="*/ 1274796 h 1480687"/>
                <a:gd name="connsiteX469" fmla="*/ 592045 w 2068442"/>
                <a:gd name="connsiteY469" fmla="*/ 1260789 h 1480687"/>
                <a:gd name="connsiteX470" fmla="*/ 586588 w 2068442"/>
                <a:gd name="connsiteY470" fmla="*/ 1245766 h 1480687"/>
                <a:gd name="connsiteX471" fmla="*/ 567033 w 2068442"/>
                <a:gd name="connsiteY471" fmla="*/ 1231285 h 1480687"/>
                <a:gd name="connsiteX472" fmla="*/ 552025 w 2068442"/>
                <a:gd name="connsiteY472" fmla="*/ 1231285 h 1480687"/>
                <a:gd name="connsiteX473" fmla="*/ 538003 w 2068442"/>
                <a:gd name="connsiteY473" fmla="*/ 1226278 h 1480687"/>
                <a:gd name="connsiteX474" fmla="*/ 527998 w 2068442"/>
                <a:gd name="connsiteY474" fmla="*/ 1226278 h 1480687"/>
                <a:gd name="connsiteX475" fmla="*/ 518523 w 2068442"/>
                <a:gd name="connsiteY475" fmla="*/ 1221744 h 1480687"/>
                <a:gd name="connsiteX476" fmla="*/ 513520 w 2068442"/>
                <a:gd name="connsiteY476" fmla="*/ 1221744 h 1480687"/>
                <a:gd name="connsiteX477" fmla="*/ 503439 w 2068442"/>
                <a:gd name="connsiteY477" fmla="*/ 1226278 h 1480687"/>
                <a:gd name="connsiteX478" fmla="*/ 478957 w 2068442"/>
                <a:gd name="connsiteY478" fmla="*/ 1206790 h 1480687"/>
                <a:gd name="connsiteX479" fmla="*/ 454930 w 2068442"/>
                <a:gd name="connsiteY479" fmla="*/ 1196775 h 1480687"/>
                <a:gd name="connsiteX480" fmla="*/ 449927 w 2068442"/>
                <a:gd name="connsiteY480" fmla="*/ 1202256 h 1480687"/>
                <a:gd name="connsiteX481" fmla="*/ 420367 w 2068442"/>
                <a:gd name="connsiteY481" fmla="*/ 1187233 h 1480687"/>
                <a:gd name="connsiteX482" fmla="*/ 405359 w 2068442"/>
                <a:gd name="connsiteY482" fmla="*/ 1187233 h 1480687"/>
                <a:gd name="connsiteX483" fmla="*/ 395884 w 2068442"/>
                <a:gd name="connsiteY483" fmla="*/ 1202256 h 1480687"/>
                <a:gd name="connsiteX484" fmla="*/ 400887 w 2068442"/>
                <a:gd name="connsiteY484" fmla="*/ 1206790 h 1480687"/>
                <a:gd name="connsiteX485" fmla="*/ 400887 w 2068442"/>
                <a:gd name="connsiteY485" fmla="*/ 1211797 h 1480687"/>
                <a:gd name="connsiteX486" fmla="*/ 400887 w 2068442"/>
                <a:gd name="connsiteY486" fmla="*/ 1216263 h 1480687"/>
                <a:gd name="connsiteX487" fmla="*/ 395884 w 2068442"/>
                <a:gd name="connsiteY487" fmla="*/ 1221744 h 1480687"/>
                <a:gd name="connsiteX488" fmla="*/ 395884 w 2068442"/>
                <a:gd name="connsiteY488" fmla="*/ 1226278 h 1480687"/>
                <a:gd name="connsiteX489" fmla="*/ 391337 w 2068442"/>
                <a:gd name="connsiteY489" fmla="*/ 1226278 h 1480687"/>
                <a:gd name="connsiteX490" fmla="*/ 400887 w 2068442"/>
                <a:gd name="connsiteY490" fmla="*/ 1231285 h 1480687"/>
                <a:gd name="connsiteX491" fmla="*/ 391337 w 2068442"/>
                <a:gd name="connsiteY491" fmla="*/ 1241300 h 1480687"/>
                <a:gd name="connsiteX492" fmla="*/ 400887 w 2068442"/>
                <a:gd name="connsiteY492" fmla="*/ 1245766 h 1480687"/>
                <a:gd name="connsiteX493" fmla="*/ 400887 w 2068442"/>
                <a:gd name="connsiteY493" fmla="*/ 1274796 h 1480687"/>
                <a:gd name="connsiteX494" fmla="*/ 400887 w 2068442"/>
                <a:gd name="connsiteY494" fmla="*/ 1279803 h 1480687"/>
                <a:gd name="connsiteX495" fmla="*/ 376329 w 2068442"/>
                <a:gd name="connsiteY495" fmla="*/ 1274796 h 1480687"/>
                <a:gd name="connsiteX496" fmla="*/ 371857 w 2068442"/>
                <a:gd name="connsiteY496" fmla="*/ 1270330 h 1480687"/>
                <a:gd name="connsiteX497" fmla="*/ 366854 w 2068442"/>
                <a:gd name="connsiteY497" fmla="*/ 1274796 h 1480687"/>
                <a:gd name="connsiteX498" fmla="*/ 347299 w 2068442"/>
                <a:gd name="connsiteY498" fmla="*/ 1270330 h 1480687"/>
                <a:gd name="connsiteX499" fmla="*/ 341842 w 2068442"/>
                <a:gd name="connsiteY499" fmla="*/ 1270330 h 1480687"/>
                <a:gd name="connsiteX500" fmla="*/ 341842 w 2068442"/>
                <a:gd name="connsiteY500" fmla="*/ 1274796 h 1480687"/>
                <a:gd name="connsiteX501" fmla="*/ 322286 w 2068442"/>
                <a:gd name="connsiteY501" fmla="*/ 1274796 h 1480687"/>
                <a:gd name="connsiteX502" fmla="*/ 303261 w 2068442"/>
                <a:gd name="connsiteY502" fmla="*/ 1274796 h 1480687"/>
                <a:gd name="connsiteX503" fmla="*/ 288784 w 2068442"/>
                <a:gd name="connsiteY503" fmla="*/ 1270330 h 1480687"/>
                <a:gd name="connsiteX504" fmla="*/ 288784 w 2068442"/>
                <a:gd name="connsiteY504" fmla="*/ 1265322 h 1480687"/>
                <a:gd name="connsiteX505" fmla="*/ 278248 w 2068442"/>
                <a:gd name="connsiteY505" fmla="*/ 1260789 h 1480687"/>
                <a:gd name="connsiteX506" fmla="*/ 258769 w 2068442"/>
                <a:gd name="connsiteY506" fmla="*/ 1270330 h 1480687"/>
                <a:gd name="connsiteX507" fmla="*/ 258769 w 2068442"/>
                <a:gd name="connsiteY507" fmla="*/ 1279803 h 1480687"/>
                <a:gd name="connsiteX508" fmla="*/ 249218 w 2068442"/>
                <a:gd name="connsiteY508" fmla="*/ 1284811 h 1480687"/>
                <a:gd name="connsiteX509" fmla="*/ 234741 w 2068442"/>
                <a:gd name="connsiteY509" fmla="*/ 1274796 h 1480687"/>
                <a:gd name="connsiteX510" fmla="*/ 234741 w 2068442"/>
                <a:gd name="connsiteY510" fmla="*/ 1260789 h 1480687"/>
                <a:gd name="connsiteX511" fmla="*/ 215186 w 2068442"/>
                <a:gd name="connsiteY511" fmla="*/ 1255307 h 1480687"/>
                <a:gd name="connsiteX512" fmla="*/ 205181 w 2068442"/>
                <a:gd name="connsiteY512" fmla="*/ 1250774 h 1480687"/>
                <a:gd name="connsiteX513" fmla="*/ 185701 w 2068442"/>
                <a:gd name="connsiteY513" fmla="*/ 1255307 h 1480687"/>
                <a:gd name="connsiteX514" fmla="*/ 171148 w 2068442"/>
                <a:gd name="connsiteY514" fmla="*/ 1265322 h 1480687"/>
                <a:gd name="connsiteX515" fmla="*/ 166145 w 2068442"/>
                <a:gd name="connsiteY515" fmla="*/ 1260789 h 1480687"/>
                <a:gd name="connsiteX516" fmla="*/ 161673 w 2068442"/>
                <a:gd name="connsiteY516" fmla="*/ 1260789 h 1480687"/>
                <a:gd name="connsiteX517" fmla="*/ 151668 w 2068442"/>
                <a:gd name="connsiteY517" fmla="*/ 1270330 h 1480687"/>
                <a:gd name="connsiteX518" fmla="*/ 142118 w 2068442"/>
                <a:gd name="connsiteY518" fmla="*/ 1265322 h 1480687"/>
                <a:gd name="connsiteX519" fmla="*/ 131658 w 2068442"/>
                <a:gd name="connsiteY519" fmla="*/ 1274796 h 1480687"/>
                <a:gd name="connsiteX520" fmla="*/ 102628 w 2068442"/>
                <a:gd name="connsiteY520" fmla="*/ 1270330 h 1480687"/>
                <a:gd name="connsiteX521" fmla="*/ 102628 w 2068442"/>
                <a:gd name="connsiteY521" fmla="*/ 1255307 h 1480687"/>
                <a:gd name="connsiteX522" fmla="*/ 88075 w 2068442"/>
                <a:gd name="connsiteY522" fmla="*/ 1255307 h 1480687"/>
                <a:gd name="connsiteX523" fmla="*/ 73598 w 2068442"/>
                <a:gd name="connsiteY523" fmla="*/ 1226278 h 1480687"/>
                <a:gd name="connsiteX524" fmla="*/ 68595 w 2068442"/>
                <a:gd name="connsiteY524" fmla="*/ 1211797 h 1480687"/>
                <a:gd name="connsiteX525" fmla="*/ 58590 w 2068442"/>
                <a:gd name="connsiteY525" fmla="*/ 1216263 h 1480687"/>
                <a:gd name="connsiteX526" fmla="*/ 34563 w 2068442"/>
                <a:gd name="connsiteY526" fmla="*/ 1206790 h 1480687"/>
                <a:gd name="connsiteX527" fmla="*/ 34563 w 2068442"/>
                <a:gd name="connsiteY527" fmla="*/ 1202256 h 1480687"/>
                <a:gd name="connsiteX528" fmla="*/ 34563 w 2068442"/>
                <a:gd name="connsiteY528" fmla="*/ 1196775 h 1480687"/>
                <a:gd name="connsiteX529" fmla="*/ 29030 w 2068442"/>
                <a:gd name="connsiteY529" fmla="*/ 1196775 h 1480687"/>
                <a:gd name="connsiteX530" fmla="*/ 5002 w 2068442"/>
                <a:gd name="connsiteY530" fmla="*/ 1182767 h 1480687"/>
                <a:gd name="connsiteX531" fmla="*/ 0 w 2068442"/>
                <a:gd name="connsiteY531" fmla="*/ 1143723 h 1480687"/>
                <a:gd name="connsiteX532" fmla="*/ 9474 w 2068442"/>
                <a:gd name="connsiteY532" fmla="*/ 1138716 h 1480687"/>
                <a:gd name="connsiteX533" fmla="*/ 19555 w 2068442"/>
                <a:gd name="connsiteY533" fmla="*/ 1138716 h 1480687"/>
                <a:gd name="connsiteX534" fmla="*/ 19555 w 2068442"/>
                <a:gd name="connsiteY534" fmla="*/ 1128701 h 1480687"/>
                <a:gd name="connsiteX535" fmla="*/ 15007 w 2068442"/>
                <a:gd name="connsiteY535" fmla="*/ 1119227 h 1480687"/>
                <a:gd name="connsiteX536" fmla="*/ 19555 w 2068442"/>
                <a:gd name="connsiteY536" fmla="*/ 1095205 h 1480687"/>
                <a:gd name="connsiteX537" fmla="*/ 29030 w 2068442"/>
                <a:gd name="connsiteY537" fmla="*/ 1095205 h 1480687"/>
                <a:gd name="connsiteX538" fmla="*/ 29030 w 2068442"/>
                <a:gd name="connsiteY538" fmla="*/ 1080183 h 1480687"/>
                <a:gd name="connsiteX539" fmla="*/ 39035 w 2068442"/>
                <a:gd name="connsiteY539" fmla="*/ 1075649 h 1480687"/>
                <a:gd name="connsiteX540" fmla="*/ 44037 w 2068442"/>
                <a:gd name="connsiteY540" fmla="*/ 1080183 h 1480687"/>
                <a:gd name="connsiteX541" fmla="*/ 63593 w 2068442"/>
                <a:gd name="connsiteY541" fmla="*/ 1070709 h 1480687"/>
                <a:gd name="connsiteX542" fmla="*/ 58590 w 2068442"/>
                <a:gd name="connsiteY542" fmla="*/ 1070709 h 1480687"/>
                <a:gd name="connsiteX543" fmla="*/ 58590 w 2068442"/>
                <a:gd name="connsiteY543" fmla="*/ 1066176 h 1480687"/>
                <a:gd name="connsiteX544" fmla="*/ 58590 w 2068442"/>
                <a:gd name="connsiteY544" fmla="*/ 1041139 h 1480687"/>
                <a:gd name="connsiteX545" fmla="*/ 58590 w 2068442"/>
                <a:gd name="connsiteY545" fmla="*/ 1036672 h 1480687"/>
                <a:gd name="connsiteX546" fmla="*/ 68595 w 2068442"/>
                <a:gd name="connsiteY546" fmla="*/ 1041139 h 1480687"/>
                <a:gd name="connsiteX547" fmla="*/ 78601 w 2068442"/>
                <a:gd name="connsiteY547" fmla="*/ 1031665 h 1480687"/>
                <a:gd name="connsiteX548" fmla="*/ 78601 w 2068442"/>
                <a:gd name="connsiteY548" fmla="*/ 1021650 h 1480687"/>
                <a:gd name="connsiteX549" fmla="*/ 83073 w 2068442"/>
                <a:gd name="connsiteY549" fmla="*/ 1021650 h 1480687"/>
                <a:gd name="connsiteX550" fmla="*/ 88075 w 2068442"/>
                <a:gd name="connsiteY550" fmla="*/ 1007643 h 1480687"/>
                <a:gd name="connsiteX551" fmla="*/ 92623 w 2068442"/>
                <a:gd name="connsiteY551" fmla="*/ 1002162 h 1480687"/>
                <a:gd name="connsiteX552" fmla="*/ 92623 w 2068442"/>
                <a:gd name="connsiteY552" fmla="*/ 1007643 h 1480687"/>
                <a:gd name="connsiteX553" fmla="*/ 98080 w 2068442"/>
                <a:gd name="connsiteY553" fmla="*/ 1007643 h 1480687"/>
                <a:gd name="connsiteX554" fmla="*/ 107631 w 2068442"/>
                <a:gd name="connsiteY554" fmla="*/ 1007643 h 1480687"/>
                <a:gd name="connsiteX555" fmla="*/ 107631 w 2068442"/>
                <a:gd name="connsiteY555" fmla="*/ 983147 h 1480687"/>
                <a:gd name="connsiteX556" fmla="*/ 112103 w 2068442"/>
                <a:gd name="connsiteY556" fmla="*/ 983147 h 1480687"/>
                <a:gd name="connsiteX557" fmla="*/ 117636 w 2068442"/>
                <a:gd name="connsiteY557" fmla="*/ 978140 h 1480687"/>
                <a:gd name="connsiteX558" fmla="*/ 122108 w 2068442"/>
                <a:gd name="connsiteY558" fmla="*/ 968599 h 1480687"/>
                <a:gd name="connsiteX559" fmla="*/ 127110 w 2068442"/>
                <a:gd name="connsiteY559" fmla="*/ 953576 h 1480687"/>
                <a:gd name="connsiteX560" fmla="*/ 131658 w 2068442"/>
                <a:gd name="connsiteY560" fmla="*/ 949110 h 1480687"/>
                <a:gd name="connsiteX561" fmla="*/ 122108 w 2068442"/>
                <a:gd name="connsiteY561" fmla="*/ 944103 h 1480687"/>
                <a:gd name="connsiteX562" fmla="*/ 127110 w 2068442"/>
                <a:gd name="connsiteY562" fmla="*/ 934088 h 1480687"/>
                <a:gd name="connsiteX563" fmla="*/ 127110 w 2068442"/>
                <a:gd name="connsiteY563" fmla="*/ 924614 h 1480687"/>
                <a:gd name="connsiteX564" fmla="*/ 131658 w 2068442"/>
                <a:gd name="connsiteY564" fmla="*/ 924614 h 1480687"/>
                <a:gd name="connsiteX565" fmla="*/ 146666 w 2068442"/>
                <a:gd name="connsiteY565" fmla="*/ 924614 h 1480687"/>
                <a:gd name="connsiteX566" fmla="*/ 151668 w 2068442"/>
                <a:gd name="connsiteY566" fmla="*/ 920081 h 1480687"/>
                <a:gd name="connsiteX567" fmla="*/ 151668 w 2068442"/>
                <a:gd name="connsiteY567" fmla="*/ 914600 h 1480687"/>
                <a:gd name="connsiteX568" fmla="*/ 151668 w 2068442"/>
                <a:gd name="connsiteY568" fmla="*/ 910066 h 1480687"/>
                <a:gd name="connsiteX569" fmla="*/ 142118 w 2068442"/>
                <a:gd name="connsiteY569" fmla="*/ 905058 h 1480687"/>
                <a:gd name="connsiteX570" fmla="*/ 142118 w 2068442"/>
                <a:gd name="connsiteY570" fmla="*/ 900592 h 1480687"/>
                <a:gd name="connsiteX571" fmla="*/ 142118 w 2068442"/>
                <a:gd name="connsiteY571" fmla="*/ 890577 h 1480687"/>
                <a:gd name="connsiteX572" fmla="*/ 142118 w 2068442"/>
                <a:gd name="connsiteY572" fmla="*/ 885570 h 1480687"/>
                <a:gd name="connsiteX573" fmla="*/ 146666 w 2068442"/>
                <a:gd name="connsiteY573" fmla="*/ 871563 h 1480687"/>
                <a:gd name="connsiteX574" fmla="*/ 142118 w 2068442"/>
                <a:gd name="connsiteY574" fmla="*/ 871563 h 1480687"/>
                <a:gd name="connsiteX575" fmla="*/ 142118 w 2068442"/>
                <a:gd name="connsiteY575" fmla="*/ 861548 h 1480687"/>
                <a:gd name="connsiteX576" fmla="*/ 137115 w 2068442"/>
                <a:gd name="connsiteY576" fmla="*/ 861548 h 1480687"/>
                <a:gd name="connsiteX577" fmla="*/ 131658 w 2068442"/>
                <a:gd name="connsiteY577" fmla="*/ 866082 h 1480687"/>
                <a:gd name="connsiteX578" fmla="*/ 127110 w 2068442"/>
                <a:gd name="connsiteY578" fmla="*/ 876029 h 1480687"/>
                <a:gd name="connsiteX579" fmla="*/ 122108 w 2068442"/>
                <a:gd name="connsiteY579" fmla="*/ 881036 h 1480687"/>
                <a:gd name="connsiteX580" fmla="*/ 117636 w 2068442"/>
                <a:gd name="connsiteY580" fmla="*/ 876029 h 1480687"/>
                <a:gd name="connsiteX581" fmla="*/ 122108 w 2068442"/>
                <a:gd name="connsiteY581" fmla="*/ 871563 h 1480687"/>
                <a:gd name="connsiteX582" fmla="*/ 117636 w 2068442"/>
                <a:gd name="connsiteY582" fmla="*/ 866082 h 1480687"/>
                <a:gd name="connsiteX583" fmla="*/ 117636 w 2068442"/>
                <a:gd name="connsiteY583" fmla="*/ 861548 h 1480687"/>
                <a:gd name="connsiteX584" fmla="*/ 117636 w 2068442"/>
                <a:gd name="connsiteY584" fmla="*/ 852007 h 1480687"/>
                <a:gd name="connsiteX585" fmla="*/ 131658 w 2068442"/>
                <a:gd name="connsiteY585" fmla="*/ 846526 h 1480687"/>
                <a:gd name="connsiteX586" fmla="*/ 137115 w 2068442"/>
                <a:gd name="connsiteY586" fmla="*/ 846526 h 1480687"/>
                <a:gd name="connsiteX587" fmla="*/ 131658 w 2068442"/>
                <a:gd name="connsiteY587" fmla="*/ 842060 h 1480687"/>
                <a:gd name="connsiteX588" fmla="*/ 122108 w 2068442"/>
                <a:gd name="connsiteY588" fmla="*/ 832518 h 1480687"/>
                <a:gd name="connsiteX589" fmla="*/ 127110 w 2068442"/>
                <a:gd name="connsiteY589" fmla="*/ 827037 h 1480687"/>
                <a:gd name="connsiteX590" fmla="*/ 127110 w 2068442"/>
                <a:gd name="connsiteY590" fmla="*/ 822504 h 1480687"/>
                <a:gd name="connsiteX591" fmla="*/ 127110 w 2068442"/>
                <a:gd name="connsiteY591" fmla="*/ 817496 h 1480687"/>
                <a:gd name="connsiteX592" fmla="*/ 127110 w 2068442"/>
                <a:gd name="connsiteY592" fmla="*/ 813030 h 1480687"/>
                <a:gd name="connsiteX593" fmla="*/ 122108 w 2068442"/>
                <a:gd name="connsiteY593" fmla="*/ 813030 h 1480687"/>
                <a:gd name="connsiteX594" fmla="*/ 117636 w 2068442"/>
                <a:gd name="connsiteY594" fmla="*/ 803015 h 1480687"/>
                <a:gd name="connsiteX595" fmla="*/ 107631 w 2068442"/>
                <a:gd name="connsiteY595" fmla="*/ 803015 h 1480687"/>
                <a:gd name="connsiteX596" fmla="*/ 107631 w 2068442"/>
                <a:gd name="connsiteY596" fmla="*/ 793474 h 1480687"/>
                <a:gd name="connsiteX597" fmla="*/ 107631 w 2068442"/>
                <a:gd name="connsiteY597" fmla="*/ 783527 h 1480687"/>
                <a:gd name="connsiteX598" fmla="*/ 92623 w 2068442"/>
                <a:gd name="connsiteY598" fmla="*/ 783527 h 1480687"/>
                <a:gd name="connsiteX599" fmla="*/ 83073 w 2068442"/>
                <a:gd name="connsiteY599" fmla="*/ 783527 h 1480687"/>
                <a:gd name="connsiteX600" fmla="*/ 78601 w 2068442"/>
                <a:gd name="connsiteY600" fmla="*/ 778519 h 1480687"/>
                <a:gd name="connsiteX601" fmla="*/ 73598 w 2068442"/>
                <a:gd name="connsiteY601" fmla="*/ 773986 h 1480687"/>
                <a:gd name="connsiteX602" fmla="*/ 63593 w 2068442"/>
                <a:gd name="connsiteY602" fmla="*/ 783527 h 1480687"/>
                <a:gd name="connsiteX603" fmla="*/ 58590 w 2068442"/>
                <a:gd name="connsiteY603" fmla="*/ 778519 h 1480687"/>
                <a:gd name="connsiteX604" fmla="*/ 48509 w 2068442"/>
                <a:gd name="connsiteY604" fmla="*/ 778519 h 1480687"/>
                <a:gd name="connsiteX605" fmla="*/ 44037 w 2068442"/>
                <a:gd name="connsiteY605" fmla="*/ 773986 h 1480687"/>
                <a:gd name="connsiteX606" fmla="*/ 44037 w 2068442"/>
                <a:gd name="connsiteY606" fmla="*/ 764512 h 1480687"/>
                <a:gd name="connsiteX607" fmla="*/ 34563 w 2068442"/>
                <a:gd name="connsiteY607" fmla="*/ 758963 h 1480687"/>
                <a:gd name="connsiteX608" fmla="*/ 34563 w 2068442"/>
                <a:gd name="connsiteY608" fmla="*/ 749490 h 1480687"/>
                <a:gd name="connsiteX609" fmla="*/ 39035 w 2068442"/>
                <a:gd name="connsiteY609" fmla="*/ 749490 h 1480687"/>
                <a:gd name="connsiteX610" fmla="*/ 39035 w 2068442"/>
                <a:gd name="connsiteY610" fmla="*/ 744956 h 1480687"/>
                <a:gd name="connsiteX611" fmla="*/ 44037 w 2068442"/>
                <a:gd name="connsiteY611" fmla="*/ 744956 h 1480687"/>
                <a:gd name="connsiteX612" fmla="*/ 48509 w 2068442"/>
                <a:gd name="connsiteY612" fmla="*/ 739475 h 1480687"/>
                <a:gd name="connsiteX613" fmla="*/ 48509 w 2068442"/>
                <a:gd name="connsiteY613" fmla="*/ 734941 h 1480687"/>
                <a:gd name="connsiteX614" fmla="*/ 44037 w 2068442"/>
                <a:gd name="connsiteY614" fmla="*/ 729934 h 1480687"/>
                <a:gd name="connsiteX615" fmla="*/ 44037 w 2068442"/>
                <a:gd name="connsiteY615" fmla="*/ 725468 h 1480687"/>
                <a:gd name="connsiteX616" fmla="*/ 48509 w 2068442"/>
                <a:gd name="connsiteY616" fmla="*/ 719987 h 1480687"/>
                <a:gd name="connsiteX617" fmla="*/ 48509 w 2068442"/>
                <a:gd name="connsiteY617" fmla="*/ 715453 h 1480687"/>
                <a:gd name="connsiteX618" fmla="*/ 58590 w 2068442"/>
                <a:gd name="connsiteY618" fmla="*/ 710446 h 1480687"/>
                <a:gd name="connsiteX619" fmla="*/ 63593 w 2068442"/>
                <a:gd name="connsiteY619" fmla="*/ 700431 h 1480687"/>
                <a:gd name="connsiteX620" fmla="*/ 68595 w 2068442"/>
                <a:gd name="connsiteY620" fmla="*/ 700431 h 1480687"/>
                <a:gd name="connsiteX621" fmla="*/ 68595 w 2068442"/>
                <a:gd name="connsiteY621" fmla="*/ 690957 h 1480687"/>
                <a:gd name="connsiteX622" fmla="*/ 58590 w 2068442"/>
                <a:gd name="connsiteY622" fmla="*/ 690957 h 1480687"/>
                <a:gd name="connsiteX623" fmla="*/ 63593 w 2068442"/>
                <a:gd name="connsiteY623" fmla="*/ 686423 h 1480687"/>
                <a:gd name="connsiteX624" fmla="*/ 58590 w 2068442"/>
                <a:gd name="connsiteY624" fmla="*/ 671401 h 1480687"/>
                <a:gd name="connsiteX625" fmla="*/ 63593 w 2068442"/>
                <a:gd name="connsiteY625" fmla="*/ 657394 h 1480687"/>
                <a:gd name="connsiteX626" fmla="*/ 73598 w 2068442"/>
                <a:gd name="connsiteY626" fmla="*/ 657394 h 1480687"/>
                <a:gd name="connsiteX627" fmla="*/ 73598 w 2068442"/>
                <a:gd name="connsiteY627" fmla="*/ 642439 h 1480687"/>
                <a:gd name="connsiteX628" fmla="*/ 68595 w 2068442"/>
                <a:gd name="connsiteY628" fmla="*/ 632424 h 1480687"/>
                <a:gd name="connsiteX629" fmla="*/ 73598 w 2068442"/>
                <a:gd name="connsiteY629" fmla="*/ 627891 h 1480687"/>
                <a:gd name="connsiteX630" fmla="*/ 73598 w 2068442"/>
                <a:gd name="connsiteY630" fmla="*/ 618417 h 1480687"/>
                <a:gd name="connsiteX631" fmla="*/ 63593 w 2068442"/>
                <a:gd name="connsiteY631" fmla="*/ 618417 h 1480687"/>
                <a:gd name="connsiteX632" fmla="*/ 58590 w 2068442"/>
                <a:gd name="connsiteY632" fmla="*/ 612868 h 1480687"/>
                <a:gd name="connsiteX633" fmla="*/ 54043 w 2068442"/>
                <a:gd name="connsiteY633" fmla="*/ 608402 h 1480687"/>
                <a:gd name="connsiteX634" fmla="*/ 58590 w 2068442"/>
                <a:gd name="connsiteY634" fmla="*/ 603395 h 1480687"/>
                <a:gd name="connsiteX635" fmla="*/ 68595 w 2068442"/>
                <a:gd name="connsiteY635" fmla="*/ 598861 h 1480687"/>
                <a:gd name="connsiteX636" fmla="*/ 78601 w 2068442"/>
                <a:gd name="connsiteY636" fmla="*/ 588846 h 1480687"/>
                <a:gd name="connsiteX637" fmla="*/ 83073 w 2068442"/>
                <a:gd name="connsiteY637" fmla="*/ 593854 h 1480687"/>
                <a:gd name="connsiteX638" fmla="*/ 92623 w 2068442"/>
                <a:gd name="connsiteY638" fmla="*/ 588846 h 1480687"/>
                <a:gd name="connsiteX639" fmla="*/ 98080 w 2068442"/>
                <a:gd name="connsiteY639" fmla="*/ 588846 h 1480687"/>
                <a:gd name="connsiteX640" fmla="*/ 102628 w 2068442"/>
                <a:gd name="connsiteY640" fmla="*/ 588846 h 1480687"/>
                <a:gd name="connsiteX641" fmla="*/ 112103 w 2068442"/>
                <a:gd name="connsiteY641" fmla="*/ 593854 h 1480687"/>
                <a:gd name="connsiteX642" fmla="*/ 112103 w 2068442"/>
                <a:gd name="connsiteY642" fmla="*/ 583839 h 1480687"/>
                <a:gd name="connsiteX643" fmla="*/ 137115 w 2068442"/>
                <a:gd name="connsiteY643" fmla="*/ 574365 h 1480687"/>
                <a:gd name="connsiteX644" fmla="*/ 137115 w 2068442"/>
                <a:gd name="connsiteY644" fmla="*/ 569832 h 1480687"/>
                <a:gd name="connsiteX645" fmla="*/ 151668 w 2068442"/>
                <a:gd name="connsiteY645" fmla="*/ 579373 h 1480687"/>
                <a:gd name="connsiteX646" fmla="*/ 151668 w 2068442"/>
                <a:gd name="connsiteY646" fmla="*/ 588846 h 1480687"/>
                <a:gd name="connsiteX647" fmla="*/ 146666 w 2068442"/>
                <a:gd name="connsiteY647" fmla="*/ 593854 h 1480687"/>
                <a:gd name="connsiteX648" fmla="*/ 161673 w 2068442"/>
                <a:gd name="connsiteY648" fmla="*/ 608402 h 1480687"/>
                <a:gd name="connsiteX649" fmla="*/ 161673 w 2068442"/>
                <a:gd name="connsiteY649" fmla="*/ 612868 h 1480687"/>
                <a:gd name="connsiteX650" fmla="*/ 175696 w 2068442"/>
                <a:gd name="connsiteY650" fmla="*/ 608402 h 1480687"/>
                <a:gd name="connsiteX651" fmla="*/ 181153 w 2068442"/>
                <a:gd name="connsiteY651" fmla="*/ 603395 h 1480687"/>
                <a:gd name="connsiteX652" fmla="*/ 171148 w 2068442"/>
                <a:gd name="connsiteY652" fmla="*/ 579373 h 1480687"/>
                <a:gd name="connsiteX653" fmla="*/ 175696 w 2068442"/>
                <a:gd name="connsiteY653" fmla="*/ 579373 h 1480687"/>
                <a:gd name="connsiteX654" fmla="*/ 175696 w 2068442"/>
                <a:gd name="connsiteY654" fmla="*/ 569832 h 1480687"/>
                <a:gd name="connsiteX655" fmla="*/ 181153 w 2068442"/>
                <a:gd name="connsiteY655" fmla="*/ 564351 h 1480687"/>
                <a:gd name="connsiteX656" fmla="*/ 195175 w 2068442"/>
                <a:gd name="connsiteY656" fmla="*/ 564351 h 1480687"/>
                <a:gd name="connsiteX657" fmla="*/ 200709 w 2068442"/>
                <a:gd name="connsiteY657" fmla="*/ 559884 h 1480687"/>
                <a:gd name="connsiteX658" fmla="*/ 205181 w 2068442"/>
                <a:gd name="connsiteY658" fmla="*/ 559884 h 1480687"/>
                <a:gd name="connsiteX659" fmla="*/ 205181 w 2068442"/>
                <a:gd name="connsiteY659" fmla="*/ 569832 h 1480687"/>
                <a:gd name="connsiteX660" fmla="*/ 215186 w 2068442"/>
                <a:gd name="connsiteY660" fmla="*/ 574365 h 1480687"/>
                <a:gd name="connsiteX661" fmla="*/ 220188 w 2068442"/>
                <a:gd name="connsiteY661" fmla="*/ 559884 h 1480687"/>
                <a:gd name="connsiteX662" fmla="*/ 225191 w 2068442"/>
                <a:gd name="connsiteY662" fmla="*/ 550343 h 1480687"/>
                <a:gd name="connsiteX663" fmla="*/ 229739 w 2068442"/>
                <a:gd name="connsiteY663" fmla="*/ 550343 h 1480687"/>
                <a:gd name="connsiteX664" fmla="*/ 234741 w 2068442"/>
                <a:gd name="connsiteY664" fmla="*/ 550343 h 1480687"/>
                <a:gd name="connsiteX665" fmla="*/ 244746 w 2068442"/>
                <a:gd name="connsiteY665" fmla="*/ 550343 h 1480687"/>
                <a:gd name="connsiteX666" fmla="*/ 244746 w 2068442"/>
                <a:gd name="connsiteY666" fmla="*/ 554877 h 1480687"/>
                <a:gd name="connsiteX667" fmla="*/ 258769 w 2068442"/>
                <a:gd name="connsiteY667" fmla="*/ 559884 h 1480687"/>
                <a:gd name="connsiteX668" fmla="*/ 268774 w 2068442"/>
                <a:gd name="connsiteY668" fmla="*/ 564351 h 1480687"/>
                <a:gd name="connsiteX669" fmla="*/ 273776 w 2068442"/>
                <a:gd name="connsiteY669" fmla="*/ 564351 h 1480687"/>
                <a:gd name="connsiteX670" fmla="*/ 278248 w 2068442"/>
                <a:gd name="connsiteY670" fmla="*/ 554877 h 1480687"/>
                <a:gd name="connsiteX671" fmla="*/ 322286 w 2068442"/>
                <a:gd name="connsiteY671" fmla="*/ 550343 h 1480687"/>
                <a:gd name="connsiteX672" fmla="*/ 327819 w 2068442"/>
                <a:gd name="connsiteY672" fmla="*/ 535321 h 1480687"/>
                <a:gd name="connsiteX673" fmla="*/ 332291 w 2068442"/>
                <a:gd name="connsiteY673" fmla="*/ 530855 h 1480687"/>
                <a:gd name="connsiteX674" fmla="*/ 341842 w 2068442"/>
                <a:gd name="connsiteY674" fmla="*/ 530855 h 1480687"/>
                <a:gd name="connsiteX675" fmla="*/ 351847 w 2068442"/>
                <a:gd name="connsiteY675" fmla="*/ 535321 h 1480687"/>
                <a:gd name="connsiteX676" fmla="*/ 351847 w 2068442"/>
                <a:gd name="connsiteY676" fmla="*/ 530855 h 1480687"/>
                <a:gd name="connsiteX677" fmla="*/ 362307 w 2068442"/>
                <a:gd name="connsiteY677" fmla="*/ 530855 h 1480687"/>
                <a:gd name="connsiteX678" fmla="*/ 366854 w 2068442"/>
                <a:gd name="connsiteY678" fmla="*/ 535321 h 1480687"/>
                <a:gd name="connsiteX679" fmla="*/ 371857 w 2068442"/>
                <a:gd name="connsiteY679" fmla="*/ 530855 h 1480687"/>
                <a:gd name="connsiteX680" fmla="*/ 381331 w 2068442"/>
                <a:gd name="connsiteY680" fmla="*/ 520840 h 1480687"/>
                <a:gd name="connsiteX681" fmla="*/ 391337 w 2068442"/>
                <a:gd name="connsiteY681" fmla="*/ 520840 h 1480687"/>
                <a:gd name="connsiteX682" fmla="*/ 400887 w 2068442"/>
                <a:gd name="connsiteY682" fmla="*/ 535321 h 1480687"/>
                <a:gd name="connsiteX683" fmla="*/ 405359 w 2068442"/>
                <a:gd name="connsiteY683" fmla="*/ 540328 h 1480687"/>
                <a:gd name="connsiteX684" fmla="*/ 410892 w 2068442"/>
                <a:gd name="connsiteY684" fmla="*/ 550343 h 1480687"/>
                <a:gd name="connsiteX685" fmla="*/ 420367 w 2068442"/>
                <a:gd name="connsiteY685" fmla="*/ 550343 h 1480687"/>
                <a:gd name="connsiteX686" fmla="*/ 430372 w 2068442"/>
                <a:gd name="connsiteY686" fmla="*/ 530855 h 1480687"/>
                <a:gd name="connsiteX687" fmla="*/ 445455 w 2068442"/>
                <a:gd name="connsiteY687" fmla="*/ 530855 h 1480687"/>
                <a:gd name="connsiteX688" fmla="*/ 449927 w 2068442"/>
                <a:gd name="connsiteY688" fmla="*/ 511299 h 1480687"/>
                <a:gd name="connsiteX689" fmla="*/ 459402 w 2068442"/>
                <a:gd name="connsiteY689" fmla="*/ 501352 h 1480687"/>
                <a:gd name="connsiteX690" fmla="*/ 464404 w 2068442"/>
                <a:gd name="connsiteY690" fmla="*/ 501352 h 1480687"/>
                <a:gd name="connsiteX691" fmla="*/ 468952 w 2068442"/>
                <a:gd name="connsiteY691" fmla="*/ 496344 h 1480687"/>
                <a:gd name="connsiteX692" fmla="*/ 464404 w 2068442"/>
                <a:gd name="connsiteY692" fmla="*/ 486803 h 1480687"/>
                <a:gd name="connsiteX693" fmla="*/ 478957 w 2068442"/>
                <a:gd name="connsiteY693" fmla="*/ 486803 h 1480687"/>
                <a:gd name="connsiteX694" fmla="*/ 488432 w 2068442"/>
                <a:gd name="connsiteY694" fmla="*/ 496344 h 1480687"/>
                <a:gd name="connsiteX695" fmla="*/ 498967 w 2068442"/>
                <a:gd name="connsiteY695" fmla="*/ 496344 h 1480687"/>
                <a:gd name="connsiteX696" fmla="*/ 503439 w 2068442"/>
                <a:gd name="connsiteY696" fmla="*/ 486803 h 1480687"/>
                <a:gd name="connsiteX697" fmla="*/ 503439 w 2068442"/>
                <a:gd name="connsiteY697" fmla="*/ 481796 h 1480687"/>
                <a:gd name="connsiteX698" fmla="*/ 503439 w 2068442"/>
                <a:gd name="connsiteY698" fmla="*/ 476788 h 1480687"/>
                <a:gd name="connsiteX699" fmla="*/ 503439 w 2068442"/>
                <a:gd name="connsiteY699" fmla="*/ 472322 h 1480687"/>
                <a:gd name="connsiteX700" fmla="*/ 498967 w 2068442"/>
                <a:gd name="connsiteY700" fmla="*/ 472322 h 1480687"/>
                <a:gd name="connsiteX701" fmla="*/ 493965 w 2068442"/>
                <a:gd name="connsiteY701" fmla="*/ 472322 h 1480687"/>
                <a:gd name="connsiteX702" fmla="*/ 488432 w 2068442"/>
                <a:gd name="connsiteY702" fmla="*/ 467315 h 1480687"/>
                <a:gd name="connsiteX703" fmla="*/ 493965 w 2068442"/>
                <a:gd name="connsiteY703" fmla="*/ 462781 h 1480687"/>
                <a:gd name="connsiteX704" fmla="*/ 508973 w 2068442"/>
                <a:gd name="connsiteY704" fmla="*/ 462781 h 1480687"/>
                <a:gd name="connsiteX705" fmla="*/ 518523 w 2068442"/>
                <a:gd name="connsiteY705" fmla="*/ 443293 h 1480687"/>
                <a:gd name="connsiteX706" fmla="*/ 518523 w 2068442"/>
                <a:gd name="connsiteY706" fmla="*/ 437812 h 1480687"/>
                <a:gd name="connsiteX707" fmla="*/ 522995 w 2068442"/>
                <a:gd name="connsiteY707" fmla="*/ 423737 h 1480687"/>
                <a:gd name="connsiteX708" fmla="*/ 527998 w 2068442"/>
                <a:gd name="connsiteY708" fmla="*/ 423737 h 1480687"/>
                <a:gd name="connsiteX709" fmla="*/ 527998 w 2068442"/>
                <a:gd name="connsiteY709" fmla="*/ 418256 h 1480687"/>
                <a:gd name="connsiteX710" fmla="*/ 518523 w 2068442"/>
                <a:gd name="connsiteY710" fmla="*/ 404248 h 1480687"/>
                <a:gd name="connsiteX711" fmla="*/ 513520 w 2068442"/>
                <a:gd name="connsiteY711" fmla="*/ 404248 h 1480687"/>
                <a:gd name="connsiteX712" fmla="*/ 508973 w 2068442"/>
                <a:gd name="connsiteY712" fmla="*/ 404248 h 1480687"/>
                <a:gd name="connsiteX713" fmla="*/ 498967 w 2068442"/>
                <a:gd name="connsiteY713" fmla="*/ 398767 h 1480687"/>
                <a:gd name="connsiteX714" fmla="*/ 498967 w 2068442"/>
                <a:gd name="connsiteY714" fmla="*/ 389226 h 1480687"/>
                <a:gd name="connsiteX715" fmla="*/ 503439 w 2068442"/>
                <a:gd name="connsiteY715" fmla="*/ 389226 h 1480687"/>
                <a:gd name="connsiteX716" fmla="*/ 508973 w 2068442"/>
                <a:gd name="connsiteY716" fmla="*/ 379752 h 1480687"/>
                <a:gd name="connsiteX717" fmla="*/ 503439 w 2068442"/>
                <a:gd name="connsiteY717" fmla="*/ 375219 h 1480687"/>
                <a:gd name="connsiteX718" fmla="*/ 508973 w 2068442"/>
                <a:gd name="connsiteY718" fmla="*/ 360196 h 1480687"/>
                <a:gd name="connsiteX719" fmla="*/ 513520 w 2068442"/>
                <a:gd name="connsiteY719" fmla="*/ 355730 h 1480687"/>
                <a:gd name="connsiteX720" fmla="*/ 518523 w 2068442"/>
                <a:gd name="connsiteY720" fmla="*/ 355730 h 1480687"/>
                <a:gd name="connsiteX721" fmla="*/ 527998 w 2068442"/>
                <a:gd name="connsiteY721" fmla="*/ 379752 h 1480687"/>
                <a:gd name="connsiteX722" fmla="*/ 533000 w 2068442"/>
                <a:gd name="connsiteY722" fmla="*/ 369738 h 1480687"/>
                <a:gd name="connsiteX723" fmla="*/ 542475 w 2068442"/>
                <a:gd name="connsiteY723" fmla="*/ 369738 h 1480687"/>
                <a:gd name="connsiteX724" fmla="*/ 547553 w 2068442"/>
                <a:gd name="connsiteY724" fmla="*/ 365204 h 1480687"/>
                <a:gd name="connsiteX725" fmla="*/ 557558 w 2068442"/>
                <a:gd name="connsiteY725" fmla="*/ 369738 h 1480687"/>
                <a:gd name="connsiteX726" fmla="*/ 572566 w 2068442"/>
                <a:gd name="connsiteY726" fmla="*/ 369738 h 1480687"/>
                <a:gd name="connsiteX727" fmla="*/ 577038 w 2068442"/>
                <a:gd name="connsiteY727" fmla="*/ 360196 h 1480687"/>
                <a:gd name="connsiteX728" fmla="*/ 567033 w 2068442"/>
                <a:gd name="connsiteY728" fmla="*/ 355730 h 1480687"/>
                <a:gd name="connsiteX729" fmla="*/ 572566 w 2068442"/>
                <a:gd name="connsiteY729" fmla="*/ 345716 h 1480687"/>
                <a:gd name="connsiteX730" fmla="*/ 572566 w 2068442"/>
                <a:gd name="connsiteY730" fmla="*/ 336242 h 1480687"/>
                <a:gd name="connsiteX731" fmla="*/ 567033 w 2068442"/>
                <a:gd name="connsiteY731" fmla="*/ 330693 h 1480687"/>
                <a:gd name="connsiteX732" fmla="*/ 557558 w 2068442"/>
                <a:gd name="connsiteY732" fmla="*/ 316686 h 1480687"/>
                <a:gd name="connsiteX733" fmla="*/ 562030 w 2068442"/>
                <a:gd name="connsiteY733" fmla="*/ 306671 h 1480687"/>
                <a:gd name="connsiteX734" fmla="*/ 557558 w 2068442"/>
                <a:gd name="connsiteY734" fmla="*/ 301664 h 1480687"/>
                <a:gd name="connsiteX735" fmla="*/ 557558 w 2068442"/>
                <a:gd name="connsiteY735" fmla="*/ 297198 h 1480687"/>
                <a:gd name="connsiteX736" fmla="*/ 547553 w 2068442"/>
                <a:gd name="connsiteY736" fmla="*/ 272702 h 1480687"/>
                <a:gd name="connsiteX737" fmla="*/ 552025 w 2068442"/>
                <a:gd name="connsiteY737" fmla="*/ 268168 h 1480687"/>
                <a:gd name="connsiteX738" fmla="*/ 557558 w 2068442"/>
                <a:gd name="connsiteY738" fmla="*/ 272702 h 1480687"/>
                <a:gd name="connsiteX739" fmla="*/ 567033 w 2068442"/>
                <a:gd name="connsiteY739" fmla="*/ 262687 h 1480687"/>
                <a:gd name="connsiteX740" fmla="*/ 582040 w 2068442"/>
                <a:gd name="connsiteY740" fmla="*/ 253146 h 1480687"/>
                <a:gd name="connsiteX741" fmla="*/ 592045 w 2068442"/>
                <a:gd name="connsiteY741" fmla="*/ 253146 h 1480687"/>
                <a:gd name="connsiteX742" fmla="*/ 592045 w 2068442"/>
                <a:gd name="connsiteY742" fmla="*/ 248680 h 1480687"/>
                <a:gd name="connsiteX743" fmla="*/ 592045 w 2068442"/>
                <a:gd name="connsiteY743" fmla="*/ 238665 h 1480687"/>
                <a:gd name="connsiteX744" fmla="*/ 601596 w 2068442"/>
                <a:gd name="connsiteY744" fmla="*/ 229124 h 1480687"/>
                <a:gd name="connsiteX745" fmla="*/ 606068 w 2068442"/>
                <a:gd name="connsiteY745" fmla="*/ 223643 h 1480687"/>
                <a:gd name="connsiteX746" fmla="*/ 611070 w 2068442"/>
                <a:gd name="connsiteY746" fmla="*/ 223643 h 1480687"/>
                <a:gd name="connsiteX747" fmla="*/ 611070 w 2068442"/>
                <a:gd name="connsiteY747" fmla="*/ 214169 h 1480687"/>
                <a:gd name="connsiteX748" fmla="*/ 611070 w 2068442"/>
                <a:gd name="connsiteY748" fmla="*/ 204154 h 1480687"/>
                <a:gd name="connsiteX749" fmla="*/ 640631 w 2068442"/>
                <a:gd name="connsiteY749" fmla="*/ 194613 h 1480687"/>
                <a:gd name="connsiteX750" fmla="*/ 650106 w 2068442"/>
                <a:gd name="connsiteY750" fmla="*/ 185140 h 1480687"/>
                <a:gd name="connsiteX751" fmla="*/ 660111 w 2068442"/>
                <a:gd name="connsiteY751" fmla="*/ 175125 h 1480687"/>
                <a:gd name="connsiteX752" fmla="*/ 665113 w 2068442"/>
                <a:gd name="connsiteY752" fmla="*/ 180132 h 1480687"/>
                <a:gd name="connsiteX753" fmla="*/ 669661 w 2068442"/>
                <a:gd name="connsiteY753" fmla="*/ 165584 h 1480687"/>
                <a:gd name="connsiteX754" fmla="*/ 679666 w 2068442"/>
                <a:gd name="connsiteY754" fmla="*/ 165584 h 1480687"/>
                <a:gd name="connsiteX755" fmla="*/ 679666 w 2068442"/>
                <a:gd name="connsiteY755" fmla="*/ 151103 h 1480687"/>
                <a:gd name="connsiteX756" fmla="*/ 675118 w 2068442"/>
                <a:gd name="connsiteY756" fmla="*/ 146095 h 1480687"/>
                <a:gd name="connsiteX757" fmla="*/ 669661 w 2068442"/>
                <a:gd name="connsiteY757" fmla="*/ 136080 h 1480687"/>
                <a:gd name="connsiteX758" fmla="*/ 679666 w 2068442"/>
                <a:gd name="connsiteY758" fmla="*/ 131614 h 1480687"/>
                <a:gd name="connsiteX759" fmla="*/ 679666 w 2068442"/>
                <a:gd name="connsiteY759" fmla="*/ 126607 h 1480687"/>
                <a:gd name="connsiteX760" fmla="*/ 689141 w 2068442"/>
                <a:gd name="connsiteY760" fmla="*/ 126607 h 1480687"/>
                <a:gd name="connsiteX761" fmla="*/ 694143 w 2068442"/>
                <a:gd name="connsiteY761" fmla="*/ 126607 h 1480687"/>
                <a:gd name="connsiteX762" fmla="*/ 699146 w 2068442"/>
                <a:gd name="connsiteY762" fmla="*/ 107051 h 1480687"/>
                <a:gd name="connsiteX763" fmla="*/ 713699 w 2068442"/>
                <a:gd name="connsiteY763" fmla="*/ 107051 h 1480687"/>
                <a:gd name="connsiteX764" fmla="*/ 713699 w 2068442"/>
                <a:gd name="connsiteY764" fmla="*/ 97577 h 1480687"/>
                <a:gd name="connsiteX765" fmla="*/ 719156 w 2068442"/>
                <a:gd name="connsiteY765" fmla="*/ 92570 h 1480687"/>
                <a:gd name="connsiteX766" fmla="*/ 728706 w 2068442"/>
                <a:gd name="connsiteY766" fmla="*/ 92570 h 1480687"/>
                <a:gd name="connsiteX767" fmla="*/ 728706 w 2068442"/>
                <a:gd name="connsiteY767" fmla="*/ 83029 h 1480687"/>
                <a:gd name="connsiteX768" fmla="*/ 719156 w 2068442"/>
                <a:gd name="connsiteY768" fmla="*/ 83029 h 1480687"/>
                <a:gd name="connsiteX769" fmla="*/ 713699 w 2068442"/>
                <a:gd name="connsiteY769" fmla="*/ 73555 h 1480687"/>
                <a:gd name="connsiteX770" fmla="*/ 723704 w 2068442"/>
                <a:gd name="connsiteY770" fmla="*/ 68074 h 1480687"/>
                <a:gd name="connsiteX771" fmla="*/ 723704 w 2068442"/>
                <a:gd name="connsiteY771" fmla="*/ 58533 h 1480687"/>
                <a:gd name="connsiteX772" fmla="*/ 723704 w 2068442"/>
                <a:gd name="connsiteY772" fmla="*/ 48518 h 1480687"/>
                <a:gd name="connsiteX773" fmla="*/ 719156 w 2068442"/>
                <a:gd name="connsiteY773" fmla="*/ 48518 h 1480687"/>
                <a:gd name="connsiteX774" fmla="*/ 713699 w 2068442"/>
                <a:gd name="connsiteY774" fmla="*/ 19488 h 1480687"/>
                <a:gd name="connsiteX775" fmla="*/ 728706 w 2068442"/>
                <a:gd name="connsiteY775" fmla="*/ 15022 h 1480687"/>
                <a:gd name="connsiteX776" fmla="*/ 733178 w 2068442"/>
                <a:gd name="connsiteY776" fmla="*/ 15022 h 1480687"/>
                <a:gd name="connsiteX777" fmla="*/ 743183 w 2068442"/>
                <a:gd name="connsiteY777" fmla="*/ 9473 h 1480687"/>
                <a:gd name="connsiteX778" fmla="*/ 743183 w 2068442"/>
                <a:gd name="connsiteY778" fmla="*/ 5007 h 1480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Lst>
              <a:rect l="l" t="t" r="r" b="b"/>
              <a:pathLst>
                <a:path w="2068442" h="1480687">
                  <a:moveTo>
                    <a:pt x="758191" y="0"/>
                  </a:moveTo>
                  <a:lnTo>
                    <a:pt x="767742" y="0"/>
                  </a:lnTo>
                  <a:lnTo>
                    <a:pt x="767742" y="9473"/>
                  </a:lnTo>
                  <a:lnTo>
                    <a:pt x="772214" y="9473"/>
                  </a:lnTo>
                  <a:lnTo>
                    <a:pt x="777216" y="0"/>
                  </a:lnTo>
                  <a:lnTo>
                    <a:pt x="792224" y="5007"/>
                  </a:lnTo>
                  <a:lnTo>
                    <a:pt x="802229" y="9473"/>
                  </a:lnTo>
                  <a:lnTo>
                    <a:pt x="806777" y="9473"/>
                  </a:lnTo>
                  <a:lnTo>
                    <a:pt x="816251" y="24496"/>
                  </a:lnTo>
                  <a:lnTo>
                    <a:pt x="821785" y="24496"/>
                  </a:lnTo>
                  <a:lnTo>
                    <a:pt x="826257" y="29029"/>
                  </a:lnTo>
                  <a:lnTo>
                    <a:pt x="831259" y="29029"/>
                  </a:lnTo>
                  <a:lnTo>
                    <a:pt x="831259" y="44052"/>
                  </a:lnTo>
                  <a:lnTo>
                    <a:pt x="835807" y="44052"/>
                  </a:lnTo>
                  <a:lnTo>
                    <a:pt x="845812" y="48518"/>
                  </a:lnTo>
                  <a:lnTo>
                    <a:pt x="845812" y="58533"/>
                  </a:lnTo>
                  <a:lnTo>
                    <a:pt x="855287" y="68074"/>
                  </a:lnTo>
                  <a:lnTo>
                    <a:pt x="860289" y="58533"/>
                  </a:lnTo>
                  <a:lnTo>
                    <a:pt x="865822" y="63540"/>
                  </a:lnTo>
                  <a:lnTo>
                    <a:pt x="875297" y="63540"/>
                  </a:lnTo>
                  <a:lnTo>
                    <a:pt x="875297" y="58533"/>
                  </a:lnTo>
                  <a:lnTo>
                    <a:pt x="885302" y="58533"/>
                  </a:lnTo>
                  <a:lnTo>
                    <a:pt x="885302" y="54067"/>
                  </a:lnTo>
                  <a:lnTo>
                    <a:pt x="899325" y="48518"/>
                  </a:lnTo>
                  <a:lnTo>
                    <a:pt x="909330" y="39044"/>
                  </a:lnTo>
                  <a:lnTo>
                    <a:pt x="918880" y="39044"/>
                  </a:lnTo>
                  <a:lnTo>
                    <a:pt x="918880" y="44052"/>
                  </a:lnTo>
                  <a:lnTo>
                    <a:pt x="923883" y="48518"/>
                  </a:lnTo>
                  <a:lnTo>
                    <a:pt x="943362" y="39044"/>
                  </a:lnTo>
                  <a:lnTo>
                    <a:pt x="953367" y="39044"/>
                  </a:lnTo>
                  <a:lnTo>
                    <a:pt x="962918" y="34511"/>
                  </a:lnTo>
                  <a:lnTo>
                    <a:pt x="972923" y="39044"/>
                  </a:lnTo>
                  <a:lnTo>
                    <a:pt x="972923" y="54067"/>
                  </a:lnTo>
                  <a:lnTo>
                    <a:pt x="977925" y="58533"/>
                  </a:lnTo>
                  <a:lnTo>
                    <a:pt x="987930" y="73555"/>
                  </a:lnTo>
                  <a:lnTo>
                    <a:pt x="977925" y="78021"/>
                  </a:lnTo>
                  <a:lnTo>
                    <a:pt x="982397" y="92570"/>
                  </a:lnTo>
                  <a:lnTo>
                    <a:pt x="987930" y="107051"/>
                  </a:lnTo>
                  <a:lnTo>
                    <a:pt x="997405" y="112058"/>
                  </a:lnTo>
                  <a:lnTo>
                    <a:pt x="997405" y="122073"/>
                  </a:lnTo>
                  <a:lnTo>
                    <a:pt x="1001953" y="126607"/>
                  </a:lnTo>
                  <a:lnTo>
                    <a:pt x="1006955" y="126607"/>
                  </a:lnTo>
                  <a:lnTo>
                    <a:pt x="1006955" y="136080"/>
                  </a:lnTo>
                  <a:lnTo>
                    <a:pt x="1012489" y="136080"/>
                  </a:lnTo>
                  <a:lnTo>
                    <a:pt x="1012489" y="141561"/>
                  </a:lnTo>
                  <a:lnTo>
                    <a:pt x="1012489" y="146095"/>
                  </a:lnTo>
                  <a:lnTo>
                    <a:pt x="1001953" y="151103"/>
                  </a:lnTo>
                  <a:lnTo>
                    <a:pt x="1001953" y="161118"/>
                  </a:lnTo>
                  <a:lnTo>
                    <a:pt x="1001953" y="180132"/>
                  </a:lnTo>
                  <a:lnTo>
                    <a:pt x="997405" y="185140"/>
                  </a:lnTo>
                  <a:lnTo>
                    <a:pt x="992402" y="190147"/>
                  </a:lnTo>
                  <a:lnTo>
                    <a:pt x="997405" y="194613"/>
                  </a:lnTo>
                  <a:lnTo>
                    <a:pt x="1006955" y="190147"/>
                  </a:lnTo>
                  <a:lnTo>
                    <a:pt x="1012489" y="204154"/>
                  </a:lnTo>
                  <a:lnTo>
                    <a:pt x="1012489" y="214169"/>
                  </a:lnTo>
                  <a:lnTo>
                    <a:pt x="1012489" y="223643"/>
                  </a:lnTo>
                  <a:lnTo>
                    <a:pt x="1021963" y="233658"/>
                  </a:lnTo>
                  <a:lnTo>
                    <a:pt x="1031968" y="233658"/>
                  </a:lnTo>
                  <a:lnTo>
                    <a:pt x="1026435" y="219109"/>
                  </a:lnTo>
                  <a:lnTo>
                    <a:pt x="1036440" y="214169"/>
                  </a:lnTo>
                  <a:lnTo>
                    <a:pt x="1041519" y="214169"/>
                  </a:lnTo>
                  <a:lnTo>
                    <a:pt x="1051524" y="209635"/>
                  </a:lnTo>
                  <a:lnTo>
                    <a:pt x="1070473" y="209635"/>
                  </a:lnTo>
                  <a:lnTo>
                    <a:pt x="1075551" y="209635"/>
                  </a:lnTo>
                  <a:lnTo>
                    <a:pt x="1075551" y="219109"/>
                  </a:lnTo>
                  <a:lnTo>
                    <a:pt x="1085556" y="219109"/>
                  </a:lnTo>
                  <a:lnTo>
                    <a:pt x="1095561" y="219109"/>
                  </a:lnTo>
                  <a:lnTo>
                    <a:pt x="1100033" y="219109"/>
                  </a:lnTo>
                  <a:lnTo>
                    <a:pt x="1115041" y="223643"/>
                  </a:lnTo>
                  <a:lnTo>
                    <a:pt x="1119589" y="219109"/>
                  </a:lnTo>
                  <a:lnTo>
                    <a:pt x="1124591" y="219109"/>
                  </a:lnTo>
                  <a:lnTo>
                    <a:pt x="1129063" y="214169"/>
                  </a:lnTo>
                  <a:lnTo>
                    <a:pt x="1134596" y="214169"/>
                  </a:lnTo>
                  <a:lnTo>
                    <a:pt x="1139068" y="194613"/>
                  </a:lnTo>
                  <a:lnTo>
                    <a:pt x="1144071" y="190147"/>
                  </a:lnTo>
                  <a:lnTo>
                    <a:pt x="1153621" y="185140"/>
                  </a:lnTo>
                  <a:lnTo>
                    <a:pt x="1159079" y="175125"/>
                  </a:lnTo>
                  <a:lnTo>
                    <a:pt x="1163627" y="170591"/>
                  </a:lnTo>
                  <a:lnTo>
                    <a:pt x="1159079" y="170591"/>
                  </a:lnTo>
                  <a:lnTo>
                    <a:pt x="1159079" y="161118"/>
                  </a:lnTo>
                  <a:lnTo>
                    <a:pt x="1163627" y="146095"/>
                  </a:lnTo>
                  <a:lnTo>
                    <a:pt x="1173101" y="146095"/>
                  </a:lnTo>
                  <a:lnTo>
                    <a:pt x="1178634" y="141561"/>
                  </a:lnTo>
                  <a:lnTo>
                    <a:pt x="1178634" y="122073"/>
                  </a:lnTo>
                  <a:lnTo>
                    <a:pt x="1183106" y="116592"/>
                  </a:lnTo>
                  <a:lnTo>
                    <a:pt x="1178634" y="112058"/>
                  </a:lnTo>
                  <a:lnTo>
                    <a:pt x="1192657" y="97577"/>
                  </a:lnTo>
                  <a:lnTo>
                    <a:pt x="1198114" y="97577"/>
                  </a:lnTo>
                  <a:lnTo>
                    <a:pt x="1207664" y="83029"/>
                  </a:lnTo>
                  <a:lnTo>
                    <a:pt x="1212136" y="78021"/>
                  </a:lnTo>
                  <a:lnTo>
                    <a:pt x="1217669" y="78021"/>
                  </a:lnTo>
                  <a:lnTo>
                    <a:pt x="1222141" y="63540"/>
                  </a:lnTo>
                  <a:lnTo>
                    <a:pt x="1227144" y="68074"/>
                  </a:lnTo>
                  <a:lnTo>
                    <a:pt x="1232146" y="58533"/>
                  </a:lnTo>
                  <a:lnTo>
                    <a:pt x="1246699" y="73555"/>
                  </a:lnTo>
                  <a:lnTo>
                    <a:pt x="1246699" y="87563"/>
                  </a:lnTo>
                  <a:lnTo>
                    <a:pt x="1242152" y="102585"/>
                  </a:lnTo>
                  <a:lnTo>
                    <a:pt x="1246699" y="107051"/>
                  </a:lnTo>
                  <a:lnTo>
                    <a:pt x="1256174" y="97577"/>
                  </a:lnTo>
                  <a:lnTo>
                    <a:pt x="1275729" y="92570"/>
                  </a:lnTo>
                  <a:lnTo>
                    <a:pt x="1281187" y="97577"/>
                  </a:lnTo>
                  <a:lnTo>
                    <a:pt x="1285735" y="136080"/>
                  </a:lnTo>
                  <a:lnTo>
                    <a:pt x="1290737" y="136080"/>
                  </a:lnTo>
                  <a:lnTo>
                    <a:pt x="1295209" y="146095"/>
                  </a:lnTo>
                  <a:lnTo>
                    <a:pt x="1300742" y="141561"/>
                  </a:lnTo>
                  <a:lnTo>
                    <a:pt x="1310217" y="146095"/>
                  </a:lnTo>
                  <a:lnTo>
                    <a:pt x="1305745" y="155569"/>
                  </a:lnTo>
                  <a:lnTo>
                    <a:pt x="1300742" y="151103"/>
                  </a:lnTo>
                  <a:lnTo>
                    <a:pt x="1300742" y="155569"/>
                  </a:lnTo>
                  <a:lnTo>
                    <a:pt x="1305745" y="165584"/>
                  </a:lnTo>
                  <a:lnTo>
                    <a:pt x="1300742" y="170591"/>
                  </a:lnTo>
                  <a:lnTo>
                    <a:pt x="1305745" y="180132"/>
                  </a:lnTo>
                  <a:lnTo>
                    <a:pt x="1310217" y="204154"/>
                  </a:lnTo>
                  <a:lnTo>
                    <a:pt x="1319767" y="214169"/>
                  </a:lnTo>
                  <a:lnTo>
                    <a:pt x="1319767" y="219109"/>
                  </a:lnTo>
                  <a:lnTo>
                    <a:pt x="1325224" y="219109"/>
                  </a:lnTo>
                  <a:lnTo>
                    <a:pt x="1325948" y="219830"/>
                  </a:lnTo>
                  <a:lnTo>
                    <a:pt x="1330182" y="210897"/>
                  </a:lnTo>
                  <a:lnTo>
                    <a:pt x="1339696" y="181863"/>
                  </a:lnTo>
                  <a:lnTo>
                    <a:pt x="1349712" y="181863"/>
                  </a:lnTo>
                  <a:lnTo>
                    <a:pt x="1345205" y="171849"/>
                  </a:lnTo>
                  <a:lnTo>
                    <a:pt x="1349712" y="156864"/>
                  </a:lnTo>
                  <a:lnTo>
                    <a:pt x="1354719" y="152397"/>
                  </a:lnTo>
                  <a:lnTo>
                    <a:pt x="1354719" y="147354"/>
                  </a:lnTo>
                  <a:lnTo>
                    <a:pt x="1349712" y="137844"/>
                  </a:lnTo>
                  <a:lnTo>
                    <a:pt x="1359226" y="123363"/>
                  </a:lnTo>
                  <a:lnTo>
                    <a:pt x="1364735" y="123363"/>
                  </a:lnTo>
                  <a:lnTo>
                    <a:pt x="1359226" y="118320"/>
                  </a:lnTo>
                  <a:lnTo>
                    <a:pt x="1369179" y="118320"/>
                  </a:lnTo>
                  <a:lnTo>
                    <a:pt x="1374187" y="118320"/>
                  </a:lnTo>
                  <a:lnTo>
                    <a:pt x="1374187" y="113853"/>
                  </a:lnTo>
                  <a:lnTo>
                    <a:pt x="1374187" y="103839"/>
                  </a:lnTo>
                  <a:lnTo>
                    <a:pt x="1374187" y="98868"/>
                  </a:lnTo>
                  <a:lnTo>
                    <a:pt x="1374187" y="88853"/>
                  </a:lnTo>
                  <a:lnTo>
                    <a:pt x="1383702" y="79343"/>
                  </a:lnTo>
                  <a:lnTo>
                    <a:pt x="1389210" y="79343"/>
                  </a:lnTo>
                  <a:lnTo>
                    <a:pt x="1393717" y="84315"/>
                  </a:lnTo>
                  <a:lnTo>
                    <a:pt x="1398725" y="88853"/>
                  </a:lnTo>
                  <a:lnTo>
                    <a:pt x="1403232" y="98868"/>
                  </a:lnTo>
                  <a:lnTo>
                    <a:pt x="1422699" y="88853"/>
                  </a:lnTo>
                  <a:lnTo>
                    <a:pt x="1428207" y="88853"/>
                  </a:lnTo>
                  <a:lnTo>
                    <a:pt x="1422699" y="74805"/>
                  </a:lnTo>
                  <a:lnTo>
                    <a:pt x="1428207" y="69329"/>
                  </a:lnTo>
                  <a:lnTo>
                    <a:pt x="1428207" y="59819"/>
                  </a:lnTo>
                  <a:lnTo>
                    <a:pt x="1432714" y="55280"/>
                  </a:lnTo>
                  <a:lnTo>
                    <a:pt x="1437722" y="59819"/>
                  </a:lnTo>
                  <a:lnTo>
                    <a:pt x="1437722" y="64790"/>
                  </a:lnTo>
                  <a:lnTo>
                    <a:pt x="1447738" y="64790"/>
                  </a:lnTo>
                  <a:lnTo>
                    <a:pt x="1466767" y="49805"/>
                  </a:lnTo>
                  <a:lnTo>
                    <a:pt x="1472213" y="49805"/>
                  </a:lnTo>
                  <a:lnTo>
                    <a:pt x="1472213" y="40295"/>
                  </a:lnTo>
                  <a:lnTo>
                    <a:pt x="1476720" y="40295"/>
                  </a:lnTo>
                  <a:lnTo>
                    <a:pt x="1486234" y="49805"/>
                  </a:lnTo>
                  <a:lnTo>
                    <a:pt x="1491743" y="49805"/>
                  </a:lnTo>
                  <a:lnTo>
                    <a:pt x="1491743" y="55280"/>
                  </a:lnTo>
                  <a:lnTo>
                    <a:pt x="1496250" y="55280"/>
                  </a:lnTo>
                  <a:lnTo>
                    <a:pt x="1496250" y="69329"/>
                  </a:lnTo>
                  <a:lnTo>
                    <a:pt x="1501257" y="88853"/>
                  </a:lnTo>
                  <a:lnTo>
                    <a:pt x="1505764" y="103839"/>
                  </a:lnTo>
                  <a:lnTo>
                    <a:pt x="1520787" y="127830"/>
                  </a:lnTo>
                  <a:lnTo>
                    <a:pt x="1526233" y="132873"/>
                  </a:lnTo>
                  <a:lnTo>
                    <a:pt x="1535748" y="123363"/>
                  </a:lnTo>
                  <a:lnTo>
                    <a:pt x="1555278" y="118320"/>
                  </a:lnTo>
                  <a:lnTo>
                    <a:pt x="1555278" y="113853"/>
                  </a:lnTo>
                  <a:lnTo>
                    <a:pt x="1559785" y="113853"/>
                  </a:lnTo>
                  <a:lnTo>
                    <a:pt x="1559785" y="118320"/>
                  </a:lnTo>
                  <a:lnTo>
                    <a:pt x="1564793" y="118320"/>
                  </a:lnTo>
                  <a:lnTo>
                    <a:pt x="1564793" y="88853"/>
                  </a:lnTo>
                  <a:lnTo>
                    <a:pt x="1569300" y="88853"/>
                  </a:lnTo>
                  <a:lnTo>
                    <a:pt x="1579252" y="88853"/>
                  </a:lnTo>
                  <a:lnTo>
                    <a:pt x="1588767" y="88853"/>
                  </a:lnTo>
                  <a:lnTo>
                    <a:pt x="1594275" y="103839"/>
                  </a:lnTo>
                  <a:lnTo>
                    <a:pt x="1594275" y="108306"/>
                  </a:lnTo>
                  <a:lnTo>
                    <a:pt x="1588767" y="113853"/>
                  </a:lnTo>
                  <a:lnTo>
                    <a:pt x="1594275" y="118320"/>
                  </a:lnTo>
                  <a:lnTo>
                    <a:pt x="1623320" y="113853"/>
                  </a:lnTo>
                  <a:lnTo>
                    <a:pt x="1628265" y="123363"/>
                  </a:lnTo>
                  <a:lnTo>
                    <a:pt x="1632772" y="132873"/>
                  </a:lnTo>
                  <a:lnTo>
                    <a:pt x="1642788" y="137844"/>
                  </a:lnTo>
                  <a:lnTo>
                    <a:pt x="1647795" y="147354"/>
                  </a:lnTo>
                  <a:lnTo>
                    <a:pt x="1652302" y="147354"/>
                  </a:lnTo>
                  <a:lnTo>
                    <a:pt x="1662318" y="147354"/>
                  </a:lnTo>
                  <a:lnTo>
                    <a:pt x="1657811" y="156864"/>
                  </a:lnTo>
                  <a:lnTo>
                    <a:pt x="1662318" y="156864"/>
                  </a:lnTo>
                  <a:lnTo>
                    <a:pt x="1662318" y="162339"/>
                  </a:lnTo>
                  <a:lnTo>
                    <a:pt x="1672834" y="162339"/>
                  </a:lnTo>
                  <a:lnTo>
                    <a:pt x="1677341" y="162339"/>
                  </a:lnTo>
                  <a:lnTo>
                    <a:pt x="1672834" y="181863"/>
                  </a:lnTo>
                  <a:lnTo>
                    <a:pt x="1672834" y="186402"/>
                  </a:lnTo>
                  <a:lnTo>
                    <a:pt x="1682286" y="186402"/>
                  </a:lnTo>
                  <a:lnTo>
                    <a:pt x="1677341" y="195912"/>
                  </a:lnTo>
                  <a:lnTo>
                    <a:pt x="1682286" y="210897"/>
                  </a:lnTo>
                  <a:lnTo>
                    <a:pt x="1686793" y="215436"/>
                  </a:lnTo>
                  <a:lnTo>
                    <a:pt x="1682286" y="230421"/>
                  </a:lnTo>
                  <a:lnTo>
                    <a:pt x="1686793" y="234888"/>
                  </a:lnTo>
                  <a:lnTo>
                    <a:pt x="1692301" y="234888"/>
                  </a:lnTo>
                  <a:lnTo>
                    <a:pt x="1692301" y="244398"/>
                  </a:lnTo>
                  <a:lnTo>
                    <a:pt x="1696808" y="254412"/>
                  </a:lnTo>
                  <a:lnTo>
                    <a:pt x="1706323" y="254412"/>
                  </a:lnTo>
                  <a:lnTo>
                    <a:pt x="1711331" y="263922"/>
                  </a:lnTo>
                  <a:lnTo>
                    <a:pt x="1715837" y="273937"/>
                  </a:lnTo>
                  <a:lnTo>
                    <a:pt x="1721346" y="283446"/>
                  </a:lnTo>
                  <a:lnTo>
                    <a:pt x="1721346" y="288922"/>
                  </a:lnTo>
                  <a:lnTo>
                    <a:pt x="1721346" y="302971"/>
                  </a:lnTo>
                  <a:lnTo>
                    <a:pt x="1725853" y="317956"/>
                  </a:lnTo>
                  <a:lnTo>
                    <a:pt x="1735305" y="317956"/>
                  </a:lnTo>
                  <a:lnTo>
                    <a:pt x="1740813" y="322495"/>
                  </a:lnTo>
                  <a:lnTo>
                    <a:pt x="1745821" y="332509"/>
                  </a:lnTo>
                  <a:lnTo>
                    <a:pt x="1755837" y="346990"/>
                  </a:lnTo>
                  <a:lnTo>
                    <a:pt x="1755837" y="351457"/>
                  </a:lnTo>
                  <a:lnTo>
                    <a:pt x="1745821" y="351457"/>
                  </a:lnTo>
                  <a:lnTo>
                    <a:pt x="1745821" y="357004"/>
                  </a:lnTo>
                  <a:lnTo>
                    <a:pt x="1750328" y="361471"/>
                  </a:lnTo>
                  <a:lnTo>
                    <a:pt x="1750328" y="370981"/>
                  </a:lnTo>
                  <a:lnTo>
                    <a:pt x="1750328" y="380995"/>
                  </a:lnTo>
                  <a:lnTo>
                    <a:pt x="1745821" y="386038"/>
                  </a:lnTo>
                  <a:lnTo>
                    <a:pt x="1750328" y="390505"/>
                  </a:lnTo>
                  <a:lnTo>
                    <a:pt x="1750328" y="396052"/>
                  </a:lnTo>
                  <a:lnTo>
                    <a:pt x="1755837" y="396052"/>
                  </a:lnTo>
                  <a:lnTo>
                    <a:pt x="1760343" y="386038"/>
                  </a:lnTo>
                  <a:lnTo>
                    <a:pt x="1769858" y="386038"/>
                  </a:lnTo>
                  <a:lnTo>
                    <a:pt x="1775367" y="386038"/>
                  </a:lnTo>
                  <a:lnTo>
                    <a:pt x="1779874" y="380995"/>
                  </a:lnTo>
                  <a:lnTo>
                    <a:pt x="1784819" y="386038"/>
                  </a:lnTo>
                  <a:lnTo>
                    <a:pt x="1784819" y="396052"/>
                  </a:lnTo>
                  <a:lnTo>
                    <a:pt x="1798840" y="390505"/>
                  </a:lnTo>
                  <a:lnTo>
                    <a:pt x="1804349" y="400519"/>
                  </a:lnTo>
                  <a:lnTo>
                    <a:pt x="1819372" y="405490"/>
                  </a:lnTo>
                  <a:lnTo>
                    <a:pt x="1823879" y="415505"/>
                  </a:lnTo>
                  <a:lnTo>
                    <a:pt x="1833393" y="420043"/>
                  </a:lnTo>
                  <a:lnTo>
                    <a:pt x="1843346" y="405490"/>
                  </a:lnTo>
                  <a:lnTo>
                    <a:pt x="1843346" y="390505"/>
                  </a:lnTo>
                  <a:lnTo>
                    <a:pt x="1852861" y="390505"/>
                  </a:lnTo>
                  <a:lnTo>
                    <a:pt x="1858369" y="380995"/>
                  </a:lnTo>
                  <a:lnTo>
                    <a:pt x="1877399" y="380995"/>
                  </a:lnTo>
                  <a:lnTo>
                    <a:pt x="1881905" y="376528"/>
                  </a:lnTo>
                  <a:lnTo>
                    <a:pt x="1887351" y="376528"/>
                  </a:lnTo>
                  <a:lnTo>
                    <a:pt x="1887351" y="386038"/>
                  </a:lnTo>
                  <a:lnTo>
                    <a:pt x="1887351" y="400519"/>
                  </a:lnTo>
                  <a:lnTo>
                    <a:pt x="1892359" y="405490"/>
                  </a:lnTo>
                  <a:lnTo>
                    <a:pt x="1906881" y="405490"/>
                  </a:lnTo>
                  <a:lnTo>
                    <a:pt x="1906881" y="400519"/>
                  </a:lnTo>
                  <a:lnTo>
                    <a:pt x="1906881" y="380995"/>
                  </a:lnTo>
                  <a:lnTo>
                    <a:pt x="1911889" y="380995"/>
                  </a:lnTo>
                  <a:lnTo>
                    <a:pt x="1911889" y="376528"/>
                  </a:lnTo>
                  <a:lnTo>
                    <a:pt x="1931419" y="376528"/>
                  </a:lnTo>
                  <a:lnTo>
                    <a:pt x="1931419" y="380995"/>
                  </a:lnTo>
                  <a:lnTo>
                    <a:pt x="1945879" y="386038"/>
                  </a:lnTo>
                  <a:lnTo>
                    <a:pt x="1950887" y="400519"/>
                  </a:lnTo>
                  <a:lnTo>
                    <a:pt x="1960401" y="396052"/>
                  </a:lnTo>
                  <a:lnTo>
                    <a:pt x="1965910" y="400519"/>
                  </a:lnTo>
                  <a:lnTo>
                    <a:pt x="1970417" y="400519"/>
                  </a:lnTo>
                  <a:lnTo>
                    <a:pt x="1975424" y="410029"/>
                  </a:lnTo>
                  <a:lnTo>
                    <a:pt x="1979931" y="405490"/>
                  </a:lnTo>
                  <a:lnTo>
                    <a:pt x="1989947" y="410029"/>
                  </a:lnTo>
                  <a:lnTo>
                    <a:pt x="1989947" y="420043"/>
                  </a:lnTo>
                  <a:lnTo>
                    <a:pt x="1999399" y="429553"/>
                  </a:lnTo>
                  <a:lnTo>
                    <a:pt x="1999399" y="439063"/>
                  </a:lnTo>
                  <a:lnTo>
                    <a:pt x="1999399" y="444539"/>
                  </a:lnTo>
                  <a:lnTo>
                    <a:pt x="2014422" y="444539"/>
                  </a:lnTo>
                  <a:lnTo>
                    <a:pt x="2009414" y="449077"/>
                  </a:lnTo>
                  <a:lnTo>
                    <a:pt x="2018929" y="454049"/>
                  </a:lnTo>
                  <a:lnTo>
                    <a:pt x="2018929" y="468530"/>
                  </a:lnTo>
                  <a:lnTo>
                    <a:pt x="2014422" y="468530"/>
                  </a:lnTo>
                  <a:lnTo>
                    <a:pt x="2014422" y="478039"/>
                  </a:lnTo>
                  <a:lnTo>
                    <a:pt x="2014422" y="503111"/>
                  </a:lnTo>
                  <a:lnTo>
                    <a:pt x="2018929" y="512621"/>
                  </a:lnTo>
                  <a:lnTo>
                    <a:pt x="2024437" y="517088"/>
                  </a:lnTo>
                  <a:lnTo>
                    <a:pt x="2029445" y="512621"/>
                  </a:lnTo>
                  <a:lnTo>
                    <a:pt x="2033952" y="512621"/>
                  </a:lnTo>
                  <a:lnTo>
                    <a:pt x="2033952" y="517088"/>
                  </a:lnTo>
                  <a:lnTo>
                    <a:pt x="2043404" y="522131"/>
                  </a:lnTo>
                  <a:lnTo>
                    <a:pt x="2048912" y="532073"/>
                  </a:lnTo>
                  <a:lnTo>
                    <a:pt x="2053419" y="536612"/>
                  </a:lnTo>
                  <a:lnTo>
                    <a:pt x="2058427" y="541583"/>
                  </a:lnTo>
                  <a:lnTo>
                    <a:pt x="2058427" y="546122"/>
                  </a:lnTo>
                  <a:lnTo>
                    <a:pt x="2068442" y="551597"/>
                  </a:lnTo>
                  <a:lnTo>
                    <a:pt x="2068442" y="556136"/>
                  </a:lnTo>
                  <a:lnTo>
                    <a:pt x="2068442" y="561107"/>
                  </a:lnTo>
                  <a:lnTo>
                    <a:pt x="2068442" y="565646"/>
                  </a:lnTo>
                  <a:lnTo>
                    <a:pt x="2058427" y="565646"/>
                  </a:lnTo>
                  <a:lnTo>
                    <a:pt x="2058427" y="575660"/>
                  </a:lnTo>
                  <a:lnTo>
                    <a:pt x="2048912" y="585170"/>
                  </a:lnTo>
                  <a:lnTo>
                    <a:pt x="2043404" y="590645"/>
                  </a:lnTo>
                  <a:lnTo>
                    <a:pt x="2029445" y="595112"/>
                  </a:lnTo>
                  <a:lnTo>
                    <a:pt x="2029445" y="600155"/>
                  </a:lnTo>
                  <a:lnTo>
                    <a:pt x="2014422" y="614636"/>
                  </a:lnTo>
                  <a:lnTo>
                    <a:pt x="1999399" y="629189"/>
                  </a:lnTo>
                  <a:lnTo>
                    <a:pt x="1989947" y="633656"/>
                  </a:lnTo>
                  <a:lnTo>
                    <a:pt x="1989947" y="639204"/>
                  </a:lnTo>
                  <a:lnTo>
                    <a:pt x="1999399" y="639204"/>
                  </a:lnTo>
                  <a:lnTo>
                    <a:pt x="1999399" y="643670"/>
                  </a:lnTo>
                  <a:lnTo>
                    <a:pt x="1989947" y="653180"/>
                  </a:lnTo>
                  <a:lnTo>
                    <a:pt x="1999399" y="672704"/>
                  </a:lnTo>
                  <a:lnTo>
                    <a:pt x="1989947" y="692229"/>
                  </a:lnTo>
                  <a:lnTo>
                    <a:pt x="1979931" y="711681"/>
                  </a:lnTo>
                  <a:lnTo>
                    <a:pt x="1989947" y="731205"/>
                  </a:lnTo>
                  <a:lnTo>
                    <a:pt x="1975424" y="731205"/>
                  </a:lnTo>
                  <a:lnTo>
                    <a:pt x="1955393" y="721695"/>
                  </a:lnTo>
                  <a:lnTo>
                    <a:pt x="1931419" y="726738"/>
                  </a:lnTo>
                  <a:lnTo>
                    <a:pt x="1931419" y="740715"/>
                  </a:lnTo>
                  <a:lnTo>
                    <a:pt x="1921904" y="740715"/>
                  </a:lnTo>
                  <a:lnTo>
                    <a:pt x="1911889" y="765714"/>
                  </a:lnTo>
                  <a:lnTo>
                    <a:pt x="1916396" y="775224"/>
                  </a:lnTo>
                  <a:lnTo>
                    <a:pt x="1921904" y="775224"/>
                  </a:lnTo>
                  <a:lnTo>
                    <a:pt x="1926411" y="770253"/>
                  </a:lnTo>
                  <a:lnTo>
                    <a:pt x="1931419" y="775224"/>
                  </a:lnTo>
                  <a:lnTo>
                    <a:pt x="1921904" y="789777"/>
                  </a:lnTo>
                  <a:lnTo>
                    <a:pt x="1906881" y="789777"/>
                  </a:lnTo>
                  <a:lnTo>
                    <a:pt x="1902374" y="794748"/>
                  </a:lnTo>
                  <a:lnTo>
                    <a:pt x="1906881" y="799287"/>
                  </a:lnTo>
                  <a:lnTo>
                    <a:pt x="1887351" y="814273"/>
                  </a:lnTo>
                  <a:lnTo>
                    <a:pt x="1881905" y="809301"/>
                  </a:lnTo>
                  <a:lnTo>
                    <a:pt x="1872391" y="818811"/>
                  </a:lnTo>
                  <a:lnTo>
                    <a:pt x="1867884" y="814273"/>
                  </a:lnTo>
                  <a:lnTo>
                    <a:pt x="1867884" y="809301"/>
                  </a:lnTo>
                  <a:lnTo>
                    <a:pt x="1867884" y="804763"/>
                  </a:lnTo>
                  <a:lnTo>
                    <a:pt x="1862876" y="809301"/>
                  </a:lnTo>
                  <a:lnTo>
                    <a:pt x="1867884" y="818811"/>
                  </a:lnTo>
                  <a:lnTo>
                    <a:pt x="1838839" y="838263"/>
                  </a:lnTo>
                  <a:lnTo>
                    <a:pt x="1833393" y="838263"/>
                  </a:lnTo>
                  <a:lnTo>
                    <a:pt x="1833393" y="857788"/>
                  </a:lnTo>
                  <a:lnTo>
                    <a:pt x="1808856" y="857788"/>
                  </a:lnTo>
                  <a:lnTo>
                    <a:pt x="1789326" y="843307"/>
                  </a:lnTo>
                  <a:lnTo>
                    <a:pt x="1789326" y="838263"/>
                  </a:lnTo>
                  <a:lnTo>
                    <a:pt x="1794333" y="823782"/>
                  </a:lnTo>
                  <a:lnTo>
                    <a:pt x="1779874" y="809301"/>
                  </a:lnTo>
                  <a:lnTo>
                    <a:pt x="1750328" y="809301"/>
                  </a:lnTo>
                  <a:lnTo>
                    <a:pt x="1730798" y="814273"/>
                  </a:lnTo>
                  <a:lnTo>
                    <a:pt x="1701816" y="828754"/>
                  </a:lnTo>
                  <a:lnTo>
                    <a:pt x="1672834" y="857788"/>
                  </a:lnTo>
                  <a:lnTo>
                    <a:pt x="1657811" y="872845"/>
                  </a:lnTo>
                  <a:lnTo>
                    <a:pt x="1632772" y="886822"/>
                  </a:lnTo>
                  <a:lnTo>
                    <a:pt x="1618813" y="901807"/>
                  </a:lnTo>
                  <a:lnTo>
                    <a:pt x="1603790" y="901807"/>
                  </a:lnTo>
                  <a:lnTo>
                    <a:pt x="1594275" y="911317"/>
                  </a:lnTo>
                  <a:lnTo>
                    <a:pt x="1569300" y="935380"/>
                  </a:lnTo>
                  <a:lnTo>
                    <a:pt x="1564793" y="945394"/>
                  </a:lnTo>
                  <a:lnTo>
                    <a:pt x="1555278" y="950365"/>
                  </a:lnTo>
                  <a:lnTo>
                    <a:pt x="1549770" y="964846"/>
                  </a:lnTo>
                  <a:lnTo>
                    <a:pt x="1545263" y="969889"/>
                  </a:lnTo>
                  <a:lnTo>
                    <a:pt x="1511273" y="960379"/>
                  </a:lnTo>
                  <a:lnTo>
                    <a:pt x="1486234" y="964846"/>
                  </a:lnTo>
                  <a:lnTo>
                    <a:pt x="1476720" y="969889"/>
                  </a:lnTo>
                  <a:lnTo>
                    <a:pt x="1466767" y="979904"/>
                  </a:lnTo>
                  <a:lnTo>
                    <a:pt x="1462260" y="979904"/>
                  </a:lnTo>
                  <a:lnTo>
                    <a:pt x="1452745" y="989413"/>
                  </a:lnTo>
                  <a:lnTo>
                    <a:pt x="1437722" y="999428"/>
                  </a:lnTo>
                  <a:lnTo>
                    <a:pt x="1413247" y="1023419"/>
                  </a:lnTo>
                  <a:lnTo>
                    <a:pt x="1403232" y="1042438"/>
                  </a:lnTo>
                  <a:lnTo>
                    <a:pt x="1379195" y="1081415"/>
                  </a:lnTo>
                  <a:lnTo>
                    <a:pt x="1374187" y="1081415"/>
                  </a:lnTo>
                  <a:lnTo>
                    <a:pt x="1374187" y="1071905"/>
                  </a:lnTo>
                  <a:lnTo>
                    <a:pt x="1359226" y="1067438"/>
                  </a:lnTo>
                  <a:lnTo>
                    <a:pt x="1359226" y="1061963"/>
                  </a:lnTo>
                  <a:lnTo>
                    <a:pt x="1354719" y="1057424"/>
                  </a:lnTo>
                  <a:lnTo>
                    <a:pt x="1354719" y="1076948"/>
                  </a:lnTo>
                  <a:lnTo>
                    <a:pt x="1354719" y="1081415"/>
                  </a:lnTo>
                  <a:lnTo>
                    <a:pt x="1369179" y="1091429"/>
                  </a:lnTo>
                  <a:lnTo>
                    <a:pt x="1369179" y="1086962"/>
                  </a:lnTo>
                  <a:lnTo>
                    <a:pt x="1374187" y="1086962"/>
                  </a:lnTo>
                  <a:lnTo>
                    <a:pt x="1359226" y="1135448"/>
                  </a:lnTo>
                  <a:lnTo>
                    <a:pt x="1359226" y="1149497"/>
                  </a:lnTo>
                  <a:lnTo>
                    <a:pt x="1349712" y="1144958"/>
                  </a:lnTo>
                  <a:lnTo>
                    <a:pt x="1354719" y="1125506"/>
                  </a:lnTo>
                  <a:lnTo>
                    <a:pt x="1345205" y="1129973"/>
                  </a:lnTo>
                  <a:lnTo>
                    <a:pt x="1339696" y="1139987"/>
                  </a:lnTo>
                  <a:lnTo>
                    <a:pt x="1349712" y="1149497"/>
                  </a:lnTo>
                  <a:lnTo>
                    <a:pt x="1359226" y="1154972"/>
                  </a:lnTo>
                  <a:lnTo>
                    <a:pt x="1359226" y="1159511"/>
                  </a:lnTo>
                  <a:lnTo>
                    <a:pt x="1369179" y="1159511"/>
                  </a:lnTo>
                  <a:lnTo>
                    <a:pt x="1359226" y="1207997"/>
                  </a:lnTo>
                  <a:lnTo>
                    <a:pt x="1359226" y="1242579"/>
                  </a:lnTo>
                  <a:lnTo>
                    <a:pt x="1359226" y="1262031"/>
                  </a:lnTo>
                  <a:lnTo>
                    <a:pt x="1359226" y="1271541"/>
                  </a:lnTo>
                  <a:lnTo>
                    <a:pt x="1359226" y="1295604"/>
                  </a:lnTo>
                  <a:lnTo>
                    <a:pt x="1359226" y="1315056"/>
                  </a:lnTo>
                  <a:lnTo>
                    <a:pt x="1364735" y="1339623"/>
                  </a:lnTo>
                  <a:lnTo>
                    <a:pt x="1364735" y="1344090"/>
                  </a:lnTo>
                  <a:lnTo>
                    <a:pt x="1364735" y="1369089"/>
                  </a:lnTo>
                  <a:lnTo>
                    <a:pt x="1374187" y="1373628"/>
                  </a:lnTo>
                  <a:lnTo>
                    <a:pt x="1379195" y="1373628"/>
                  </a:lnTo>
                  <a:lnTo>
                    <a:pt x="1383702" y="1378599"/>
                  </a:lnTo>
                  <a:lnTo>
                    <a:pt x="1398725" y="1378599"/>
                  </a:lnTo>
                  <a:lnTo>
                    <a:pt x="1403232" y="1383138"/>
                  </a:lnTo>
                  <a:lnTo>
                    <a:pt x="1398725" y="1388614"/>
                  </a:lnTo>
                  <a:lnTo>
                    <a:pt x="1398725" y="1402662"/>
                  </a:lnTo>
                  <a:lnTo>
                    <a:pt x="1408740" y="1402662"/>
                  </a:lnTo>
                  <a:lnTo>
                    <a:pt x="1413247" y="1417648"/>
                  </a:lnTo>
                  <a:lnTo>
                    <a:pt x="1418192" y="1422186"/>
                  </a:lnTo>
                  <a:lnTo>
                    <a:pt x="1393717" y="1427158"/>
                  </a:lnTo>
                  <a:lnTo>
                    <a:pt x="1379195" y="1431696"/>
                  </a:lnTo>
                  <a:lnTo>
                    <a:pt x="1364735" y="1407633"/>
                  </a:lnTo>
                  <a:lnTo>
                    <a:pt x="1349712" y="1407633"/>
                  </a:lnTo>
                  <a:lnTo>
                    <a:pt x="1330182" y="1407633"/>
                  </a:lnTo>
                  <a:lnTo>
                    <a:pt x="1325675" y="1402662"/>
                  </a:lnTo>
                  <a:lnTo>
                    <a:pt x="1315659" y="1407633"/>
                  </a:lnTo>
                  <a:lnTo>
                    <a:pt x="1315659" y="1412677"/>
                  </a:lnTo>
                  <a:lnTo>
                    <a:pt x="1295691" y="1412677"/>
                  </a:lnTo>
                  <a:lnTo>
                    <a:pt x="1291184" y="1417648"/>
                  </a:lnTo>
                  <a:lnTo>
                    <a:pt x="1281670" y="1417648"/>
                  </a:lnTo>
                  <a:lnTo>
                    <a:pt x="1252187" y="1441639"/>
                  </a:lnTo>
                  <a:lnTo>
                    <a:pt x="1247179" y="1431696"/>
                  </a:lnTo>
                  <a:lnTo>
                    <a:pt x="1237164" y="1431696"/>
                  </a:lnTo>
                  <a:lnTo>
                    <a:pt x="1232657" y="1431696"/>
                  </a:lnTo>
                  <a:lnTo>
                    <a:pt x="1212626" y="1441639"/>
                  </a:lnTo>
                  <a:lnTo>
                    <a:pt x="1212626" y="1451149"/>
                  </a:lnTo>
                  <a:lnTo>
                    <a:pt x="1208182" y="1456696"/>
                  </a:lnTo>
                  <a:lnTo>
                    <a:pt x="1208182" y="1461163"/>
                  </a:lnTo>
                  <a:lnTo>
                    <a:pt x="1212626" y="1466206"/>
                  </a:lnTo>
                  <a:lnTo>
                    <a:pt x="1212626" y="1476220"/>
                  </a:lnTo>
                  <a:lnTo>
                    <a:pt x="1193158" y="1476220"/>
                  </a:lnTo>
                  <a:lnTo>
                    <a:pt x="1179137" y="1470673"/>
                  </a:lnTo>
                  <a:lnTo>
                    <a:pt x="1169121" y="1470673"/>
                  </a:lnTo>
                  <a:lnTo>
                    <a:pt x="1159607" y="1480687"/>
                  </a:lnTo>
                  <a:lnTo>
                    <a:pt x="1149153" y="1480687"/>
                  </a:lnTo>
                  <a:lnTo>
                    <a:pt x="1144646" y="1476220"/>
                  </a:lnTo>
                  <a:lnTo>
                    <a:pt x="1134631" y="1476220"/>
                  </a:lnTo>
                  <a:lnTo>
                    <a:pt x="1134631" y="1470673"/>
                  </a:lnTo>
                  <a:lnTo>
                    <a:pt x="1115602" y="1451149"/>
                  </a:lnTo>
                  <a:lnTo>
                    <a:pt x="1071096" y="1431696"/>
                  </a:lnTo>
                  <a:lnTo>
                    <a:pt x="1046620" y="1427158"/>
                  </a:lnTo>
                  <a:lnTo>
                    <a:pt x="1022583" y="1437172"/>
                  </a:lnTo>
                  <a:lnTo>
                    <a:pt x="1007560" y="1437172"/>
                  </a:lnTo>
                  <a:lnTo>
                    <a:pt x="992600" y="1441639"/>
                  </a:lnTo>
                  <a:lnTo>
                    <a:pt x="988093" y="1451149"/>
                  </a:lnTo>
                  <a:lnTo>
                    <a:pt x="988093" y="1456696"/>
                  </a:lnTo>
                  <a:lnTo>
                    <a:pt x="978578" y="1461163"/>
                  </a:lnTo>
                  <a:lnTo>
                    <a:pt x="973571" y="1466206"/>
                  </a:lnTo>
                  <a:lnTo>
                    <a:pt x="949534" y="1470673"/>
                  </a:lnTo>
                  <a:lnTo>
                    <a:pt x="944088" y="1476220"/>
                  </a:lnTo>
                  <a:lnTo>
                    <a:pt x="934573" y="1466206"/>
                  </a:lnTo>
                  <a:lnTo>
                    <a:pt x="924558" y="1456696"/>
                  </a:lnTo>
                  <a:lnTo>
                    <a:pt x="919550" y="1437172"/>
                  </a:lnTo>
                  <a:lnTo>
                    <a:pt x="915043" y="1431696"/>
                  </a:lnTo>
                  <a:lnTo>
                    <a:pt x="915043" y="1422186"/>
                  </a:lnTo>
                  <a:lnTo>
                    <a:pt x="909535" y="1417648"/>
                  </a:lnTo>
                  <a:lnTo>
                    <a:pt x="905028" y="1422186"/>
                  </a:lnTo>
                  <a:lnTo>
                    <a:pt x="900020" y="1417648"/>
                  </a:lnTo>
                  <a:lnTo>
                    <a:pt x="895513" y="1422186"/>
                  </a:lnTo>
                  <a:lnTo>
                    <a:pt x="876046" y="1402662"/>
                  </a:lnTo>
                  <a:lnTo>
                    <a:pt x="832040" y="1393152"/>
                  </a:lnTo>
                  <a:lnTo>
                    <a:pt x="826532" y="1378599"/>
                  </a:lnTo>
                  <a:lnTo>
                    <a:pt x="836547" y="1359147"/>
                  </a:lnTo>
                  <a:lnTo>
                    <a:pt x="845999" y="1354104"/>
                  </a:lnTo>
                  <a:lnTo>
                    <a:pt x="851508" y="1354104"/>
                  </a:lnTo>
                  <a:lnTo>
                    <a:pt x="854599" y="1353397"/>
                  </a:lnTo>
                  <a:lnTo>
                    <a:pt x="854599" y="1352004"/>
                  </a:lnTo>
                  <a:lnTo>
                    <a:pt x="850815" y="1352885"/>
                  </a:lnTo>
                  <a:lnTo>
                    <a:pt x="850815" y="1342870"/>
                  </a:lnTo>
                  <a:lnTo>
                    <a:pt x="831259" y="1342870"/>
                  </a:lnTo>
                  <a:lnTo>
                    <a:pt x="831259" y="1328862"/>
                  </a:lnTo>
                  <a:lnTo>
                    <a:pt x="777216" y="1318848"/>
                  </a:lnTo>
                  <a:lnTo>
                    <a:pt x="767742" y="1309306"/>
                  </a:lnTo>
                  <a:lnTo>
                    <a:pt x="762739" y="1309306"/>
                  </a:lnTo>
                  <a:lnTo>
                    <a:pt x="748186" y="1309306"/>
                  </a:lnTo>
                  <a:lnTo>
                    <a:pt x="743183" y="1313840"/>
                  </a:lnTo>
                  <a:lnTo>
                    <a:pt x="738711" y="1309306"/>
                  </a:lnTo>
                  <a:lnTo>
                    <a:pt x="738711" y="1303825"/>
                  </a:lnTo>
                  <a:lnTo>
                    <a:pt x="728706" y="1309306"/>
                  </a:lnTo>
                  <a:lnTo>
                    <a:pt x="728706" y="1328862"/>
                  </a:lnTo>
                  <a:lnTo>
                    <a:pt x="713699" y="1333328"/>
                  </a:lnTo>
                  <a:lnTo>
                    <a:pt x="689141" y="1284811"/>
                  </a:lnTo>
                  <a:lnTo>
                    <a:pt x="679666" y="1279803"/>
                  </a:lnTo>
                  <a:lnTo>
                    <a:pt x="679666" y="1270330"/>
                  </a:lnTo>
                  <a:lnTo>
                    <a:pt x="669661" y="1265322"/>
                  </a:lnTo>
                  <a:lnTo>
                    <a:pt x="640631" y="1270330"/>
                  </a:lnTo>
                  <a:lnTo>
                    <a:pt x="625623" y="1260789"/>
                  </a:lnTo>
                  <a:lnTo>
                    <a:pt x="606068" y="1274796"/>
                  </a:lnTo>
                  <a:lnTo>
                    <a:pt x="592045" y="1260789"/>
                  </a:lnTo>
                  <a:lnTo>
                    <a:pt x="586588" y="1245766"/>
                  </a:lnTo>
                  <a:lnTo>
                    <a:pt x="567033" y="1231285"/>
                  </a:lnTo>
                  <a:lnTo>
                    <a:pt x="552025" y="1231285"/>
                  </a:lnTo>
                  <a:lnTo>
                    <a:pt x="538003" y="1226278"/>
                  </a:lnTo>
                  <a:lnTo>
                    <a:pt x="527998" y="1226278"/>
                  </a:lnTo>
                  <a:lnTo>
                    <a:pt x="518523" y="1221744"/>
                  </a:lnTo>
                  <a:lnTo>
                    <a:pt x="513520" y="1221744"/>
                  </a:lnTo>
                  <a:lnTo>
                    <a:pt x="503439" y="1226278"/>
                  </a:lnTo>
                  <a:lnTo>
                    <a:pt x="478957" y="1206790"/>
                  </a:lnTo>
                  <a:lnTo>
                    <a:pt x="454930" y="1196775"/>
                  </a:lnTo>
                  <a:lnTo>
                    <a:pt x="449927" y="1202256"/>
                  </a:lnTo>
                  <a:lnTo>
                    <a:pt x="420367" y="1187233"/>
                  </a:lnTo>
                  <a:lnTo>
                    <a:pt x="405359" y="1187233"/>
                  </a:lnTo>
                  <a:lnTo>
                    <a:pt x="395884" y="1202256"/>
                  </a:lnTo>
                  <a:lnTo>
                    <a:pt x="400887" y="1206790"/>
                  </a:lnTo>
                  <a:lnTo>
                    <a:pt x="400887" y="1211797"/>
                  </a:lnTo>
                  <a:lnTo>
                    <a:pt x="400887" y="1216263"/>
                  </a:lnTo>
                  <a:lnTo>
                    <a:pt x="395884" y="1221744"/>
                  </a:lnTo>
                  <a:lnTo>
                    <a:pt x="395884" y="1226278"/>
                  </a:lnTo>
                  <a:lnTo>
                    <a:pt x="391337" y="1226278"/>
                  </a:lnTo>
                  <a:lnTo>
                    <a:pt x="400887" y="1231285"/>
                  </a:lnTo>
                  <a:lnTo>
                    <a:pt x="391337" y="1241300"/>
                  </a:lnTo>
                  <a:lnTo>
                    <a:pt x="400887" y="1245766"/>
                  </a:lnTo>
                  <a:lnTo>
                    <a:pt x="400887" y="1274796"/>
                  </a:lnTo>
                  <a:lnTo>
                    <a:pt x="400887" y="1279803"/>
                  </a:lnTo>
                  <a:lnTo>
                    <a:pt x="376329" y="1274796"/>
                  </a:lnTo>
                  <a:lnTo>
                    <a:pt x="371857" y="1270330"/>
                  </a:lnTo>
                  <a:lnTo>
                    <a:pt x="366854" y="1274796"/>
                  </a:lnTo>
                  <a:lnTo>
                    <a:pt x="347299" y="1270330"/>
                  </a:lnTo>
                  <a:lnTo>
                    <a:pt x="341842" y="1270330"/>
                  </a:lnTo>
                  <a:lnTo>
                    <a:pt x="341842" y="1274796"/>
                  </a:lnTo>
                  <a:lnTo>
                    <a:pt x="322286" y="1274796"/>
                  </a:lnTo>
                  <a:lnTo>
                    <a:pt x="303261" y="1274796"/>
                  </a:lnTo>
                  <a:lnTo>
                    <a:pt x="288784" y="1270330"/>
                  </a:lnTo>
                  <a:lnTo>
                    <a:pt x="288784" y="1265322"/>
                  </a:lnTo>
                  <a:lnTo>
                    <a:pt x="278248" y="1260789"/>
                  </a:lnTo>
                  <a:lnTo>
                    <a:pt x="258769" y="1270330"/>
                  </a:lnTo>
                  <a:lnTo>
                    <a:pt x="258769" y="1279803"/>
                  </a:lnTo>
                  <a:lnTo>
                    <a:pt x="249218" y="1284811"/>
                  </a:lnTo>
                  <a:lnTo>
                    <a:pt x="234741" y="1274796"/>
                  </a:lnTo>
                  <a:lnTo>
                    <a:pt x="234741" y="1260789"/>
                  </a:lnTo>
                  <a:lnTo>
                    <a:pt x="215186" y="1255307"/>
                  </a:lnTo>
                  <a:lnTo>
                    <a:pt x="205181" y="1250774"/>
                  </a:lnTo>
                  <a:lnTo>
                    <a:pt x="185701" y="1255307"/>
                  </a:lnTo>
                  <a:lnTo>
                    <a:pt x="171148" y="1265322"/>
                  </a:lnTo>
                  <a:lnTo>
                    <a:pt x="166145" y="1260789"/>
                  </a:lnTo>
                  <a:lnTo>
                    <a:pt x="161673" y="1260789"/>
                  </a:lnTo>
                  <a:lnTo>
                    <a:pt x="151668" y="1270330"/>
                  </a:lnTo>
                  <a:lnTo>
                    <a:pt x="142118" y="1265322"/>
                  </a:lnTo>
                  <a:lnTo>
                    <a:pt x="131658" y="1274796"/>
                  </a:lnTo>
                  <a:lnTo>
                    <a:pt x="102628" y="1270330"/>
                  </a:lnTo>
                  <a:lnTo>
                    <a:pt x="102628" y="1255307"/>
                  </a:lnTo>
                  <a:lnTo>
                    <a:pt x="88075" y="1255307"/>
                  </a:lnTo>
                  <a:lnTo>
                    <a:pt x="73598" y="1226278"/>
                  </a:lnTo>
                  <a:lnTo>
                    <a:pt x="68595" y="1211797"/>
                  </a:lnTo>
                  <a:lnTo>
                    <a:pt x="58590" y="1216263"/>
                  </a:lnTo>
                  <a:lnTo>
                    <a:pt x="34563" y="1206790"/>
                  </a:lnTo>
                  <a:lnTo>
                    <a:pt x="34563" y="1202256"/>
                  </a:lnTo>
                  <a:lnTo>
                    <a:pt x="34563" y="1196775"/>
                  </a:lnTo>
                  <a:lnTo>
                    <a:pt x="29030" y="1196775"/>
                  </a:lnTo>
                  <a:lnTo>
                    <a:pt x="5002" y="1182767"/>
                  </a:lnTo>
                  <a:lnTo>
                    <a:pt x="0" y="1143723"/>
                  </a:lnTo>
                  <a:lnTo>
                    <a:pt x="9474" y="1138716"/>
                  </a:lnTo>
                  <a:lnTo>
                    <a:pt x="19555" y="1138716"/>
                  </a:lnTo>
                  <a:lnTo>
                    <a:pt x="19555" y="1128701"/>
                  </a:lnTo>
                  <a:lnTo>
                    <a:pt x="15007" y="1119227"/>
                  </a:lnTo>
                  <a:lnTo>
                    <a:pt x="19555" y="1095205"/>
                  </a:lnTo>
                  <a:lnTo>
                    <a:pt x="29030" y="1095205"/>
                  </a:lnTo>
                  <a:lnTo>
                    <a:pt x="29030" y="1080183"/>
                  </a:lnTo>
                  <a:lnTo>
                    <a:pt x="39035" y="1075649"/>
                  </a:lnTo>
                  <a:lnTo>
                    <a:pt x="44037" y="1080183"/>
                  </a:lnTo>
                  <a:lnTo>
                    <a:pt x="63593" y="1070709"/>
                  </a:lnTo>
                  <a:lnTo>
                    <a:pt x="58590" y="1070709"/>
                  </a:lnTo>
                  <a:lnTo>
                    <a:pt x="58590" y="1066176"/>
                  </a:lnTo>
                  <a:lnTo>
                    <a:pt x="58590" y="1041139"/>
                  </a:lnTo>
                  <a:lnTo>
                    <a:pt x="58590" y="1036672"/>
                  </a:lnTo>
                  <a:lnTo>
                    <a:pt x="68595" y="1041139"/>
                  </a:lnTo>
                  <a:lnTo>
                    <a:pt x="78601" y="1031665"/>
                  </a:lnTo>
                  <a:lnTo>
                    <a:pt x="78601" y="1021650"/>
                  </a:lnTo>
                  <a:lnTo>
                    <a:pt x="83073" y="1021650"/>
                  </a:lnTo>
                  <a:lnTo>
                    <a:pt x="88075" y="1007643"/>
                  </a:lnTo>
                  <a:lnTo>
                    <a:pt x="92623" y="1002162"/>
                  </a:lnTo>
                  <a:lnTo>
                    <a:pt x="92623" y="1007643"/>
                  </a:lnTo>
                  <a:lnTo>
                    <a:pt x="98080" y="1007643"/>
                  </a:lnTo>
                  <a:lnTo>
                    <a:pt x="107631" y="1007643"/>
                  </a:lnTo>
                  <a:lnTo>
                    <a:pt x="107631" y="983147"/>
                  </a:lnTo>
                  <a:lnTo>
                    <a:pt x="112103" y="983147"/>
                  </a:lnTo>
                  <a:lnTo>
                    <a:pt x="117636" y="978140"/>
                  </a:lnTo>
                  <a:lnTo>
                    <a:pt x="122108" y="968599"/>
                  </a:lnTo>
                  <a:lnTo>
                    <a:pt x="127110" y="953576"/>
                  </a:lnTo>
                  <a:lnTo>
                    <a:pt x="131658" y="949110"/>
                  </a:lnTo>
                  <a:lnTo>
                    <a:pt x="122108" y="944103"/>
                  </a:lnTo>
                  <a:lnTo>
                    <a:pt x="127110" y="934088"/>
                  </a:lnTo>
                  <a:lnTo>
                    <a:pt x="127110" y="924614"/>
                  </a:lnTo>
                  <a:lnTo>
                    <a:pt x="131658" y="924614"/>
                  </a:lnTo>
                  <a:lnTo>
                    <a:pt x="146666" y="924614"/>
                  </a:lnTo>
                  <a:lnTo>
                    <a:pt x="151668" y="920081"/>
                  </a:lnTo>
                  <a:lnTo>
                    <a:pt x="151668" y="914600"/>
                  </a:lnTo>
                  <a:lnTo>
                    <a:pt x="151668" y="910066"/>
                  </a:lnTo>
                  <a:lnTo>
                    <a:pt x="142118" y="905058"/>
                  </a:lnTo>
                  <a:lnTo>
                    <a:pt x="142118" y="900592"/>
                  </a:lnTo>
                  <a:lnTo>
                    <a:pt x="142118" y="890577"/>
                  </a:lnTo>
                  <a:lnTo>
                    <a:pt x="142118" y="885570"/>
                  </a:lnTo>
                  <a:lnTo>
                    <a:pt x="146666" y="871563"/>
                  </a:lnTo>
                  <a:lnTo>
                    <a:pt x="142118" y="871563"/>
                  </a:lnTo>
                  <a:lnTo>
                    <a:pt x="142118" y="861548"/>
                  </a:lnTo>
                  <a:lnTo>
                    <a:pt x="137115" y="861548"/>
                  </a:lnTo>
                  <a:lnTo>
                    <a:pt x="131658" y="866082"/>
                  </a:lnTo>
                  <a:lnTo>
                    <a:pt x="127110" y="876029"/>
                  </a:lnTo>
                  <a:lnTo>
                    <a:pt x="122108" y="881036"/>
                  </a:lnTo>
                  <a:lnTo>
                    <a:pt x="117636" y="876029"/>
                  </a:lnTo>
                  <a:lnTo>
                    <a:pt x="122108" y="871563"/>
                  </a:lnTo>
                  <a:lnTo>
                    <a:pt x="117636" y="866082"/>
                  </a:lnTo>
                  <a:lnTo>
                    <a:pt x="117636" y="861548"/>
                  </a:lnTo>
                  <a:lnTo>
                    <a:pt x="117636" y="852007"/>
                  </a:lnTo>
                  <a:lnTo>
                    <a:pt x="131658" y="846526"/>
                  </a:lnTo>
                  <a:lnTo>
                    <a:pt x="137115" y="846526"/>
                  </a:lnTo>
                  <a:lnTo>
                    <a:pt x="131658" y="842060"/>
                  </a:lnTo>
                  <a:lnTo>
                    <a:pt x="122108" y="832518"/>
                  </a:lnTo>
                  <a:lnTo>
                    <a:pt x="127110" y="827037"/>
                  </a:lnTo>
                  <a:lnTo>
                    <a:pt x="127110" y="822504"/>
                  </a:lnTo>
                  <a:lnTo>
                    <a:pt x="127110" y="817496"/>
                  </a:lnTo>
                  <a:lnTo>
                    <a:pt x="127110" y="813030"/>
                  </a:lnTo>
                  <a:lnTo>
                    <a:pt x="122108" y="813030"/>
                  </a:lnTo>
                  <a:lnTo>
                    <a:pt x="117636" y="803015"/>
                  </a:lnTo>
                  <a:lnTo>
                    <a:pt x="107631" y="803015"/>
                  </a:lnTo>
                  <a:lnTo>
                    <a:pt x="107631" y="793474"/>
                  </a:lnTo>
                  <a:lnTo>
                    <a:pt x="107631" y="783527"/>
                  </a:lnTo>
                  <a:lnTo>
                    <a:pt x="92623" y="783527"/>
                  </a:lnTo>
                  <a:lnTo>
                    <a:pt x="83073" y="783527"/>
                  </a:lnTo>
                  <a:lnTo>
                    <a:pt x="78601" y="778519"/>
                  </a:lnTo>
                  <a:lnTo>
                    <a:pt x="73598" y="773986"/>
                  </a:lnTo>
                  <a:lnTo>
                    <a:pt x="63593" y="783527"/>
                  </a:lnTo>
                  <a:lnTo>
                    <a:pt x="58590" y="778519"/>
                  </a:lnTo>
                  <a:lnTo>
                    <a:pt x="48509" y="778519"/>
                  </a:lnTo>
                  <a:lnTo>
                    <a:pt x="44037" y="773986"/>
                  </a:lnTo>
                  <a:lnTo>
                    <a:pt x="44037" y="764512"/>
                  </a:lnTo>
                  <a:lnTo>
                    <a:pt x="34563" y="758963"/>
                  </a:lnTo>
                  <a:lnTo>
                    <a:pt x="34563" y="749490"/>
                  </a:lnTo>
                  <a:lnTo>
                    <a:pt x="39035" y="749490"/>
                  </a:lnTo>
                  <a:lnTo>
                    <a:pt x="39035" y="744956"/>
                  </a:lnTo>
                  <a:lnTo>
                    <a:pt x="44037" y="744956"/>
                  </a:lnTo>
                  <a:lnTo>
                    <a:pt x="48509" y="739475"/>
                  </a:lnTo>
                  <a:lnTo>
                    <a:pt x="48509" y="734941"/>
                  </a:lnTo>
                  <a:lnTo>
                    <a:pt x="44037" y="729934"/>
                  </a:lnTo>
                  <a:lnTo>
                    <a:pt x="44037" y="725468"/>
                  </a:lnTo>
                  <a:lnTo>
                    <a:pt x="48509" y="719987"/>
                  </a:lnTo>
                  <a:lnTo>
                    <a:pt x="48509" y="715453"/>
                  </a:lnTo>
                  <a:lnTo>
                    <a:pt x="58590" y="710446"/>
                  </a:lnTo>
                  <a:lnTo>
                    <a:pt x="63593" y="700431"/>
                  </a:lnTo>
                  <a:lnTo>
                    <a:pt x="68595" y="700431"/>
                  </a:lnTo>
                  <a:lnTo>
                    <a:pt x="68595" y="690957"/>
                  </a:lnTo>
                  <a:lnTo>
                    <a:pt x="58590" y="690957"/>
                  </a:lnTo>
                  <a:lnTo>
                    <a:pt x="63593" y="686423"/>
                  </a:lnTo>
                  <a:lnTo>
                    <a:pt x="58590" y="671401"/>
                  </a:lnTo>
                  <a:lnTo>
                    <a:pt x="63593" y="657394"/>
                  </a:lnTo>
                  <a:lnTo>
                    <a:pt x="73598" y="657394"/>
                  </a:lnTo>
                  <a:lnTo>
                    <a:pt x="73598" y="642439"/>
                  </a:lnTo>
                  <a:lnTo>
                    <a:pt x="68595" y="632424"/>
                  </a:lnTo>
                  <a:lnTo>
                    <a:pt x="73598" y="627891"/>
                  </a:lnTo>
                  <a:lnTo>
                    <a:pt x="73598" y="618417"/>
                  </a:lnTo>
                  <a:lnTo>
                    <a:pt x="63593" y="618417"/>
                  </a:lnTo>
                  <a:lnTo>
                    <a:pt x="58590" y="612868"/>
                  </a:lnTo>
                  <a:lnTo>
                    <a:pt x="54043" y="608402"/>
                  </a:lnTo>
                  <a:lnTo>
                    <a:pt x="58590" y="603395"/>
                  </a:lnTo>
                  <a:lnTo>
                    <a:pt x="68595" y="598861"/>
                  </a:lnTo>
                  <a:lnTo>
                    <a:pt x="78601" y="588846"/>
                  </a:lnTo>
                  <a:lnTo>
                    <a:pt x="83073" y="593854"/>
                  </a:lnTo>
                  <a:lnTo>
                    <a:pt x="92623" y="588846"/>
                  </a:lnTo>
                  <a:lnTo>
                    <a:pt x="98080" y="588846"/>
                  </a:lnTo>
                  <a:lnTo>
                    <a:pt x="102628" y="588846"/>
                  </a:lnTo>
                  <a:lnTo>
                    <a:pt x="112103" y="593854"/>
                  </a:lnTo>
                  <a:lnTo>
                    <a:pt x="112103" y="583839"/>
                  </a:lnTo>
                  <a:lnTo>
                    <a:pt x="137115" y="574365"/>
                  </a:lnTo>
                  <a:lnTo>
                    <a:pt x="137115" y="569832"/>
                  </a:lnTo>
                  <a:lnTo>
                    <a:pt x="151668" y="579373"/>
                  </a:lnTo>
                  <a:lnTo>
                    <a:pt x="151668" y="588846"/>
                  </a:lnTo>
                  <a:lnTo>
                    <a:pt x="146666" y="593854"/>
                  </a:lnTo>
                  <a:lnTo>
                    <a:pt x="161673" y="608402"/>
                  </a:lnTo>
                  <a:lnTo>
                    <a:pt x="161673" y="612868"/>
                  </a:lnTo>
                  <a:lnTo>
                    <a:pt x="175696" y="608402"/>
                  </a:lnTo>
                  <a:lnTo>
                    <a:pt x="181153" y="603395"/>
                  </a:lnTo>
                  <a:lnTo>
                    <a:pt x="171148" y="579373"/>
                  </a:lnTo>
                  <a:lnTo>
                    <a:pt x="175696" y="579373"/>
                  </a:lnTo>
                  <a:lnTo>
                    <a:pt x="175696" y="569832"/>
                  </a:lnTo>
                  <a:lnTo>
                    <a:pt x="181153" y="564351"/>
                  </a:lnTo>
                  <a:lnTo>
                    <a:pt x="195175" y="564351"/>
                  </a:lnTo>
                  <a:lnTo>
                    <a:pt x="200709" y="559884"/>
                  </a:lnTo>
                  <a:lnTo>
                    <a:pt x="205181" y="559884"/>
                  </a:lnTo>
                  <a:lnTo>
                    <a:pt x="205181" y="569832"/>
                  </a:lnTo>
                  <a:lnTo>
                    <a:pt x="215186" y="574365"/>
                  </a:lnTo>
                  <a:lnTo>
                    <a:pt x="220188" y="559884"/>
                  </a:lnTo>
                  <a:lnTo>
                    <a:pt x="225191" y="550343"/>
                  </a:lnTo>
                  <a:lnTo>
                    <a:pt x="229739" y="550343"/>
                  </a:lnTo>
                  <a:lnTo>
                    <a:pt x="234741" y="550343"/>
                  </a:lnTo>
                  <a:lnTo>
                    <a:pt x="244746" y="550343"/>
                  </a:lnTo>
                  <a:lnTo>
                    <a:pt x="244746" y="554877"/>
                  </a:lnTo>
                  <a:lnTo>
                    <a:pt x="258769" y="559884"/>
                  </a:lnTo>
                  <a:lnTo>
                    <a:pt x="268774" y="564351"/>
                  </a:lnTo>
                  <a:lnTo>
                    <a:pt x="273776" y="564351"/>
                  </a:lnTo>
                  <a:lnTo>
                    <a:pt x="278248" y="554877"/>
                  </a:lnTo>
                  <a:lnTo>
                    <a:pt x="322286" y="550343"/>
                  </a:lnTo>
                  <a:lnTo>
                    <a:pt x="327819" y="535321"/>
                  </a:lnTo>
                  <a:lnTo>
                    <a:pt x="332291" y="530855"/>
                  </a:lnTo>
                  <a:lnTo>
                    <a:pt x="341842" y="530855"/>
                  </a:lnTo>
                  <a:lnTo>
                    <a:pt x="351847" y="535321"/>
                  </a:lnTo>
                  <a:lnTo>
                    <a:pt x="351847" y="530855"/>
                  </a:lnTo>
                  <a:lnTo>
                    <a:pt x="362307" y="530855"/>
                  </a:lnTo>
                  <a:lnTo>
                    <a:pt x="366854" y="535321"/>
                  </a:lnTo>
                  <a:lnTo>
                    <a:pt x="371857" y="530855"/>
                  </a:lnTo>
                  <a:lnTo>
                    <a:pt x="381331" y="520840"/>
                  </a:lnTo>
                  <a:lnTo>
                    <a:pt x="391337" y="520840"/>
                  </a:lnTo>
                  <a:lnTo>
                    <a:pt x="400887" y="535321"/>
                  </a:lnTo>
                  <a:lnTo>
                    <a:pt x="405359" y="540328"/>
                  </a:lnTo>
                  <a:lnTo>
                    <a:pt x="410892" y="550343"/>
                  </a:lnTo>
                  <a:lnTo>
                    <a:pt x="420367" y="550343"/>
                  </a:lnTo>
                  <a:lnTo>
                    <a:pt x="430372" y="530855"/>
                  </a:lnTo>
                  <a:lnTo>
                    <a:pt x="445455" y="530855"/>
                  </a:lnTo>
                  <a:lnTo>
                    <a:pt x="449927" y="511299"/>
                  </a:lnTo>
                  <a:lnTo>
                    <a:pt x="459402" y="501352"/>
                  </a:lnTo>
                  <a:lnTo>
                    <a:pt x="464404" y="501352"/>
                  </a:lnTo>
                  <a:lnTo>
                    <a:pt x="468952" y="496344"/>
                  </a:lnTo>
                  <a:lnTo>
                    <a:pt x="464404" y="486803"/>
                  </a:lnTo>
                  <a:lnTo>
                    <a:pt x="478957" y="486803"/>
                  </a:lnTo>
                  <a:lnTo>
                    <a:pt x="488432" y="496344"/>
                  </a:lnTo>
                  <a:lnTo>
                    <a:pt x="498967" y="496344"/>
                  </a:lnTo>
                  <a:lnTo>
                    <a:pt x="503439" y="486803"/>
                  </a:lnTo>
                  <a:lnTo>
                    <a:pt x="503439" y="481796"/>
                  </a:lnTo>
                  <a:lnTo>
                    <a:pt x="503439" y="476788"/>
                  </a:lnTo>
                  <a:lnTo>
                    <a:pt x="503439" y="472322"/>
                  </a:lnTo>
                  <a:lnTo>
                    <a:pt x="498967" y="472322"/>
                  </a:lnTo>
                  <a:lnTo>
                    <a:pt x="493965" y="472322"/>
                  </a:lnTo>
                  <a:lnTo>
                    <a:pt x="488432" y="467315"/>
                  </a:lnTo>
                  <a:lnTo>
                    <a:pt x="493965" y="462781"/>
                  </a:lnTo>
                  <a:lnTo>
                    <a:pt x="508973" y="462781"/>
                  </a:lnTo>
                  <a:lnTo>
                    <a:pt x="518523" y="443293"/>
                  </a:lnTo>
                  <a:lnTo>
                    <a:pt x="518523" y="437812"/>
                  </a:lnTo>
                  <a:lnTo>
                    <a:pt x="522995" y="423737"/>
                  </a:lnTo>
                  <a:lnTo>
                    <a:pt x="527998" y="423737"/>
                  </a:lnTo>
                  <a:lnTo>
                    <a:pt x="527998" y="418256"/>
                  </a:lnTo>
                  <a:lnTo>
                    <a:pt x="518523" y="404248"/>
                  </a:lnTo>
                  <a:lnTo>
                    <a:pt x="513520" y="404248"/>
                  </a:lnTo>
                  <a:lnTo>
                    <a:pt x="508973" y="404248"/>
                  </a:lnTo>
                  <a:lnTo>
                    <a:pt x="498967" y="398767"/>
                  </a:lnTo>
                  <a:lnTo>
                    <a:pt x="498967" y="389226"/>
                  </a:lnTo>
                  <a:lnTo>
                    <a:pt x="503439" y="389226"/>
                  </a:lnTo>
                  <a:lnTo>
                    <a:pt x="508973" y="379752"/>
                  </a:lnTo>
                  <a:lnTo>
                    <a:pt x="503439" y="375219"/>
                  </a:lnTo>
                  <a:lnTo>
                    <a:pt x="508973" y="360196"/>
                  </a:lnTo>
                  <a:lnTo>
                    <a:pt x="513520" y="355730"/>
                  </a:lnTo>
                  <a:lnTo>
                    <a:pt x="518523" y="355730"/>
                  </a:lnTo>
                  <a:lnTo>
                    <a:pt x="527998" y="379752"/>
                  </a:lnTo>
                  <a:lnTo>
                    <a:pt x="533000" y="369738"/>
                  </a:lnTo>
                  <a:lnTo>
                    <a:pt x="542475" y="369738"/>
                  </a:lnTo>
                  <a:lnTo>
                    <a:pt x="547553" y="365204"/>
                  </a:lnTo>
                  <a:lnTo>
                    <a:pt x="557558" y="369738"/>
                  </a:lnTo>
                  <a:lnTo>
                    <a:pt x="572566" y="369738"/>
                  </a:lnTo>
                  <a:lnTo>
                    <a:pt x="577038" y="360196"/>
                  </a:lnTo>
                  <a:lnTo>
                    <a:pt x="567033" y="355730"/>
                  </a:lnTo>
                  <a:lnTo>
                    <a:pt x="572566" y="345716"/>
                  </a:lnTo>
                  <a:lnTo>
                    <a:pt x="572566" y="336242"/>
                  </a:lnTo>
                  <a:lnTo>
                    <a:pt x="567033" y="330693"/>
                  </a:lnTo>
                  <a:lnTo>
                    <a:pt x="557558" y="316686"/>
                  </a:lnTo>
                  <a:lnTo>
                    <a:pt x="562030" y="306671"/>
                  </a:lnTo>
                  <a:lnTo>
                    <a:pt x="557558" y="301664"/>
                  </a:lnTo>
                  <a:lnTo>
                    <a:pt x="557558" y="297198"/>
                  </a:lnTo>
                  <a:lnTo>
                    <a:pt x="547553" y="272702"/>
                  </a:lnTo>
                  <a:lnTo>
                    <a:pt x="552025" y="268168"/>
                  </a:lnTo>
                  <a:lnTo>
                    <a:pt x="557558" y="272702"/>
                  </a:lnTo>
                  <a:lnTo>
                    <a:pt x="567033" y="262687"/>
                  </a:lnTo>
                  <a:lnTo>
                    <a:pt x="582040" y="253146"/>
                  </a:lnTo>
                  <a:lnTo>
                    <a:pt x="592045" y="253146"/>
                  </a:lnTo>
                  <a:lnTo>
                    <a:pt x="592045" y="248680"/>
                  </a:lnTo>
                  <a:lnTo>
                    <a:pt x="592045" y="238665"/>
                  </a:lnTo>
                  <a:lnTo>
                    <a:pt x="601596" y="229124"/>
                  </a:lnTo>
                  <a:lnTo>
                    <a:pt x="606068" y="223643"/>
                  </a:lnTo>
                  <a:lnTo>
                    <a:pt x="611070" y="223643"/>
                  </a:lnTo>
                  <a:lnTo>
                    <a:pt x="611070" y="214169"/>
                  </a:lnTo>
                  <a:lnTo>
                    <a:pt x="611070" y="204154"/>
                  </a:lnTo>
                  <a:lnTo>
                    <a:pt x="640631" y="194613"/>
                  </a:lnTo>
                  <a:lnTo>
                    <a:pt x="650106" y="185140"/>
                  </a:lnTo>
                  <a:lnTo>
                    <a:pt x="660111" y="175125"/>
                  </a:lnTo>
                  <a:lnTo>
                    <a:pt x="665113" y="180132"/>
                  </a:lnTo>
                  <a:lnTo>
                    <a:pt x="669661" y="165584"/>
                  </a:lnTo>
                  <a:lnTo>
                    <a:pt x="679666" y="165584"/>
                  </a:lnTo>
                  <a:lnTo>
                    <a:pt x="679666" y="151103"/>
                  </a:lnTo>
                  <a:lnTo>
                    <a:pt x="675118" y="146095"/>
                  </a:lnTo>
                  <a:lnTo>
                    <a:pt x="669661" y="136080"/>
                  </a:lnTo>
                  <a:lnTo>
                    <a:pt x="679666" y="131614"/>
                  </a:lnTo>
                  <a:lnTo>
                    <a:pt x="679666" y="126607"/>
                  </a:lnTo>
                  <a:lnTo>
                    <a:pt x="689141" y="126607"/>
                  </a:lnTo>
                  <a:lnTo>
                    <a:pt x="694143" y="126607"/>
                  </a:lnTo>
                  <a:lnTo>
                    <a:pt x="699146" y="107051"/>
                  </a:lnTo>
                  <a:lnTo>
                    <a:pt x="713699" y="107051"/>
                  </a:lnTo>
                  <a:lnTo>
                    <a:pt x="713699" y="97577"/>
                  </a:lnTo>
                  <a:lnTo>
                    <a:pt x="719156" y="92570"/>
                  </a:lnTo>
                  <a:lnTo>
                    <a:pt x="728706" y="92570"/>
                  </a:lnTo>
                  <a:lnTo>
                    <a:pt x="728706" y="83029"/>
                  </a:lnTo>
                  <a:lnTo>
                    <a:pt x="719156" y="83029"/>
                  </a:lnTo>
                  <a:lnTo>
                    <a:pt x="713699" y="73555"/>
                  </a:lnTo>
                  <a:lnTo>
                    <a:pt x="723704" y="68074"/>
                  </a:lnTo>
                  <a:lnTo>
                    <a:pt x="723704" y="58533"/>
                  </a:lnTo>
                  <a:lnTo>
                    <a:pt x="723704" y="48518"/>
                  </a:lnTo>
                  <a:lnTo>
                    <a:pt x="719156" y="48518"/>
                  </a:lnTo>
                  <a:lnTo>
                    <a:pt x="713699" y="19488"/>
                  </a:lnTo>
                  <a:lnTo>
                    <a:pt x="728706" y="15022"/>
                  </a:lnTo>
                  <a:lnTo>
                    <a:pt x="733178" y="15022"/>
                  </a:lnTo>
                  <a:lnTo>
                    <a:pt x="743183" y="9473"/>
                  </a:lnTo>
                  <a:lnTo>
                    <a:pt x="743183" y="5007"/>
                  </a:lnTo>
                  <a:close/>
                </a:path>
              </a:pathLst>
            </a:custGeom>
            <a:solidFill>
              <a:srgbClr val="E11A81">
                <a:lumMod val="20000"/>
                <a:lumOff val="80000"/>
              </a:srgbClr>
            </a:solidFill>
            <a:ln w="6350" cap="flat" cmpd="sng" algn="ctr">
              <a:solidFill>
                <a:sysClr val="window" lastClr="FFFFFF"/>
              </a:solidFill>
              <a:prstDash val="solid"/>
              <a:miter lim="800000"/>
            </a:ln>
            <a:effectLst/>
          </p:spPr>
          <p:txBody>
            <a:bodyPr rot="0" spcFirstLastPara="0" vert="horz" wrap="square" lIns="58652" tIns="29326" rIns="58652" bIns="2932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586496">
                <a:defRPr/>
              </a:pPr>
              <a:endParaRPr lang="fr-FR" sz="1400">
                <a:solidFill>
                  <a:srgbClr val="FFFFFF"/>
                </a:solidFill>
                <a:latin typeface="Helvetica Neue"/>
              </a:endParaRPr>
            </a:p>
          </p:txBody>
        </p:sp>
        <p:sp>
          <p:nvSpPr>
            <p:cNvPr id="55" name="Forme libre 15">
              <a:extLst>
                <a:ext uri="{FF2B5EF4-FFF2-40B4-BE49-F238E27FC236}">
                  <a16:creationId xmlns:a16="http://schemas.microsoft.com/office/drawing/2014/main" id="{B1ABC0AB-79D3-46FC-B8C7-0301921656F0}"/>
                </a:ext>
              </a:extLst>
            </p:cNvPr>
            <p:cNvSpPr/>
            <p:nvPr/>
          </p:nvSpPr>
          <p:spPr>
            <a:xfrm>
              <a:off x="3530528" y="4226295"/>
              <a:ext cx="274019" cy="196983"/>
            </a:xfrm>
            <a:custGeom>
              <a:avLst/>
              <a:gdLst>
                <a:gd name="connsiteX0" fmla="*/ 337078 w 1973984"/>
                <a:gd name="connsiteY0" fmla="*/ 0 h 1440373"/>
                <a:gd name="connsiteX1" fmla="*/ 361588 w 1973984"/>
                <a:gd name="connsiteY1" fmla="*/ 5013 h 1440373"/>
                <a:gd name="connsiteX2" fmla="*/ 366584 w 1973984"/>
                <a:gd name="connsiteY2" fmla="*/ 19515 h 1440373"/>
                <a:gd name="connsiteX3" fmla="*/ 385585 w 1973984"/>
                <a:gd name="connsiteY3" fmla="*/ 39030 h 1440373"/>
                <a:gd name="connsiteX4" fmla="*/ 391094 w 1973984"/>
                <a:gd name="connsiteY4" fmla="*/ 39030 h 1440373"/>
                <a:gd name="connsiteX5" fmla="*/ 400618 w 1973984"/>
                <a:gd name="connsiteY5" fmla="*/ 39030 h 1440373"/>
                <a:gd name="connsiteX6" fmla="*/ 406081 w 1973984"/>
                <a:gd name="connsiteY6" fmla="*/ 48518 h 1440373"/>
                <a:gd name="connsiteX7" fmla="*/ 406081 w 1973984"/>
                <a:gd name="connsiteY7" fmla="*/ 54068 h 1440373"/>
                <a:gd name="connsiteX8" fmla="*/ 420087 w 1973984"/>
                <a:gd name="connsiteY8" fmla="*/ 63557 h 1440373"/>
                <a:gd name="connsiteX9" fmla="*/ 430124 w 1973984"/>
                <a:gd name="connsiteY9" fmla="*/ 68033 h 1440373"/>
                <a:gd name="connsiteX10" fmla="*/ 430124 w 1973984"/>
                <a:gd name="connsiteY10" fmla="*/ 63557 h 1440373"/>
                <a:gd name="connsiteX11" fmla="*/ 439602 w 1973984"/>
                <a:gd name="connsiteY11" fmla="*/ 58544 h 1440373"/>
                <a:gd name="connsiteX12" fmla="*/ 449126 w 1973984"/>
                <a:gd name="connsiteY12" fmla="*/ 54068 h 1440373"/>
                <a:gd name="connsiteX13" fmla="*/ 454635 w 1973984"/>
                <a:gd name="connsiteY13" fmla="*/ 44042 h 1440373"/>
                <a:gd name="connsiteX14" fmla="*/ 454635 w 1973984"/>
                <a:gd name="connsiteY14" fmla="*/ 48518 h 1440373"/>
                <a:gd name="connsiteX15" fmla="*/ 459117 w 1973984"/>
                <a:gd name="connsiteY15" fmla="*/ 48518 h 1440373"/>
                <a:gd name="connsiteX16" fmla="*/ 464112 w 1973984"/>
                <a:gd name="connsiteY16" fmla="*/ 48518 h 1440373"/>
                <a:gd name="connsiteX17" fmla="*/ 468594 w 1973984"/>
                <a:gd name="connsiteY17" fmla="*/ 63557 h 1440373"/>
                <a:gd name="connsiteX18" fmla="*/ 483627 w 1973984"/>
                <a:gd name="connsiteY18" fmla="*/ 63557 h 1440373"/>
                <a:gd name="connsiteX19" fmla="*/ 498614 w 1973984"/>
                <a:gd name="connsiteY19" fmla="*/ 44042 h 1440373"/>
                <a:gd name="connsiteX20" fmla="*/ 513133 w 1973984"/>
                <a:gd name="connsiteY20" fmla="*/ 48518 h 1440373"/>
                <a:gd name="connsiteX21" fmla="*/ 513133 w 1973984"/>
                <a:gd name="connsiteY21" fmla="*/ 58544 h 1440373"/>
                <a:gd name="connsiteX22" fmla="*/ 522611 w 1973984"/>
                <a:gd name="connsiteY22" fmla="*/ 58544 h 1440373"/>
                <a:gd name="connsiteX23" fmla="*/ 518129 w 1973984"/>
                <a:gd name="connsiteY23" fmla="*/ 78059 h 1440373"/>
                <a:gd name="connsiteX24" fmla="*/ 527653 w 1973984"/>
                <a:gd name="connsiteY24" fmla="*/ 83072 h 1440373"/>
                <a:gd name="connsiteX25" fmla="*/ 537644 w 1973984"/>
                <a:gd name="connsiteY25" fmla="*/ 78059 h 1440373"/>
                <a:gd name="connsiteX26" fmla="*/ 542126 w 1973984"/>
                <a:gd name="connsiteY26" fmla="*/ 73583 h 1440373"/>
                <a:gd name="connsiteX27" fmla="*/ 552630 w 1973984"/>
                <a:gd name="connsiteY27" fmla="*/ 58544 h 1440373"/>
                <a:gd name="connsiteX28" fmla="*/ 557159 w 1973984"/>
                <a:gd name="connsiteY28" fmla="*/ 63557 h 1440373"/>
                <a:gd name="connsiteX29" fmla="*/ 562154 w 1973984"/>
                <a:gd name="connsiteY29" fmla="*/ 63557 h 1440373"/>
                <a:gd name="connsiteX30" fmla="*/ 557159 w 1973984"/>
                <a:gd name="connsiteY30" fmla="*/ 44042 h 1440373"/>
                <a:gd name="connsiteX31" fmla="*/ 572145 w 1973984"/>
                <a:gd name="connsiteY31" fmla="*/ 44042 h 1440373"/>
                <a:gd name="connsiteX32" fmla="*/ 576627 w 1973984"/>
                <a:gd name="connsiteY32" fmla="*/ 39030 h 1440373"/>
                <a:gd name="connsiteX33" fmla="*/ 572145 w 1973984"/>
                <a:gd name="connsiteY33" fmla="*/ 24528 h 1440373"/>
                <a:gd name="connsiteX34" fmla="*/ 572145 w 1973984"/>
                <a:gd name="connsiteY34" fmla="*/ 19515 h 1440373"/>
                <a:gd name="connsiteX35" fmla="*/ 581623 w 1973984"/>
                <a:gd name="connsiteY35" fmla="*/ 24528 h 1440373"/>
                <a:gd name="connsiteX36" fmla="*/ 586151 w 1973984"/>
                <a:gd name="connsiteY36" fmla="*/ 24528 h 1440373"/>
                <a:gd name="connsiteX37" fmla="*/ 591147 w 1973984"/>
                <a:gd name="connsiteY37" fmla="*/ 24528 h 1440373"/>
                <a:gd name="connsiteX38" fmla="*/ 586151 w 1973984"/>
                <a:gd name="connsiteY38" fmla="*/ 29004 h 1440373"/>
                <a:gd name="connsiteX39" fmla="*/ 591147 w 1973984"/>
                <a:gd name="connsiteY39" fmla="*/ 34554 h 1440373"/>
                <a:gd name="connsiteX40" fmla="*/ 591147 w 1973984"/>
                <a:gd name="connsiteY40" fmla="*/ 48518 h 1440373"/>
                <a:gd name="connsiteX41" fmla="*/ 596142 w 1973984"/>
                <a:gd name="connsiteY41" fmla="*/ 48518 h 1440373"/>
                <a:gd name="connsiteX42" fmla="*/ 601138 w 1973984"/>
                <a:gd name="connsiteY42" fmla="*/ 58544 h 1440373"/>
                <a:gd name="connsiteX43" fmla="*/ 605666 w 1973984"/>
                <a:gd name="connsiteY43" fmla="*/ 63557 h 1440373"/>
                <a:gd name="connsiteX44" fmla="*/ 605666 w 1973984"/>
                <a:gd name="connsiteY44" fmla="*/ 68033 h 1440373"/>
                <a:gd name="connsiteX45" fmla="*/ 615144 w 1973984"/>
                <a:gd name="connsiteY45" fmla="*/ 73583 h 1440373"/>
                <a:gd name="connsiteX46" fmla="*/ 615144 w 1973984"/>
                <a:gd name="connsiteY46" fmla="*/ 78059 h 1440373"/>
                <a:gd name="connsiteX47" fmla="*/ 620653 w 1973984"/>
                <a:gd name="connsiteY47" fmla="*/ 83072 h 1440373"/>
                <a:gd name="connsiteX48" fmla="*/ 620653 w 1973984"/>
                <a:gd name="connsiteY48" fmla="*/ 87608 h 1440373"/>
                <a:gd name="connsiteX49" fmla="*/ 620653 w 1973984"/>
                <a:gd name="connsiteY49" fmla="*/ 92561 h 1440373"/>
                <a:gd name="connsiteX50" fmla="*/ 625649 w 1973984"/>
                <a:gd name="connsiteY50" fmla="*/ 92561 h 1440373"/>
                <a:gd name="connsiteX51" fmla="*/ 620653 w 1973984"/>
                <a:gd name="connsiteY51" fmla="*/ 102587 h 1440373"/>
                <a:gd name="connsiteX52" fmla="*/ 625649 w 1973984"/>
                <a:gd name="connsiteY52" fmla="*/ 107123 h 1440373"/>
                <a:gd name="connsiteX53" fmla="*/ 630177 w 1973984"/>
                <a:gd name="connsiteY53" fmla="*/ 107123 h 1440373"/>
                <a:gd name="connsiteX54" fmla="*/ 630177 w 1973984"/>
                <a:gd name="connsiteY54" fmla="*/ 116611 h 1440373"/>
                <a:gd name="connsiteX55" fmla="*/ 630177 w 1973984"/>
                <a:gd name="connsiteY55" fmla="*/ 122102 h 1440373"/>
                <a:gd name="connsiteX56" fmla="*/ 630177 w 1973984"/>
                <a:gd name="connsiteY56" fmla="*/ 131591 h 1440373"/>
                <a:gd name="connsiteX57" fmla="*/ 630177 w 1973984"/>
                <a:gd name="connsiteY57" fmla="*/ 136126 h 1440373"/>
                <a:gd name="connsiteX58" fmla="*/ 645164 w 1973984"/>
                <a:gd name="connsiteY58" fmla="*/ 141617 h 1440373"/>
                <a:gd name="connsiteX59" fmla="*/ 649646 w 1973984"/>
                <a:gd name="connsiteY59" fmla="*/ 146152 h 1440373"/>
                <a:gd name="connsiteX60" fmla="*/ 654641 w 1973984"/>
                <a:gd name="connsiteY60" fmla="*/ 151106 h 1440373"/>
                <a:gd name="connsiteX61" fmla="*/ 659683 w 1973984"/>
                <a:gd name="connsiteY61" fmla="*/ 151106 h 1440373"/>
                <a:gd name="connsiteX62" fmla="*/ 669161 w 1973984"/>
                <a:gd name="connsiteY62" fmla="*/ 146152 h 1440373"/>
                <a:gd name="connsiteX63" fmla="*/ 674156 w 1973984"/>
                <a:gd name="connsiteY63" fmla="*/ 151106 h 1440373"/>
                <a:gd name="connsiteX64" fmla="*/ 678685 w 1973984"/>
                <a:gd name="connsiteY64" fmla="*/ 155641 h 1440373"/>
                <a:gd name="connsiteX65" fmla="*/ 678685 w 1973984"/>
                <a:gd name="connsiteY65" fmla="*/ 165667 h 1440373"/>
                <a:gd name="connsiteX66" fmla="*/ 693671 w 1973984"/>
                <a:gd name="connsiteY66" fmla="*/ 170680 h 1440373"/>
                <a:gd name="connsiteX67" fmla="*/ 699180 w 1973984"/>
                <a:gd name="connsiteY67" fmla="*/ 161132 h 1440373"/>
                <a:gd name="connsiteX68" fmla="*/ 718695 w 1973984"/>
                <a:gd name="connsiteY68" fmla="*/ 165667 h 1440373"/>
                <a:gd name="connsiteX69" fmla="*/ 713186 w 1973984"/>
                <a:gd name="connsiteY69" fmla="*/ 170680 h 1440373"/>
                <a:gd name="connsiteX70" fmla="*/ 718695 w 1973984"/>
                <a:gd name="connsiteY70" fmla="*/ 170680 h 1440373"/>
                <a:gd name="connsiteX71" fmla="*/ 728173 w 1973984"/>
                <a:gd name="connsiteY71" fmla="*/ 175156 h 1440373"/>
                <a:gd name="connsiteX72" fmla="*/ 728173 w 1973984"/>
                <a:gd name="connsiteY72" fmla="*/ 185182 h 1440373"/>
                <a:gd name="connsiteX73" fmla="*/ 732701 w 1973984"/>
                <a:gd name="connsiteY73" fmla="*/ 190195 h 1440373"/>
                <a:gd name="connsiteX74" fmla="*/ 728173 w 1973984"/>
                <a:gd name="connsiteY74" fmla="*/ 194671 h 1440373"/>
                <a:gd name="connsiteX75" fmla="*/ 728173 w 1973984"/>
                <a:gd name="connsiteY75" fmla="*/ 199684 h 1440373"/>
                <a:gd name="connsiteX76" fmla="*/ 728173 w 1973984"/>
                <a:gd name="connsiteY76" fmla="*/ 204697 h 1440373"/>
                <a:gd name="connsiteX77" fmla="*/ 723177 w 1973984"/>
                <a:gd name="connsiteY77" fmla="*/ 214186 h 1440373"/>
                <a:gd name="connsiteX78" fmla="*/ 728173 w 1973984"/>
                <a:gd name="connsiteY78" fmla="*/ 223675 h 1440373"/>
                <a:gd name="connsiteX79" fmla="*/ 728173 w 1973984"/>
                <a:gd name="connsiteY79" fmla="*/ 229225 h 1440373"/>
                <a:gd name="connsiteX80" fmla="*/ 732701 w 1973984"/>
                <a:gd name="connsiteY80" fmla="*/ 229225 h 1440373"/>
                <a:gd name="connsiteX81" fmla="*/ 728173 w 1973984"/>
                <a:gd name="connsiteY81" fmla="*/ 243189 h 1440373"/>
                <a:gd name="connsiteX82" fmla="*/ 728173 w 1973984"/>
                <a:gd name="connsiteY82" fmla="*/ 253215 h 1440373"/>
                <a:gd name="connsiteX83" fmla="*/ 732701 w 1973984"/>
                <a:gd name="connsiteY83" fmla="*/ 253215 h 1440373"/>
                <a:gd name="connsiteX84" fmla="*/ 732701 w 1973984"/>
                <a:gd name="connsiteY84" fmla="*/ 258228 h 1440373"/>
                <a:gd name="connsiteX85" fmla="*/ 728173 w 1973984"/>
                <a:gd name="connsiteY85" fmla="*/ 258228 h 1440373"/>
                <a:gd name="connsiteX86" fmla="*/ 713186 w 1973984"/>
                <a:gd name="connsiteY86" fmla="*/ 258228 h 1440373"/>
                <a:gd name="connsiteX87" fmla="*/ 718695 w 1973984"/>
                <a:gd name="connsiteY87" fmla="*/ 268254 h 1440373"/>
                <a:gd name="connsiteX88" fmla="*/ 713186 w 1973984"/>
                <a:gd name="connsiteY88" fmla="*/ 268254 h 1440373"/>
                <a:gd name="connsiteX89" fmla="*/ 693671 w 1973984"/>
                <a:gd name="connsiteY89" fmla="*/ 277743 h 1440373"/>
                <a:gd name="connsiteX90" fmla="*/ 699180 w 1973984"/>
                <a:gd name="connsiteY90" fmla="*/ 282756 h 1440373"/>
                <a:gd name="connsiteX91" fmla="*/ 698286 w 1973984"/>
                <a:gd name="connsiteY91" fmla="*/ 282756 h 1440373"/>
                <a:gd name="connsiteX92" fmla="*/ 698286 w 1973984"/>
                <a:gd name="connsiteY92" fmla="*/ 292671 h 1440373"/>
                <a:gd name="connsiteX93" fmla="*/ 698286 w 1973984"/>
                <a:gd name="connsiteY93" fmla="*/ 302196 h 1440373"/>
                <a:gd name="connsiteX94" fmla="*/ 698286 w 1973984"/>
                <a:gd name="connsiteY94" fmla="*/ 306697 h 1440373"/>
                <a:gd name="connsiteX95" fmla="*/ 693273 w 1973984"/>
                <a:gd name="connsiteY95" fmla="*/ 316221 h 1440373"/>
                <a:gd name="connsiteX96" fmla="*/ 702756 w 1973984"/>
                <a:gd name="connsiteY96" fmla="*/ 321701 h 1440373"/>
                <a:gd name="connsiteX97" fmla="*/ 707769 w 1973984"/>
                <a:gd name="connsiteY97" fmla="*/ 321701 h 1440373"/>
                <a:gd name="connsiteX98" fmla="*/ 722265 w 1973984"/>
                <a:gd name="connsiteY98" fmla="*/ 321701 h 1440373"/>
                <a:gd name="connsiteX99" fmla="*/ 727277 w 1973984"/>
                <a:gd name="connsiteY99" fmla="*/ 321701 h 1440373"/>
                <a:gd name="connsiteX100" fmla="*/ 727277 w 1973984"/>
                <a:gd name="connsiteY100" fmla="*/ 341207 h 1440373"/>
                <a:gd name="connsiteX101" fmla="*/ 746786 w 1973984"/>
                <a:gd name="connsiteY101" fmla="*/ 341207 h 1440373"/>
                <a:gd name="connsiteX102" fmla="*/ 756811 w 1973984"/>
                <a:gd name="connsiteY102" fmla="*/ 335727 h 1440373"/>
                <a:gd name="connsiteX103" fmla="*/ 756811 w 1973984"/>
                <a:gd name="connsiteY103" fmla="*/ 331226 h 1440373"/>
                <a:gd name="connsiteX104" fmla="*/ 766294 w 1973984"/>
                <a:gd name="connsiteY104" fmla="*/ 331226 h 1440373"/>
                <a:gd name="connsiteX105" fmla="*/ 776319 w 1973984"/>
                <a:gd name="connsiteY105" fmla="*/ 326202 h 1440373"/>
                <a:gd name="connsiteX106" fmla="*/ 785802 w 1973984"/>
                <a:gd name="connsiteY106" fmla="*/ 335727 h 1440373"/>
                <a:gd name="connsiteX107" fmla="*/ 790815 w 1973984"/>
                <a:gd name="connsiteY107" fmla="*/ 335727 h 1440373"/>
                <a:gd name="connsiteX108" fmla="*/ 805311 w 1973984"/>
                <a:gd name="connsiteY108" fmla="*/ 335727 h 1440373"/>
                <a:gd name="connsiteX109" fmla="*/ 805311 w 1973984"/>
                <a:gd name="connsiteY109" fmla="*/ 331226 h 1440373"/>
                <a:gd name="connsiteX110" fmla="*/ 805311 w 1973984"/>
                <a:gd name="connsiteY110" fmla="*/ 326202 h 1440373"/>
                <a:gd name="connsiteX111" fmla="*/ 814794 w 1973984"/>
                <a:gd name="connsiteY111" fmla="*/ 326202 h 1440373"/>
                <a:gd name="connsiteX112" fmla="*/ 820348 w 1973984"/>
                <a:gd name="connsiteY112" fmla="*/ 331226 h 1440373"/>
                <a:gd name="connsiteX113" fmla="*/ 820348 w 1973984"/>
                <a:gd name="connsiteY113" fmla="*/ 335727 h 1440373"/>
                <a:gd name="connsiteX114" fmla="*/ 824819 w 1973984"/>
                <a:gd name="connsiteY114" fmla="*/ 331226 h 1440373"/>
                <a:gd name="connsiteX115" fmla="*/ 829832 w 1973984"/>
                <a:gd name="connsiteY115" fmla="*/ 326202 h 1440373"/>
                <a:gd name="connsiteX116" fmla="*/ 834302 w 1973984"/>
                <a:gd name="connsiteY116" fmla="*/ 331226 h 1440373"/>
                <a:gd name="connsiteX117" fmla="*/ 829832 w 1973984"/>
                <a:gd name="connsiteY117" fmla="*/ 341207 h 1440373"/>
                <a:gd name="connsiteX118" fmla="*/ 829832 w 1973984"/>
                <a:gd name="connsiteY118" fmla="*/ 345708 h 1440373"/>
                <a:gd name="connsiteX119" fmla="*/ 844802 w 1973984"/>
                <a:gd name="connsiteY119" fmla="*/ 345708 h 1440373"/>
                <a:gd name="connsiteX120" fmla="*/ 849340 w 1973984"/>
                <a:gd name="connsiteY120" fmla="*/ 335727 h 1440373"/>
                <a:gd name="connsiteX121" fmla="*/ 854353 w 1973984"/>
                <a:gd name="connsiteY121" fmla="*/ 335727 h 1440373"/>
                <a:gd name="connsiteX122" fmla="*/ 859365 w 1973984"/>
                <a:gd name="connsiteY122" fmla="*/ 326202 h 1440373"/>
                <a:gd name="connsiteX123" fmla="*/ 868848 w 1973984"/>
                <a:gd name="connsiteY123" fmla="*/ 326202 h 1440373"/>
                <a:gd name="connsiteX124" fmla="*/ 873861 w 1973984"/>
                <a:gd name="connsiteY124" fmla="*/ 331226 h 1440373"/>
                <a:gd name="connsiteX125" fmla="*/ 878332 w 1973984"/>
                <a:gd name="connsiteY125" fmla="*/ 326202 h 1440373"/>
                <a:gd name="connsiteX126" fmla="*/ 873861 w 1973984"/>
                <a:gd name="connsiteY126" fmla="*/ 321701 h 1440373"/>
                <a:gd name="connsiteX127" fmla="*/ 878332 w 1973984"/>
                <a:gd name="connsiteY127" fmla="*/ 311720 h 1440373"/>
                <a:gd name="connsiteX128" fmla="*/ 878332 w 1973984"/>
                <a:gd name="connsiteY128" fmla="*/ 306697 h 1440373"/>
                <a:gd name="connsiteX129" fmla="*/ 883886 w 1973984"/>
                <a:gd name="connsiteY129" fmla="*/ 306697 h 1440373"/>
                <a:gd name="connsiteX130" fmla="*/ 883886 w 1973984"/>
                <a:gd name="connsiteY130" fmla="*/ 292671 h 1440373"/>
                <a:gd name="connsiteX131" fmla="*/ 883886 w 1973984"/>
                <a:gd name="connsiteY131" fmla="*/ 282690 h 1440373"/>
                <a:gd name="connsiteX132" fmla="*/ 883886 w 1973984"/>
                <a:gd name="connsiteY132" fmla="*/ 277667 h 1440373"/>
                <a:gd name="connsiteX133" fmla="*/ 888357 w 1973984"/>
                <a:gd name="connsiteY133" fmla="*/ 267686 h 1440373"/>
                <a:gd name="connsiteX134" fmla="*/ 897840 w 1973984"/>
                <a:gd name="connsiteY134" fmla="*/ 262662 h 1440373"/>
                <a:gd name="connsiteX135" fmla="*/ 903394 w 1973984"/>
                <a:gd name="connsiteY135" fmla="*/ 267686 h 1440373"/>
                <a:gd name="connsiteX136" fmla="*/ 907865 w 1973984"/>
                <a:gd name="connsiteY136" fmla="*/ 267686 h 1440373"/>
                <a:gd name="connsiteX137" fmla="*/ 922903 w 1973984"/>
                <a:gd name="connsiteY137" fmla="*/ 273165 h 1440373"/>
                <a:gd name="connsiteX138" fmla="*/ 927848 w 1973984"/>
                <a:gd name="connsiteY138" fmla="*/ 282690 h 1440373"/>
                <a:gd name="connsiteX139" fmla="*/ 942411 w 1973984"/>
                <a:gd name="connsiteY139" fmla="*/ 277667 h 1440373"/>
                <a:gd name="connsiteX140" fmla="*/ 947424 w 1973984"/>
                <a:gd name="connsiteY140" fmla="*/ 267686 h 1440373"/>
                <a:gd name="connsiteX141" fmla="*/ 951894 w 1973984"/>
                <a:gd name="connsiteY141" fmla="*/ 267686 h 1440373"/>
                <a:gd name="connsiteX142" fmla="*/ 951894 w 1973984"/>
                <a:gd name="connsiteY142" fmla="*/ 277667 h 1440373"/>
                <a:gd name="connsiteX143" fmla="*/ 956907 w 1973984"/>
                <a:gd name="connsiteY143" fmla="*/ 282690 h 1440373"/>
                <a:gd name="connsiteX144" fmla="*/ 971403 w 1973984"/>
                <a:gd name="connsiteY144" fmla="*/ 282690 h 1440373"/>
                <a:gd name="connsiteX145" fmla="*/ 971403 w 1973984"/>
                <a:gd name="connsiteY145" fmla="*/ 273165 h 1440373"/>
                <a:gd name="connsiteX146" fmla="*/ 976415 w 1973984"/>
                <a:gd name="connsiteY146" fmla="*/ 267686 h 1440373"/>
                <a:gd name="connsiteX147" fmla="*/ 976415 w 1973984"/>
                <a:gd name="connsiteY147" fmla="*/ 262662 h 1440373"/>
                <a:gd name="connsiteX148" fmla="*/ 991385 w 1973984"/>
                <a:gd name="connsiteY148" fmla="*/ 262662 h 1440373"/>
                <a:gd name="connsiteX149" fmla="*/ 991385 w 1973984"/>
                <a:gd name="connsiteY149" fmla="*/ 258161 h 1440373"/>
                <a:gd name="connsiteX150" fmla="*/ 995924 w 1973984"/>
                <a:gd name="connsiteY150" fmla="*/ 258161 h 1440373"/>
                <a:gd name="connsiteX151" fmla="*/ 1001410 w 1973984"/>
                <a:gd name="connsiteY151" fmla="*/ 262662 h 1440373"/>
                <a:gd name="connsiteX152" fmla="*/ 1001410 w 1973984"/>
                <a:gd name="connsiteY152" fmla="*/ 273165 h 1440373"/>
                <a:gd name="connsiteX153" fmla="*/ 1005949 w 1973984"/>
                <a:gd name="connsiteY153" fmla="*/ 277667 h 1440373"/>
                <a:gd name="connsiteX154" fmla="*/ 1001410 w 1973984"/>
                <a:gd name="connsiteY154" fmla="*/ 277667 h 1440373"/>
                <a:gd name="connsiteX155" fmla="*/ 995924 w 1973984"/>
                <a:gd name="connsiteY155" fmla="*/ 282690 h 1440373"/>
                <a:gd name="connsiteX156" fmla="*/ 995924 w 1973984"/>
                <a:gd name="connsiteY156" fmla="*/ 292671 h 1440373"/>
                <a:gd name="connsiteX157" fmla="*/ 1005949 w 1973984"/>
                <a:gd name="connsiteY157" fmla="*/ 287191 h 1440373"/>
                <a:gd name="connsiteX158" fmla="*/ 1015432 w 1973984"/>
                <a:gd name="connsiteY158" fmla="*/ 297172 h 1440373"/>
                <a:gd name="connsiteX159" fmla="*/ 1015432 w 1973984"/>
                <a:gd name="connsiteY159" fmla="*/ 302196 h 1440373"/>
                <a:gd name="connsiteX160" fmla="*/ 1010894 w 1973984"/>
                <a:gd name="connsiteY160" fmla="*/ 302196 h 1440373"/>
                <a:gd name="connsiteX161" fmla="*/ 1015432 w 1973984"/>
                <a:gd name="connsiteY161" fmla="*/ 311720 h 1440373"/>
                <a:gd name="connsiteX162" fmla="*/ 1010894 w 1973984"/>
                <a:gd name="connsiteY162" fmla="*/ 316221 h 1440373"/>
                <a:gd name="connsiteX163" fmla="*/ 1010894 w 1973984"/>
                <a:gd name="connsiteY163" fmla="*/ 326202 h 1440373"/>
                <a:gd name="connsiteX164" fmla="*/ 1025457 w 1973984"/>
                <a:gd name="connsiteY164" fmla="*/ 331226 h 1440373"/>
                <a:gd name="connsiteX165" fmla="*/ 1030470 w 1973984"/>
                <a:gd name="connsiteY165" fmla="*/ 331226 h 1440373"/>
                <a:gd name="connsiteX166" fmla="*/ 1030470 w 1973984"/>
                <a:gd name="connsiteY166" fmla="*/ 326202 h 1440373"/>
                <a:gd name="connsiteX167" fmla="*/ 1039953 w 1973984"/>
                <a:gd name="connsiteY167" fmla="*/ 311720 h 1440373"/>
                <a:gd name="connsiteX168" fmla="*/ 1039953 w 1973984"/>
                <a:gd name="connsiteY168" fmla="*/ 306697 h 1440373"/>
                <a:gd name="connsiteX169" fmla="*/ 1039953 w 1973984"/>
                <a:gd name="connsiteY169" fmla="*/ 302196 h 1440373"/>
                <a:gd name="connsiteX170" fmla="*/ 1044424 w 1973984"/>
                <a:gd name="connsiteY170" fmla="*/ 287191 h 1440373"/>
                <a:gd name="connsiteX171" fmla="*/ 1044424 w 1973984"/>
                <a:gd name="connsiteY171" fmla="*/ 282690 h 1440373"/>
                <a:gd name="connsiteX172" fmla="*/ 1049978 w 1973984"/>
                <a:gd name="connsiteY172" fmla="*/ 273165 h 1440373"/>
                <a:gd name="connsiteX173" fmla="*/ 1049978 w 1973984"/>
                <a:gd name="connsiteY173" fmla="*/ 262662 h 1440373"/>
                <a:gd name="connsiteX174" fmla="*/ 1054923 w 1973984"/>
                <a:gd name="connsiteY174" fmla="*/ 252681 h 1440373"/>
                <a:gd name="connsiteX175" fmla="*/ 1054923 w 1973984"/>
                <a:gd name="connsiteY175" fmla="*/ 248180 h 1440373"/>
                <a:gd name="connsiteX176" fmla="*/ 1059461 w 1973984"/>
                <a:gd name="connsiteY176" fmla="*/ 248180 h 1440373"/>
                <a:gd name="connsiteX177" fmla="*/ 1059461 w 1973984"/>
                <a:gd name="connsiteY177" fmla="*/ 238655 h 1440373"/>
                <a:gd name="connsiteX178" fmla="*/ 1054923 w 1973984"/>
                <a:gd name="connsiteY178" fmla="*/ 233697 h 1440373"/>
                <a:gd name="connsiteX179" fmla="*/ 1059461 w 1973984"/>
                <a:gd name="connsiteY179" fmla="*/ 223716 h 1440373"/>
                <a:gd name="connsiteX180" fmla="*/ 1064948 w 1973984"/>
                <a:gd name="connsiteY180" fmla="*/ 219215 h 1440373"/>
                <a:gd name="connsiteX181" fmla="*/ 1064948 w 1973984"/>
                <a:gd name="connsiteY181" fmla="*/ 214192 h 1440373"/>
                <a:gd name="connsiteX182" fmla="*/ 1069487 w 1973984"/>
                <a:gd name="connsiteY182" fmla="*/ 204211 h 1440373"/>
                <a:gd name="connsiteX183" fmla="*/ 1069487 w 1973984"/>
                <a:gd name="connsiteY183" fmla="*/ 194686 h 1440373"/>
                <a:gd name="connsiteX184" fmla="*/ 1069487 w 1973984"/>
                <a:gd name="connsiteY184" fmla="*/ 190185 h 1440373"/>
                <a:gd name="connsiteX185" fmla="*/ 1069487 w 1973984"/>
                <a:gd name="connsiteY185" fmla="*/ 180204 h 1440373"/>
                <a:gd name="connsiteX186" fmla="*/ 1074431 w 1973984"/>
                <a:gd name="connsiteY186" fmla="*/ 180204 h 1440373"/>
                <a:gd name="connsiteX187" fmla="*/ 1078970 w 1973984"/>
                <a:gd name="connsiteY187" fmla="*/ 170679 h 1440373"/>
                <a:gd name="connsiteX188" fmla="*/ 1078970 w 1973984"/>
                <a:gd name="connsiteY188" fmla="*/ 160698 h 1440373"/>
                <a:gd name="connsiteX189" fmla="*/ 1078970 w 1973984"/>
                <a:gd name="connsiteY189" fmla="*/ 155675 h 1440373"/>
                <a:gd name="connsiteX190" fmla="*/ 1084457 w 1973984"/>
                <a:gd name="connsiteY190" fmla="*/ 151173 h 1440373"/>
                <a:gd name="connsiteX191" fmla="*/ 1084457 w 1973984"/>
                <a:gd name="connsiteY191" fmla="*/ 145694 h 1440373"/>
                <a:gd name="connsiteX192" fmla="*/ 1084457 w 1973984"/>
                <a:gd name="connsiteY192" fmla="*/ 141192 h 1440373"/>
                <a:gd name="connsiteX193" fmla="*/ 1088995 w 1973984"/>
                <a:gd name="connsiteY193" fmla="*/ 141192 h 1440373"/>
                <a:gd name="connsiteX194" fmla="*/ 1088995 w 1973984"/>
                <a:gd name="connsiteY194" fmla="*/ 145694 h 1440373"/>
                <a:gd name="connsiteX195" fmla="*/ 1093940 w 1973984"/>
                <a:gd name="connsiteY195" fmla="*/ 145694 h 1440373"/>
                <a:gd name="connsiteX196" fmla="*/ 1103965 w 1973984"/>
                <a:gd name="connsiteY196" fmla="*/ 141192 h 1440373"/>
                <a:gd name="connsiteX197" fmla="*/ 1113516 w 1973984"/>
                <a:gd name="connsiteY197" fmla="*/ 145694 h 1440373"/>
                <a:gd name="connsiteX198" fmla="*/ 1117987 w 1973984"/>
                <a:gd name="connsiteY198" fmla="*/ 151173 h 1440373"/>
                <a:gd name="connsiteX199" fmla="*/ 1133024 w 1973984"/>
                <a:gd name="connsiteY199" fmla="*/ 155675 h 1440373"/>
                <a:gd name="connsiteX200" fmla="*/ 1137969 w 1973984"/>
                <a:gd name="connsiteY200" fmla="*/ 155675 h 1440373"/>
                <a:gd name="connsiteX201" fmla="*/ 1147994 w 1973984"/>
                <a:gd name="connsiteY201" fmla="*/ 151173 h 1440373"/>
                <a:gd name="connsiteX202" fmla="*/ 1152533 w 1973984"/>
                <a:gd name="connsiteY202" fmla="*/ 151173 h 1440373"/>
                <a:gd name="connsiteX203" fmla="*/ 1162016 w 1973984"/>
                <a:gd name="connsiteY203" fmla="*/ 145694 h 1440373"/>
                <a:gd name="connsiteX204" fmla="*/ 1162016 w 1973984"/>
                <a:gd name="connsiteY204" fmla="*/ 141192 h 1440373"/>
                <a:gd name="connsiteX205" fmla="*/ 1172041 w 1973984"/>
                <a:gd name="connsiteY205" fmla="*/ 141192 h 1440373"/>
                <a:gd name="connsiteX206" fmla="*/ 1172041 w 1973984"/>
                <a:gd name="connsiteY206" fmla="*/ 136169 h 1440373"/>
                <a:gd name="connsiteX207" fmla="*/ 1187011 w 1973984"/>
                <a:gd name="connsiteY207" fmla="*/ 141192 h 1440373"/>
                <a:gd name="connsiteX208" fmla="*/ 1187011 w 1973984"/>
                <a:gd name="connsiteY208" fmla="*/ 155675 h 1440373"/>
                <a:gd name="connsiteX209" fmla="*/ 1191549 w 1973984"/>
                <a:gd name="connsiteY209" fmla="*/ 165199 h 1440373"/>
                <a:gd name="connsiteX210" fmla="*/ 1196562 w 1973984"/>
                <a:gd name="connsiteY210" fmla="*/ 165199 h 1440373"/>
                <a:gd name="connsiteX211" fmla="*/ 1201507 w 1973984"/>
                <a:gd name="connsiteY211" fmla="*/ 170679 h 1440373"/>
                <a:gd name="connsiteX212" fmla="*/ 1206045 w 1973984"/>
                <a:gd name="connsiteY212" fmla="*/ 170679 h 1440373"/>
                <a:gd name="connsiteX213" fmla="*/ 1216070 w 1973984"/>
                <a:gd name="connsiteY213" fmla="*/ 175180 h 1440373"/>
                <a:gd name="connsiteX214" fmla="*/ 1225554 w 1973984"/>
                <a:gd name="connsiteY214" fmla="*/ 170679 h 1440373"/>
                <a:gd name="connsiteX215" fmla="*/ 1231040 w 1973984"/>
                <a:gd name="connsiteY215" fmla="*/ 175180 h 1440373"/>
                <a:gd name="connsiteX216" fmla="*/ 1235579 w 1973984"/>
                <a:gd name="connsiteY216" fmla="*/ 184705 h 1440373"/>
                <a:gd name="connsiteX217" fmla="*/ 1231040 w 1973984"/>
                <a:gd name="connsiteY217" fmla="*/ 184705 h 1440373"/>
                <a:gd name="connsiteX218" fmla="*/ 1231040 w 1973984"/>
                <a:gd name="connsiteY218" fmla="*/ 190185 h 1440373"/>
                <a:gd name="connsiteX219" fmla="*/ 1225554 w 1973984"/>
                <a:gd name="connsiteY219" fmla="*/ 190185 h 1440373"/>
                <a:gd name="connsiteX220" fmla="*/ 1225554 w 1973984"/>
                <a:gd name="connsiteY220" fmla="*/ 194686 h 1440373"/>
                <a:gd name="connsiteX221" fmla="*/ 1231040 w 1973984"/>
                <a:gd name="connsiteY221" fmla="*/ 194686 h 1440373"/>
                <a:gd name="connsiteX222" fmla="*/ 1245062 w 1973984"/>
                <a:gd name="connsiteY222" fmla="*/ 199709 h 1440373"/>
                <a:gd name="connsiteX223" fmla="*/ 1250549 w 1973984"/>
                <a:gd name="connsiteY223" fmla="*/ 204211 h 1440373"/>
                <a:gd name="connsiteX224" fmla="*/ 1255087 w 1973984"/>
                <a:gd name="connsiteY224" fmla="*/ 209690 h 1440373"/>
                <a:gd name="connsiteX225" fmla="*/ 1250549 w 1973984"/>
                <a:gd name="connsiteY225" fmla="*/ 214192 h 1440373"/>
                <a:gd name="connsiteX226" fmla="*/ 1255087 w 1973984"/>
                <a:gd name="connsiteY226" fmla="*/ 219215 h 1440373"/>
                <a:gd name="connsiteX227" fmla="*/ 1255087 w 1973984"/>
                <a:gd name="connsiteY227" fmla="*/ 223716 h 1440373"/>
                <a:gd name="connsiteX228" fmla="*/ 1264570 w 1973984"/>
                <a:gd name="connsiteY228" fmla="*/ 233697 h 1440373"/>
                <a:gd name="connsiteX229" fmla="*/ 1264570 w 1973984"/>
                <a:gd name="connsiteY229" fmla="*/ 243157 h 1440373"/>
                <a:gd name="connsiteX230" fmla="*/ 1264570 w 1973984"/>
                <a:gd name="connsiteY230" fmla="*/ 248180 h 1440373"/>
                <a:gd name="connsiteX231" fmla="*/ 1270057 w 1973984"/>
                <a:gd name="connsiteY231" fmla="*/ 248180 h 1440373"/>
                <a:gd name="connsiteX232" fmla="*/ 1270057 w 1973984"/>
                <a:gd name="connsiteY232" fmla="*/ 228674 h 1440373"/>
                <a:gd name="connsiteX233" fmla="*/ 1275070 w 1973984"/>
                <a:gd name="connsiteY233" fmla="*/ 228674 h 1440373"/>
                <a:gd name="connsiteX234" fmla="*/ 1279608 w 1973984"/>
                <a:gd name="connsiteY234" fmla="*/ 243157 h 1440373"/>
                <a:gd name="connsiteX235" fmla="*/ 1289091 w 1973984"/>
                <a:gd name="connsiteY235" fmla="*/ 238655 h 1440373"/>
                <a:gd name="connsiteX236" fmla="*/ 1294578 w 1973984"/>
                <a:gd name="connsiteY236" fmla="*/ 243157 h 1440373"/>
                <a:gd name="connsiteX237" fmla="*/ 1289091 w 1973984"/>
                <a:gd name="connsiteY237" fmla="*/ 258161 h 1440373"/>
                <a:gd name="connsiteX238" fmla="*/ 1289091 w 1973984"/>
                <a:gd name="connsiteY238" fmla="*/ 262662 h 1440373"/>
                <a:gd name="connsiteX239" fmla="*/ 1294578 w 1973984"/>
                <a:gd name="connsiteY239" fmla="*/ 273165 h 1440373"/>
                <a:gd name="connsiteX240" fmla="*/ 1304061 w 1973984"/>
                <a:gd name="connsiteY240" fmla="*/ 267686 h 1440373"/>
                <a:gd name="connsiteX241" fmla="*/ 1308600 w 1973984"/>
                <a:gd name="connsiteY241" fmla="*/ 273165 h 1440373"/>
                <a:gd name="connsiteX242" fmla="*/ 1318625 w 1973984"/>
                <a:gd name="connsiteY242" fmla="*/ 267686 h 1440373"/>
                <a:gd name="connsiteX243" fmla="*/ 1323570 w 1973984"/>
                <a:gd name="connsiteY243" fmla="*/ 258161 h 1440373"/>
                <a:gd name="connsiteX244" fmla="*/ 1328108 w 1973984"/>
                <a:gd name="connsiteY244" fmla="*/ 258161 h 1440373"/>
                <a:gd name="connsiteX245" fmla="*/ 1328108 w 1973984"/>
                <a:gd name="connsiteY245" fmla="*/ 252681 h 1440373"/>
                <a:gd name="connsiteX246" fmla="*/ 1338133 w 1973984"/>
                <a:gd name="connsiteY246" fmla="*/ 252681 h 1440373"/>
                <a:gd name="connsiteX247" fmla="*/ 1343078 w 1973984"/>
                <a:gd name="connsiteY247" fmla="*/ 248180 h 1440373"/>
                <a:gd name="connsiteX248" fmla="*/ 1343078 w 1973984"/>
                <a:gd name="connsiteY248" fmla="*/ 243157 h 1440373"/>
                <a:gd name="connsiteX249" fmla="*/ 1348090 w 1973984"/>
                <a:gd name="connsiteY249" fmla="*/ 233697 h 1440373"/>
                <a:gd name="connsiteX250" fmla="*/ 1353103 w 1973984"/>
                <a:gd name="connsiteY250" fmla="*/ 233697 h 1440373"/>
                <a:gd name="connsiteX251" fmla="*/ 1353103 w 1973984"/>
                <a:gd name="connsiteY251" fmla="*/ 228674 h 1440373"/>
                <a:gd name="connsiteX252" fmla="*/ 1358116 w 1973984"/>
                <a:gd name="connsiteY252" fmla="*/ 228674 h 1440373"/>
                <a:gd name="connsiteX253" fmla="*/ 1358116 w 1973984"/>
                <a:gd name="connsiteY253" fmla="*/ 233697 h 1440373"/>
                <a:gd name="connsiteX254" fmla="*/ 1358116 w 1973984"/>
                <a:gd name="connsiteY254" fmla="*/ 238655 h 1440373"/>
                <a:gd name="connsiteX255" fmla="*/ 1367599 w 1973984"/>
                <a:gd name="connsiteY255" fmla="*/ 238655 h 1440373"/>
                <a:gd name="connsiteX256" fmla="*/ 1372137 w 1973984"/>
                <a:gd name="connsiteY256" fmla="*/ 238655 h 1440373"/>
                <a:gd name="connsiteX257" fmla="*/ 1372137 w 1973984"/>
                <a:gd name="connsiteY257" fmla="*/ 243157 h 1440373"/>
                <a:gd name="connsiteX258" fmla="*/ 1387107 w 1973984"/>
                <a:gd name="connsiteY258" fmla="*/ 243157 h 1440373"/>
                <a:gd name="connsiteX259" fmla="*/ 1387107 w 1973984"/>
                <a:gd name="connsiteY259" fmla="*/ 258161 h 1440373"/>
                <a:gd name="connsiteX260" fmla="*/ 1391646 w 1973984"/>
                <a:gd name="connsiteY260" fmla="*/ 267686 h 1440373"/>
                <a:gd name="connsiteX261" fmla="*/ 1397132 w 1973984"/>
                <a:gd name="connsiteY261" fmla="*/ 267686 h 1440373"/>
                <a:gd name="connsiteX262" fmla="*/ 1406616 w 1973984"/>
                <a:gd name="connsiteY262" fmla="*/ 267686 h 1440373"/>
                <a:gd name="connsiteX263" fmla="*/ 1426124 w 1973984"/>
                <a:gd name="connsiteY263" fmla="*/ 267686 h 1440373"/>
                <a:gd name="connsiteX264" fmla="*/ 1436149 w 1973984"/>
                <a:gd name="connsiteY264" fmla="*/ 267686 h 1440373"/>
                <a:gd name="connsiteX265" fmla="*/ 1441162 w 1973984"/>
                <a:gd name="connsiteY265" fmla="*/ 262662 h 1440373"/>
                <a:gd name="connsiteX266" fmla="*/ 1445700 w 1973984"/>
                <a:gd name="connsiteY266" fmla="*/ 262662 h 1440373"/>
                <a:gd name="connsiteX267" fmla="*/ 1455183 w 1973984"/>
                <a:gd name="connsiteY267" fmla="*/ 252681 h 1440373"/>
                <a:gd name="connsiteX268" fmla="*/ 1465208 w 1973984"/>
                <a:gd name="connsiteY268" fmla="*/ 238655 h 1440373"/>
                <a:gd name="connsiteX269" fmla="*/ 1470153 w 1973984"/>
                <a:gd name="connsiteY269" fmla="*/ 238655 h 1440373"/>
                <a:gd name="connsiteX270" fmla="*/ 1484717 w 1973984"/>
                <a:gd name="connsiteY270" fmla="*/ 219215 h 1440373"/>
                <a:gd name="connsiteX271" fmla="*/ 1489662 w 1973984"/>
                <a:gd name="connsiteY271" fmla="*/ 204211 h 1440373"/>
                <a:gd name="connsiteX272" fmla="*/ 1495216 w 1973984"/>
                <a:gd name="connsiteY272" fmla="*/ 204211 h 1440373"/>
                <a:gd name="connsiteX273" fmla="*/ 1504699 w 1973984"/>
                <a:gd name="connsiteY273" fmla="*/ 190185 h 1440373"/>
                <a:gd name="connsiteX274" fmla="*/ 1509170 w 1973984"/>
                <a:gd name="connsiteY274" fmla="*/ 184705 h 1440373"/>
                <a:gd name="connsiteX275" fmla="*/ 1514183 w 1973984"/>
                <a:gd name="connsiteY275" fmla="*/ 180204 h 1440373"/>
                <a:gd name="connsiteX276" fmla="*/ 1528678 w 1973984"/>
                <a:gd name="connsiteY276" fmla="*/ 184705 h 1440373"/>
                <a:gd name="connsiteX277" fmla="*/ 1548254 w 1973984"/>
                <a:gd name="connsiteY277" fmla="*/ 199709 h 1440373"/>
                <a:gd name="connsiteX278" fmla="*/ 1553199 w 1973984"/>
                <a:gd name="connsiteY278" fmla="*/ 199709 h 1440373"/>
                <a:gd name="connsiteX279" fmla="*/ 1557738 w 1973984"/>
                <a:gd name="connsiteY279" fmla="*/ 204211 h 1440373"/>
                <a:gd name="connsiteX280" fmla="*/ 1548254 w 1973984"/>
                <a:gd name="connsiteY280" fmla="*/ 219215 h 1440373"/>
                <a:gd name="connsiteX281" fmla="*/ 1543716 w 1973984"/>
                <a:gd name="connsiteY281" fmla="*/ 223716 h 1440373"/>
                <a:gd name="connsiteX282" fmla="*/ 1538229 w 1973984"/>
                <a:gd name="connsiteY282" fmla="*/ 228674 h 1440373"/>
                <a:gd name="connsiteX283" fmla="*/ 1538229 w 1973984"/>
                <a:gd name="connsiteY283" fmla="*/ 238655 h 1440373"/>
                <a:gd name="connsiteX284" fmla="*/ 1538229 w 1973984"/>
                <a:gd name="connsiteY284" fmla="*/ 243157 h 1440373"/>
                <a:gd name="connsiteX285" fmla="*/ 1533691 w 1973984"/>
                <a:gd name="connsiteY285" fmla="*/ 248180 h 1440373"/>
                <a:gd name="connsiteX286" fmla="*/ 1538229 w 1973984"/>
                <a:gd name="connsiteY286" fmla="*/ 262662 h 1440373"/>
                <a:gd name="connsiteX287" fmla="*/ 1543716 w 1973984"/>
                <a:gd name="connsiteY287" fmla="*/ 267686 h 1440373"/>
                <a:gd name="connsiteX288" fmla="*/ 1533691 w 1973984"/>
                <a:gd name="connsiteY288" fmla="*/ 277667 h 1440373"/>
                <a:gd name="connsiteX289" fmla="*/ 1528678 w 1973984"/>
                <a:gd name="connsiteY289" fmla="*/ 273165 h 1440373"/>
                <a:gd name="connsiteX290" fmla="*/ 1519195 w 1973984"/>
                <a:gd name="connsiteY290" fmla="*/ 277667 h 1440373"/>
                <a:gd name="connsiteX291" fmla="*/ 1514183 w 1973984"/>
                <a:gd name="connsiteY291" fmla="*/ 282690 h 1440373"/>
                <a:gd name="connsiteX292" fmla="*/ 1509170 w 1973984"/>
                <a:gd name="connsiteY292" fmla="*/ 277667 h 1440373"/>
                <a:gd name="connsiteX293" fmla="*/ 1504699 w 1973984"/>
                <a:gd name="connsiteY293" fmla="*/ 277667 h 1440373"/>
                <a:gd name="connsiteX294" fmla="*/ 1495216 w 1973984"/>
                <a:gd name="connsiteY294" fmla="*/ 292671 h 1440373"/>
                <a:gd name="connsiteX295" fmla="*/ 1484717 w 1973984"/>
                <a:gd name="connsiteY295" fmla="*/ 292671 h 1440373"/>
                <a:gd name="connsiteX296" fmla="*/ 1480178 w 1973984"/>
                <a:gd name="connsiteY296" fmla="*/ 302196 h 1440373"/>
                <a:gd name="connsiteX297" fmla="*/ 1495216 w 1973984"/>
                <a:gd name="connsiteY297" fmla="*/ 306697 h 1440373"/>
                <a:gd name="connsiteX298" fmla="*/ 1495216 w 1973984"/>
                <a:gd name="connsiteY298" fmla="*/ 311720 h 1440373"/>
                <a:gd name="connsiteX299" fmla="*/ 1489662 w 1973984"/>
                <a:gd name="connsiteY299" fmla="*/ 316221 h 1440373"/>
                <a:gd name="connsiteX300" fmla="*/ 1484717 w 1973984"/>
                <a:gd name="connsiteY300" fmla="*/ 321701 h 1440373"/>
                <a:gd name="connsiteX301" fmla="*/ 1484717 w 1973984"/>
                <a:gd name="connsiteY301" fmla="*/ 331226 h 1440373"/>
                <a:gd name="connsiteX302" fmla="*/ 1480178 w 1973984"/>
                <a:gd name="connsiteY302" fmla="*/ 335727 h 1440373"/>
                <a:gd name="connsiteX303" fmla="*/ 1480178 w 1973984"/>
                <a:gd name="connsiteY303" fmla="*/ 341207 h 1440373"/>
                <a:gd name="connsiteX304" fmla="*/ 1489662 w 1973984"/>
                <a:gd name="connsiteY304" fmla="*/ 335727 h 1440373"/>
                <a:gd name="connsiteX305" fmla="*/ 1495216 w 1973984"/>
                <a:gd name="connsiteY305" fmla="*/ 331226 h 1440373"/>
                <a:gd name="connsiteX306" fmla="*/ 1514183 w 1973984"/>
                <a:gd name="connsiteY306" fmla="*/ 331226 h 1440373"/>
                <a:gd name="connsiteX307" fmla="*/ 1514183 w 1973984"/>
                <a:gd name="connsiteY307" fmla="*/ 326202 h 1440373"/>
                <a:gd name="connsiteX308" fmla="*/ 1533691 w 1973984"/>
                <a:gd name="connsiteY308" fmla="*/ 321701 h 1440373"/>
                <a:gd name="connsiteX309" fmla="*/ 1533691 w 1973984"/>
                <a:gd name="connsiteY309" fmla="*/ 326202 h 1440373"/>
                <a:gd name="connsiteX310" fmla="*/ 1543716 w 1973984"/>
                <a:gd name="connsiteY310" fmla="*/ 326202 h 1440373"/>
                <a:gd name="connsiteX311" fmla="*/ 1548254 w 1973984"/>
                <a:gd name="connsiteY311" fmla="*/ 326202 h 1440373"/>
                <a:gd name="connsiteX312" fmla="*/ 1553199 w 1973984"/>
                <a:gd name="connsiteY312" fmla="*/ 326202 h 1440373"/>
                <a:gd name="connsiteX313" fmla="*/ 1553199 w 1973984"/>
                <a:gd name="connsiteY313" fmla="*/ 321701 h 1440373"/>
                <a:gd name="connsiteX314" fmla="*/ 1563224 w 1973984"/>
                <a:gd name="connsiteY314" fmla="*/ 316221 h 1440373"/>
                <a:gd name="connsiteX315" fmla="*/ 1568237 w 1973984"/>
                <a:gd name="connsiteY315" fmla="*/ 311720 h 1440373"/>
                <a:gd name="connsiteX316" fmla="*/ 1568237 w 1973984"/>
                <a:gd name="connsiteY316" fmla="*/ 306697 h 1440373"/>
                <a:gd name="connsiteX317" fmla="*/ 1568237 w 1973984"/>
                <a:gd name="connsiteY317" fmla="*/ 302196 h 1440373"/>
                <a:gd name="connsiteX318" fmla="*/ 1578262 w 1973984"/>
                <a:gd name="connsiteY318" fmla="*/ 297172 h 1440373"/>
                <a:gd name="connsiteX319" fmla="*/ 1582733 w 1973984"/>
                <a:gd name="connsiteY319" fmla="*/ 292671 h 1440373"/>
                <a:gd name="connsiteX320" fmla="*/ 1602241 w 1973984"/>
                <a:gd name="connsiteY320" fmla="*/ 287191 h 1440373"/>
                <a:gd name="connsiteX321" fmla="*/ 1602241 w 1973984"/>
                <a:gd name="connsiteY321" fmla="*/ 282690 h 1440373"/>
                <a:gd name="connsiteX322" fmla="*/ 1607254 w 1973984"/>
                <a:gd name="connsiteY322" fmla="*/ 277667 h 1440373"/>
                <a:gd name="connsiteX323" fmla="*/ 1611724 w 1973984"/>
                <a:gd name="connsiteY323" fmla="*/ 273165 h 1440373"/>
                <a:gd name="connsiteX324" fmla="*/ 1611724 w 1973984"/>
                <a:gd name="connsiteY324" fmla="*/ 262662 h 1440373"/>
                <a:gd name="connsiteX325" fmla="*/ 1607254 w 1973984"/>
                <a:gd name="connsiteY325" fmla="*/ 258161 h 1440373"/>
                <a:gd name="connsiteX326" fmla="*/ 1597229 w 1973984"/>
                <a:gd name="connsiteY326" fmla="*/ 267686 h 1440373"/>
                <a:gd name="connsiteX327" fmla="*/ 1582733 w 1973984"/>
                <a:gd name="connsiteY327" fmla="*/ 252681 h 1440373"/>
                <a:gd name="connsiteX328" fmla="*/ 1587745 w 1973984"/>
                <a:gd name="connsiteY328" fmla="*/ 243157 h 1440373"/>
                <a:gd name="connsiteX329" fmla="*/ 1587745 w 1973984"/>
                <a:gd name="connsiteY329" fmla="*/ 233697 h 1440373"/>
                <a:gd name="connsiteX330" fmla="*/ 1592216 w 1973984"/>
                <a:gd name="connsiteY330" fmla="*/ 219215 h 1440373"/>
                <a:gd name="connsiteX331" fmla="*/ 1597229 w 1973984"/>
                <a:gd name="connsiteY331" fmla="*/ 209690 h 1440373"/>
                <a:gd name="connsiteX332" fmla="*/ 1602241 w 1973984"/>
                <a:gd name="connsiteY332" fmla="*/ 209690 h 1440373"/>
                <a:gd name="connsiteX333" fmla="*/ 1607254 w 1973984"/>
                <a:gd name="connsiteY333" fmla="*/ 204211 h 1440373"/>
                <a:gd name="connsiteX334" fmla="*/ 1611724 w 1973984"/>
                <a:gd name="connsiteY334" fmla="*/ 199709 h 1440373"/>
                <a:gd name="connsiteX335" fmla="*/ 1621275 w 1973984"/>
                <a:gd name="connsiteY335" fmla="*/ 199709 h 1440373"/>
                <a:gd name="connsiteX336" fmla="*/ 1626762 w 1973984"/>
                <a:gd name="connsiteY336" fmla="*/ 204211 h 1440373"/>
                <a:gd name="connsiteX337" fmla="*/ 1626762 w 1973984"/>
                <a:gd name="connsiteY337" fmla="*/ 214192 h 1440373"/>
                <a:gd name="connsiteX338" fmla="*/ 1636245 w 1973984"/>
                <a:gd name="connsiteY338" fmla="*/ 214192 h 1440373"/>
                <a:gd name="connsiteX339" fmla="*/ 1646271 w 1973984"/>
                <a:gd name="connsiteY339" fmla="*/ 209690 h 1440373"/>
                <a:gd name="connsiteX340" fmla="*/ 1651283 w 1973984"/>
                <a:gd name="connsiteY340" fmla="*/ 204211 h 1440373"/>
                <a:gd name="connsiteX341" fmla="*/ 1661308 w 1973984"/>
                <a:gd name="connsiteY341" fmla="*/ 204211 h 1440373"/>
                <a:gd name="connsiteX342" fmla="*/ 1670791 w 1973984"/>
                <a:gd name="connsiteY342" fmla="*/ 194686 h 1440373"/>
                <a:gd name="connsiteX343" fmla="*/ 1675262 w 1973984"/>
                <a:gd name="connsiteY343" fmla="*/ 184705 h 1440373"/>
                <a:gd name="connsiteX344" fmla="*/ 1685287 w 1973984"/>
                <a:gd name="connsiteY344" fmla="*/ 180204 h 1440373"/>
                <a:gd name="connsiteX345" fmla="*/ 1699783 w 1973984"/>
                <a:gd name="connsiteY345" fmla="*/ 184705 h 1440373"/>
                <a:gd name="connsiteX346" fmla="*/ 1704321 w 1973984"/>
                <a:gd name="connsiteY346" fmla="*/ 180204 h 1440373"/>
                <a:gd name="connsiteX347" fmla="*/ 1714821 w 1973984"/>
                <a:gd name="connsiteY347" fmla="*/ 175180 h 1440373"/>
                <a:gd name="connsiteX348" fmla="*/ 1719291 w 1973984"/>
                <a:gd name="connsiteY348" fmla="*/ 175180 h 1440373"/>
                <a:gd name="connsiteX349" fmla="*/ 1724846 w 1973984"/>
                <a:gd name="connsiteY349" fmla="*/ 175180 h 1440373"/>
                <a:gd name="connsiteX350" fmla="*/ 1734329 w 1973984"/>
                <a:gd name="connsiteY350" fmla="*/ 175180 h 1440373"/>
                <a:gd name="connsiteX351" fmla="*/ 1758308 w 1973984"/>
                <a:gd name="connsiteY351" fmla="*/ 175180 h 1440373"/>
                <a:gd name="connsiteX352" fmla="*/ 1768333 w 1973984"/>
                <a:gd name="connsiteY352" fmla="*/ 175180 h 1440373"/>
                <a:gd name="connsiteX353" fmla="*/ 1777817 w 1973984"/>
                <a:gd name="connsiteY353" fmla="*/ 175180 h 1440373"/>
                <a:gd name="connsiteX354" fmla="*/ 1792854 w 1973984"/>
                <a:gd name="connsiteY354" fmla="*/ 180204 h 1440373"/>
                <a:gd name="connsiteX355" fmla="*/ 1797867 w 1973984"/>
                <a:gd name="connsiteY355" fmla="*/ 184705 h 1440373"/>
                <a:gd name="connsiteX356" fmla="*/ 1792854 w 1973984"/>
                <a:gd name="connsiteY356" fmla="*/ 184705 h 1440373"/>
                <a:gd name="connsiteX357" fmla="*/ 1788384 w 1973984"/>
                <a:gd name="connsiteY357" fmla="*/ 194686 h 1440373"/>
                <a:gd name="connsiteX358" fmla="*/ 1782829 w 1973984"/>
                <a:gd name="connsiteY358" fmla="*/ 194686 h 1440373"/>
                <a:gd name="connsiteX359" fmla="*/ 1782829 w 1973984"/>
                <a:gd name="connsiteY359" fmla="*/ 199709 h 1440373"/>
                <a:gd name="connsiteX360" fmla="*/ 1788384 w 1973984"/>
                <a:gd name="connsiteY360" fmla="*/ 204211 h 1440373"/>
                <a:gd name="connsiteX361" fmla="*/ 1792854 w 1973984"/>
                <a:gd name="connsiteY361" fmla="*/ 209690 h 1440373"/>
                <a:gd name="connsiteX362" fmla="*/ 1792854 w 1973984"/>
                <a:gd name="connsiteY362" fmla="*/ 219215 h 1440373"/>
                <a:gd name="connsiteX363" fmla="*/ 1807892 w 1973984"/>
                <a:gd name="connsiteY363" fmla="*/ 223716 h 1440373"/>
                <a:gd name="connsiteX364" fmla="*/ 1812363 w 1973984"/>
                <a:gd name="connsiteY364" fmla="*/ 233697 h 1440373"/>
                <a:gd name="connsiteX365" fmla="*/ 1817375 w 1973984"/>
                <a:gd name="connsiteY365" fmla="*/ 233697 h 1440373"/>
                <a:gd name="connsiteX366" fmla="*/ 1821846 w 1973984"/>
                <a:gd name="connsiteY366" fmla="*/ 238655 h 1440373"/>
                <a:gd name="connsiteX367" fmla="*/ 1817375 w 1973984"/>
                <a:gd name="connsiteY367" fmla="*/ 252681 h 1440373"/>
                <a:gd name="connsiteX368" fmla="*/ 1812363 w 1973984"/>
                <a:gd name="connsiteY368" fmla="*/ 258161 h 1440373"/>
                <a:gd name="connsiteX369" fmla="*/ 1807892 w 1973984"/>
                <a:gd name="connsiteY369" fmla="*/ 267686 h 1440373"/>
                <a:gd name="connsiteX370" fmla="*/ 1802337 w 1973984"/>
                <a:gd name="connsiteY370" fmla="*/ 282690 h 1440373"/>
                <a:gd name="connsiteX371" fmla="*/ 1802337 w 1973984"/>
                <a:gd name="connsiteY371" fmla="*/ 292671 h 1440373"/>
                <a:gd name="connsiteX372" fmla="*/ 1797867 w 1973984"/>
                <a:gd name="connsiteY372" fmla="*/ 306697 h 1440373"/>
                <a:gd name="connsiteX373" fmla="*/ 1797867 w 1973984"/>
                <a:gd name="connsiteY373" fmla="*/ 316221 h 1440373"/>
                <a:gd name="connsiteX374" fmla="*/ 1807892 w 1973984"/>
                <a:gd name="connsiteY374" fmla="*/ 321701 h 1440373"/>
                <a:gd name="connsiteX375" fmla="*/ 1817375 w 1973984"/>
                <a:gd name="connsiteY375" fmla="*/ 321701 h 1440373"/>
                <a:gd name="connsiteX376" fmla="*/ 1821846 w 1973984"/>
                <a:gd name="connsiteY376" fmla="*/ 321701 h 1440373"/>
                <a:gd name="connsiteX377" fmla="*/ 1836884 w 1973984"/>
                <a:gd name="connsiteY377" fmla="*/ 321701 h 1440373"/>
                <a:gd name="connsiteX378" fmla="*/ 1836884 w 1973984"/>
                <a:gd name="connsiteY378" fmla="*/ 341207 h 1440373"/>
                <a:gd name="connsiteX379" fmla="*/ 1836884 w 1973984"/>
                <a:gd name="connsiteY379" fmla="*/ 345708 h 1440373"/>
                <a:gd name="connsiteX380" fmla="*/ 1831871 w 1973984"/>
                <a:gd name="connsiteY380" fmla="*/ 365214 h 1440373"/>
                <a:gd name="connsiteX381" fmla="*/ 1836884 w 1973984"/>
                <a:gd name="connsiteY381" fmla="*/ 365214 h 1440373"/>
                <a:gd name="connsiteX382" fmla="*/ 1846909 w 1973984"/>
                <a:gd name="connsiteY382" fmla="*/ 360712 h 1440373"/>
                <a:gd name="connsiteX383" fmla="*/ 1851379 w 1973984"/>
                <a:gd name="connsiteY383" fmla="*/ 355233 h 1440373"/>
                <a:gd name="connsiteX384" fmla="*/ 1856392 w 1973984"/>
                <a:gd name="connsiteY384" fmla="*/ 355233 h 1440373"/>
                <a:gd name="connsiteX385" fmla="*/ 1865875 w 1973984"/>
                <a:gd name="connsiteY385" fmla="*/ 370237 h 1440373"/>
                <a:gd name="connsiteX386" fmla="*/ 1875900 w 1973984"/>
                <a:gd name="connsiteY386" fmla="*/ 380218 h 1440373"/>
                <a:gd name="connsiteX387" fmla="*/ 1875900 w 1973984"/>
                <a:gd name="connsiteY387" fmla="*/ 384719 h 1440373"/>
                <a:gd name="connsiteX388" fmla="*/ 1885384 w 1973984"/>
                <a:gd name="connsiteY388" fmla="*/ 389743 h 1440373"/>
                <a:gd name="connsiteX389" fmla="*/ 1890938 w 1973984"/>
                <a:gd name="connsiteY389" fmla="*/ 399202 h 1440373"/>
                <a:gd name="connsiteX390" fmla="*/ 1885384 w 1973984"/>
                <a:gd name="connsiteY390" fmla="*/ 404225 h 1440373"/>
                <a:gd name="connsiteX391" fmla="*/ 1890938 w 1973984"/>
                <a:gd name="connsiteY391" fmla="*/ 409248 h 1440373"/>
                <a:gd name="connsiteX392" fmla="*/ 1895409 w 1973984"/>
                <a:gd name="connsiteY392" fmla="*/ 413750 h 1440373"/>
                <a:gd name="connsiteX393" fmla="*/ 1900421 w 1973984"/>
                <a:gd name="connsiteY393" fmla="*/ 428689 h 1440373"/>
                <a:gd name="connsiteX394" fmla="*/ 1885384 w 1973984"/>
                <a:gd name="connsiteY394" fmla="*/ 442715 h 1440373"/>
                <a:gd name="connsiteX395" fmla="*/ 1885384 w 1973984"/>
                <a:gd name="connsiteY395" fmla="*/ 457719 h 1440373"/>
                <a:gd name="connsiteX396" fmla="*/ 1865875 w 1973984"/>
                <a:gd name="connsiteY396" fmla="*/ 467700 h 1440373"/>
                <a:gd name="connsiteX397" fmla="*/ 1865875 w 1973984"/>
                <a:gd name="connsiteY397" fmla="*/ 472201 h 1440373"/>
                <a:gd name="connsiteX398" fmla="*/ 1846909 w 1973984"/>
                <a:gd name="connsiteY398" fmla="*/ 477225 h 1440373"/>
                <a:gd name="connsiteX399" fmla="*/ 1841354 w 1973984"/>
                <a:gd name="connsiteY399" fmla="*/ 472201 h 1440373"/>
                <a:gd name="connsiteX400" fmla="*/ 1836884 w 1973984"/>
                <a:gd name="connsiteY400" fmla="*/ 481726 h 1440373"/>
                <a:gd name="connsiteX401" fmla="*/ 1827400 w 1973984"/>
                <a:gd name="connsiteY401" fmla="*/ 477225 h 1440373"/>
                <a:gd name="connsiteX402" fmla="*/ 1817375 w 1973984"/>
                <a:gd name="connsiteY402" fmla="*/ 481726 h 1440373"/>
                <a:gd name="connsiteX403" fmla="*/ 1812363 w 1973984"/>
                <a:gd name="connsiteY403" fmla="*/ 491707 h 1440373"/>
                <a:gd name="connsiteX404" fmla="*/ 1817375 w 1973984"/>
                <a:gd name="connsiteY404" fmla="*/ 496730 h 1440373"/>
                <a:gd name="connsiteX405" fmla="*/ 1812363 w 1973984"/>
                <a:gd name="connsiteY405" fmla="*/ 511213 h 1440373"/>
                <a:gd name="connsiteX406" fmla="*/ 1817375 w 1973984"/>
                <a:gd name="connsiteY406" fmla="*/ 530262 h 1440373"/>
                <a:gd name="connsiteX407" fmla="*/ 1821846 w 1973984"/>
                <a:gd name="connsiteY407" fmla="*/ 530262 h 1440373"/>
                <a:gd name="connsiteX408" fmla="*/ 1817375 w 1973984"/>
                <a:gd name="connsiteY408" fmla="*/ 540243 h 1440373"/>
                <a:gd name="connsiteX409" fmla="*/ 1827400 w 1973984"/>
                <a:gd name="connsiteY409" fmla="*/ 555247 h 1440373"/>
                <a:gd name="connsiteX410" fmla="*/ 1831871 w 1973984"/>
                <a:gd name="connsiteY410" fmla="*/ 559748 h 1440373"/>
                <a:gd name="connsiteX411" fmla="*/ 1846909 w 1973984"/>
                <a:gd name="connsiteY411" fmla="*/ 564772 h 1440373"/>
                <a:gd name="connsiteX412" fmla="*/ 1851379 w 1973984"/>
                <a:gd name="connsiteY412" fmla="*/ 564772 h 1440373"/>
                <a:gd name="connsiteX413" fmla="*/ 1856392 w 1973984"/>
                <a:gd name="connsiteY413" fmla="*/ 564772 h 1440373"/>
                <a:gd name="connsiteX414" fmla="*/ 1856392 w 1973984"/>
                <a:gd name="connsiteY414" fmla="*/ 574753 h 1440373"/>
                <a:gd name="connsiteX415" fmla="*/ 1861404 w 1973984"/>
                <a:gd name="connsiteY415" fmla="*/ 579254 h 1440373"/>
                <a:gd name="connsiteX416" fmla="*/ 1871430 w 1973984"/>
                <a:gd name="connsiteY416" fmla="*/ 579254 h 1440373"/>
                <a:gd name="connsiteX417" fmla="*/ 1880913 w 1973984"/>
                <a:gd name="connsiteY417" fmla="*/ 574753 h 1440373"/>
                <a:gd name="connsiteX418" fmla="*/ 1895409 w 1973984"/>
                <a:gd name="connsiteY418" fmla="*/ 584277 h 1440373"/>
                <a:gd name="connsiteX419" fmla="*/ 1890938 w 1973984"/>
                <a:gd name="connsiteY419" fmla="*/ 593737 h 1440373"/>
                <a:gd name="connsiteX420" fmla="*/ 1890938 w 1973984"/>
                <a:gd name="connsiteY420" fmla="*/ 613242 h 1440373"/>
                <a:gd name="connsiteX421" fmla="*/ 1895409 w 1973984"/>
                <a:gd name="connsiteY421" fmla="*/ 617744 h 1440373"/>
                <a:gd name="connsiteX422" fmla="*/ 1895409 w 1973984"/>
                <a:gd name="connsiteY422" fmla="*/ 642729 h 1440373"/>
                <a:gd name="connsiteX423" fmla="*/ 1900421 w 1973984"/>
                <a:gd name="connsiteY423" fmla="*/ 647230 h 1440373"/>
                <a:gd name="connsiteX424" fmla="*/ 1900421 w 1973984"/>
                <a:gd name="connsiteY424" fmla="*/ 656755 h 1440373"/>
                <a:gd name="connsiteX425" fmla="*/ 1904892 w 1973984"/>
                <a:gd name="connsiteY425" fmla="*/ 662235 h 1440373"/>
                <a:gd name="connsiteX426" fmla="*/ 1919930 w 1973984"/>
                <a:gd name="connsiteY426" fmla="*/ 662235 h 1440373"/>
                <a:gd name="connsiteX427" fmla="*/ 1919930 w 1973984"/>
                <a:gd name="connsiteY427" fmla="*/ 666736 h 1440373"/>
                <a:gd name="connsiteX428" fmla="*/ 1919930 w 1973984"/>
                <a:gd name="connsiteY428" fmla="*/ 671759 h 1440373"/>
                <a:gd name="connsiteX429" fmla="*/ 1939438 w 1973984"/>
                <a:gd name="connsiteY429" fmla="*/ 676260 h 1440373"/>
                <a:gd name="connsiteX430" fmla="*/ 1939438 w 1973984"/>
                <a:gd name="connsiteY430" fmla="*/ 681740 h 1440373"/>
                <a:gd name="connsiteX431" fmla="*/ 1944451 w 1973984"/>
                <a:gd name="connsiteY431" fmla="*/ 691265 h 1440373"/>
                <a:gd name="connsiteX432" fmla="*/ 1963959 w 1973984"/>
                <a:gd name="connsiteY432" fmla="*/ 695766 h 1440373"/>
                <a:gd name="connsiteX433" fmla="*/ 1973984 w 1973984"/>
                <a:gd name="connsiteY433" fmla="*/ 705747 h 1440373"/>
                <a:gd name="connsiteX434" fmla="*/ 1968430 w 1973984"/>
                <a:gd name="connsiteY434" fmla="*/ 715272 h 1440373"/>
                <a:gd name="connsiteX435" fmla="*/ 1963959 w 1973984"/>
                <a:gd name="connsiteY435" fmla="*/ 730276 h 1440373"/>
                <a:gd name="connsiteX436" fmla="*/ 1954476 w 1973984"/>
                <a:gd name="connsiteY436" fmla="*/ 734777 h 1440373"/>
                <a:gd name="connsiteX437" fmla="*/ 1958946 w 1973984"/>
                <a:gd name="connsiteY437" fmla="*/ 749782 h 1440373"/>
                <a:gd name="connsiteX438" fmla="*/ 1948921 w 1973984"/>
                <a:gd name="connsiteY438" fmla="*/ 749782 h 1440373"/>
                <a:gd name="connsiteX439" fmla="*/ 1948921 w 1973984"/>
                <a:gd name="connsiteY439" fmla="*/ 759306 h 1440373"/>
                <a:gd name="connsiteX440" fmla="*/ 1958946 w 1973984"/>
                <a:gd name="connsiteY440" fmla="*/ 773789 h 1440373"/>
                <a:gd name="connsiteX441" fmla="*/ 1958946 w 1973984"/>
                <a:gd name="connsiteY441" fmla="*/ 788793 h 1440373"/>
                <a:gd name="connsiteX442" fmla="*/ 1954476 w 1973984"/>
                <a:gd name="connsiteY442" fmla="*/ 793294 h 1440373"/>
                <a:gd name="connsiteX443" fmla="*/ 1948921 w 1973984"/>
                <a:gd name="connsiteY443" fmla="*/ 793294 h 1440373"/>
                <a:gd name="connsiteX444" fmla="*/ 1934967 w 1973984"/>
                <a:gd name="connsiteY444" fmla="*/ 812278 h 1440373"/>
                <a:gd name="connsiteX445" fmla="*/ 1924400 w 1973984"/>
                <a:gd name="connsiteY445" fmla="*/ 807777 h 1440373"/>
                <a:gd name="connsiteX446" fmla="*/ 1914917 w 1973984"/>
                <a:gd name="connsiteY446" fmla="*/ 812278 h 1440373"/>
                <a:gd name="connsiteX447" fmla="*/ 1904892 w 1973984"/>
                <a:gd name="connsiteY447" fmla="*/ 812278 h 1440373"/>
                <a:gd name="connsiteX448" fmla="*/ 1890938 w 1973984"/>
                <a:gd name="connsiteY448" fmla="*/ 822259 h 1440373"/>
                <a:gd name="connsiteX449" fmla="*/ 1895409 w 1973984"/>
                <a:gd name="connsiteY449" fmla="*/ 822259 h 1440373"/>
                <a:gd name="connsiteX450" fmla="*/ 1890938 w 1973984"/>
                <a:gd name="connsiteY450" fmla="*/ 837264 h 1440373"/>
                <a:gd name="connsiteX451" fmla="*/ 1885384 w 1973984"/>
                <a:gd name="connsiteY451" fmla="*/ 837264 h 1440373"/>
                <a:gd name="connsiteX452" fmla="*/ 1865875 w 1973984"/>
                <a:gd name="connsiteY452" fmla="*/ 841765 h 1440373"/>
                <a:gd name="connsiteX453" fmla="*/ 1865875 w 1973984"/>
                <a:gd name="connsiteY453" fmla="*/ 851289 h 1440373"/>
                <a:gd name="connsiteX454" fmla="*/ 1871430 w 1973984"/>
                <a:gd name="connsiteY454" fmla="*/ 856769 h 1440373"/>
                <a:gd name="connsiteX455" fmla="*/ 1856392 w 1973984"/>
                <a:gd name="connsiteY455" fmla="*/ 861271 h 1440373"/>
                <a:gd name="connsiteX456" fmla="*/ 1831871 w 1973984"/>
                <a:gd name="connsiteY456" fmla="*/ 851289 h 1440373"/>
                <a:gd name="connsiteX457" fmla="*/ 1821846 w 1973984"/>
                <a:gd name="connsiteY457" fmla="*/ 846788 h 1440373"/>
                <a:gd name="connsiteX458" fmla="*/ 1807892 w 1973984"/>
                <a:gd name="connsiteY458" fmla="*/ 861271 h 1440373"/>
                <a:gd name="connsiteX459" fmla="*/ 1797867 w 1973984"/>
                <a:gd name="connsiteY459" fmla="*/ 861271 h 1440373"/>
                <a:gd name="connsiteX460" fmla="*/ 1782829 w 1973984"/>
                <a:gd name="connsiteY460" fmla="*/ 861271 h 1440373"/>
                <a:gd name="connsiteX461" fmla="*/ 1782829 w 1973984"/>
                <a:gd name="connsiteY461" fmla="*/ 870795 h 1440373"/>
                <a:gd name="connsiteX462" fmla="*/ 1768333 w 1973984"/>
                <a:gd name="connsiteY462" fmla="*/ 880776 h 1440373"/>
                <a:gd name="connsiteX463" fmla="*/ 1763321 w 1973984"/>
                <a:gd name="connsiteY463" fmla="*/ 876275 h 1440373"/>
                <a:gd name="connsiteX464" fmla="*/ 1744354 w 1973984"/>
                <a:gd name="connsiteY464" fmla="*/ 876275 h 1440373"/>
                <a:gd name="connsiteX465" fmla="*/ 1738800 w 1973984"/>
                <a:gd name="connsiteY465" fmla="*/ 880776 h 1440373"/>
                <a:gd name="connsiteX466" fmla="*/ 1729317 w 1973984"/>
                <a:gd name="connsiteY466" fmla="*/ 885799 h 1440373"/>
                <a:gd name="connsiteX467" fmla="*/ 1719291 w 1973984"/>
                <a:gd name="connsiteY467" fmla="*/ 885799 h 1440373"/>
                <a:gd name="connsiteX468" fmla="*/ 1709808 w 1973984"/>
                <a:gd name="connsiteY468" fmla="*/ 890301 h 1440373"/>
                <a:gd name="connsiteX469" fmla="*/ 1714821 w 1973984"/>
                <a:gd name="connsiteY469" fmla="*/ 909806 h 1440373"/>
                <a:gd name="connsiteX470" fmla="*/ 1699783 w 1973984"/>
                <a:gd name="connsiteY470" fmla="*/ 914830 h 1440373"/>
                <a:gd name="connsiteX471" fmla="*/ 1694770 w 1973984"/>
                <a:gd name="connsiteY471" fmla="*/ 909806 h 1440373"/>
                <a:gd name="connsiteX472" fmla="*/ 1690300 w 1973984"/>
                <a:gd name="connsiteY472" fmla="*/ 909806 h 1440373"/>
                <a:gd name="connsiteX473" fmla="*/ 1675262 w 1973984"/>
                <a:gd name="connsiteY473" fmla="*/ 909806 h 1440373"/>
                <a:gd name="connsiteX474" fmla="*/ 1665779 w 1973984"/>
                <a:gd name="connsiteY474" fmla="*/ 905305 h 1440373"/>
                <a:gd name="connsiteX475" fmla="*/ 1670791 w 1973984"/>
                <a:gd name="connsiteY475" fmla="*/ 900282 h 1440373"/>
                <a:gd name="connsiteX476" fmla="*/ 1665779 w 1973984"/>
                <a:gd name="connsiteY476" fmla="*/ 885799 h 1440373"/>
                <a:gd name="connsiteX477" fmla="*/ 1651283 w 1973984"/>
                <a:gd name="connsiteY477" fmla="*/ 880776 h 1440373"/>
                <a:gd name="connsiteX478" fmla="*/ 1636245 w 1973984"/>
                <a:gd name="connsiteY478" fmla="*/ 885799 h 1440373"/>
                <a:gd name="connsiteX479" fmla="*/ 1631301 w 1973984"/>
                <a:gd name="connsiteY479" fmla="*/ 885799 h 1440373"/>
                <a:gd name="connsiteX480" fmla="*/ 1621275 w 1973984"/>
                <a:gd name="connsiteY480" fmla="*/ 876275 h 1440373"/>
                <a:gd name="connsiteX481" fmla="*/ 1621275 w 1973984"/>
                <a:gd name="connsiteY481" fmla="*/ 880776 h 1440373"/>
                <a:gd name="connsiteX482" fmla="*/ 1611724 w 1973984"/>
                <a:gd name="connsiteY482" fmla="*/ 890301 h 1440373"/>
                <a:gd name="connsiteX483" fmla="*/ 1616737 w 1973984"/>
                <a:gd name="connsiteY483" fmla="*/ 905305 h 1440373"/>
                <a:gd name="connsiteX484" fmla="*/ 1611724 w 1973984"/>
                <a:gd name="connsiteY484" fmla="*/ 905305 h 1440373"/>
                <a:gd name="connsiteX485" fmla="*/ 1607254 w 1973984"/>
                <a:gd name="connsiteY485" fmla="*/ 909806 h 1440373"/>
                <a:gd name="connsiteX486" fmla="*/ 1607254 w 1973984"/>
                <a:gd name="connsiteY486" fmla="*/ 938837 h 1440373"/>
                <a:gd name="connsiteX487" fmla="*/ 1626762 w 1973984"/>
                <a:gd name="connsiteY487" fmla="*/ 948818 h 1440373"/>
                <a:gd name="connsiteX488" fmla="*/ 1651283 w 1973984"/>
                <a:gd name="connsiteY488" fmla="*/ 944316 h 1440373"/>
                <a:gd name="connsiteX489" fmla="*/ 1651283 w 1973984"/>
                <a:gd name="connsiteY489" fmla="*/ 958342 h 1440373"/>
                <a:gd name="connsiteX490" fmla="*/ 1655754 w 1973984"/>
                <a:gd name="connsiteY490" fmla="*/ 963822 h 1440373"/>
                <a:gd name="connsiteX491" fmla="*/ 1655754 w 1973984"/>
                <a:gd name="connsiteY491" fmla="*/ 973347 h 1440373"/>
                <a:gd name="connsiteX492" fmla="*/ 1665779 w 1973984"/>
                <a:gd name="connsiteY492" fmla="*/ 977783 h 1440373"/>
                <a:gd name="connsiteX493" fmla="*/ 1670791 w 1973984"/>
                <a:gd name="connsiteY493" fmla="*/ 992787 h 1440373"/>
                <a:gd name="connsiteX494" fmla="*/ 1665779 w 1973984"/>
                <a:gd name="connsiteY494" fmla="*/ 1006813 h 1440373"/>
                <a:gd name="connsiteX495" fmla="*/ 1670791 w 1973984"/>
                <a:gd name="connsiteY495" fmla="*/ 1021817 h 1440373"/>
                <a:gd name="connsiteX496" fmla="*/ 1661308 w 1973984"/>
                <a:gd name="connsiteY496" fmla="*/ 1026318 h 1440373"/>
                <a:gd name="connsiteX497" fmla="*/ 1651283 w 1973984"/>
                <a:gd name="connsiteY497" fmla="*/ 1016794 h 1440373"/>
                <a:gd name="connsiteX498" fmla="*/ 1636245 w 1973984"/>
                <a:gd name="connsiteY498" fmla="*/ 1016794 h 1440373"/>
                <a:gd name="connsiteX499" fmla="*/ 1626762 w 1973984"/>
                <a:gd name="connsiteY499" fmla="*/ 1026318 h 1440373"/>
                <a:gd name="connsiteX500" fmla="*/ 1616737 w 1973984"/>
                <a:gd name="connsiteY500" fmla="*/ 1026318 h 1440373"/>
                <a:gd name="connsiteX501" fmla="*/ 1607254 w 1973984"/>
                <a:gd name="connsiteY501" fmla="*/ 1021817 h 1440373"/>
                <a:gd name="connsiteX502" fmla="*/ 1597229 w 1973984"/>
                <a:gd name="connsiteY502" fmla="*/ 1026318 h 1440373"/>
                <a:gd name="connsiteX503" fmla="*/ 1582733 w 1973984"/>
                <a:gd name="connsiteY503" fmla="*/ 1021817 h 1440373"/>
                <a:gd name="connsiteX504" fmla="*/ 1572708 w 1973984"/>
                <a:gd name="connsiteY504" fmla="*/ 1031798 h 1440373"/>
                <a:gd name="connsiteX505" fmla="*/ 1568237 w 1973984"/>
                <a:gd name="connsiteY505" fmla="*/ 1036300 h 1440373"/>
                <a:gd name="connsiteX506" fmla="*/ 1553199 w 1973984"/>
                <a:gd name="connsiteY506" fmla="*/ 1051304 h 1440373"/>
                <a:gd name="connsiteX507" fmla="*/ 1548254 w 1973984"/>
                <a:gd name="connsiteY507" fmla="*/ 1045824 h 1440373"/>
                <a:gd name="connsiteX508" fmla="*/ 1543716 w 1973984"/>
                <a:gd name="connsiteY508" fmla="*/ 1041323 h 1440373"/>
                <a:gd name="connsiteX509" fmla="*/ 1533691 w 1973984"/>
                <a:gd name="connsiteY509" fmla="*/ 1041323 h 1440373"/>
                <a:gd name="connsiteX510" fmla="*/ 1533691 w 1973984"/>
                <a:gd name="connsiteY510" fmla="*/ 1051304 h 1440373"/>
                <a:gd name="connsiteX511" fmla="*/ 1524208 w 1973984"/>
                <a:gd name="connsiteY511" fmla="*/ 1051304 h 1440373"/>
                <a:gd name="connsiteX512" fmla="*/ 1509170 w 1973984"/>
                <a:gd name="connsiteY512" fmla="*/ 1060829 h 1440373"/>
                <a:gd name="connsiteX513" fmla="*/ 1524208 w 1973984"/>
                <a:gd name="connsiteY513" fmla="*/ 1065330 h 1440373"/>
                <a:gd name="connsiteX514" fmla="*/ 1524208 w 1973984"/>
                <a:gd name="connsiteY514" fmla="*/ 1070810 h 1440373"/>
                <a:gd name="connsiteX515" fmla="*/ 1514183 w 1973984"/>
                <a:gd name="connsiteY515" fmla="*/ 1075311 h 1440373"/>
                <a:gd name="connsiteX516" fmla="*/ 1514183 w 1973984"/>
                <a:gd name="connsiteY516" fmla="*/ 1084835 h 1440373"/>
                <a:gd name="connsiteX517" fmla="*/ 1504699 w 1973984"/>
                <a:gd name="connsiteY517" fmla="*/ 1089859 h 1440373"/>
                <a:gd name="connsiteX518" fmla="*/ 1495216 w 1973984"/>
                <a:gd name="connsiteY518" fmla="*/ 1084835 h 1440373"/>
                <a:gd name="connsiteX519" fmla="*/ 1489662 w 1973984"/>
                <a:gd name="connsiteY519" fmla="*/ 1089859 h 1440373"/>
                <a:gd name="connsiteX520" fmla="*/ 1484717 w 1973984"/>
                <a:gd name="connsiteY520" fmla="*/ 1089859 h 1440373"/>
                <a:gd name="connsiteX521" fmla="*/ 1465208 w 1973984"/>
                <a:gd name="connsiteY521" fmla="*/ 1084835 h 1440373"/>
                <a:gd name="connsiteX522" fmla="*/ 1465208 w 1973984"/>
                <a:gd name="connsiteY522" fmla="*/ 1094817 h 1440373"/>
                <a:gd name="connsiteX523" fmla="*/ 1455183 w 1973984"/>
                <a:gd name="connsiteY523" fmla="*/ 1113866 h 1440373"/>
                <a:gd name="connsiteX524" fmla="*/ 1460670 w 1973984"/>
                <a:gd name="connsiteY524" fmla="*/ 1113866 h 1440373"/>
                <a:gd name="connsiteX525" fmla="*/ 1465208 w 1973984"/>
                <a:gd name="connsiteY525" fmla="*/ 1119345 h 1440373"/>
                <a:gd name="connsiteX526" fmla="*/ 1465208 w 1973984"/>
                <a:gd name="connsiteY526" fmla="*/ 1123847 h 1440373"/>
                <a:gd name="connsiteX527" fmla="*/ 1460670 w 1973984"/>
                <a:gd name="connsiteY527" fmla="*/ 1128870 h 1440373"/>
                <a:gd name="connsiteX528" fmla="*/ 1455183 w 1973984"/>
                <a:gd name="connsiteY528" fmla="*/ 1133371 h 1440373"/>
                <a:gd name="connsiteX529" fmla="*/ 1450645 w 1973984"/>
                <a:gd name="connsiteY529" fmla="*/ 1143352 h 1440373"/>
                <a:gd name="connsiteX530" fmla="*/ 1445700 w 1973984"/>
                <a:gd name="connsiteY530" fmla="*/ 1143352 h 1440373"/>
                <a:gd name="connsiteX531" fmla="*/ 1441162 w 1973984"/>
                <a:gd name="connsiteY531" fmla="*/ 1138851 h 1440373"/>
                <a:gd name="connsiteX532" fmla="*/ 1431137 w 1973984"/>
                <a:gd name="connsiteY532" fmla="*/ 1152877 h 1440373"/>
                <a:gd name="connsiteX533" fmla="*/ 1416641 w 1973984"/>
                <a:gd name="connsiteY533" fmla="*/ 1148376 h 1440373"/>
                <a:gd name="connsiteX534" fmla="*/ 1397132 w 1973984"/>
                <a:gd name="connsiteY534" fmla="*/ 1143352 h 1440373"/>
                <a:gd name="connsiteX535" fmla="*/ 1397132 w 1973984"/>
                <a:gd name="connsiteY535" fmla="*/ 1148376 h 1440373"/>
                <a:gd name="connsiteX536" fmla="*/ 1401671 w 1973984"/>
                <a:gd name="connsiteY536" fmla="*/ 1162858 h 1440373"/>
                <a:gd name="connsiteX537" fmla="*/ 1391646 w 1973984"/>
                <a:gd name="connsiteY537" fmla="*/ 1172317 h 1440373"/>
                <a:gd name="connsiteX538" fmla="*/ 1391646 w 1973984"/>
                <a:gd name="connsiteY538" fmla="*/ 1177862 h 1440373"/>
                <a:gd name="connsiteX539" fmla="*/ 1391646 w 1973984"/>
                <a:gd name="connsiteY539" fmla="*/ 1182364 h 1440373"/>
                <a:gd name="connsiteX540" fmla="*/ 1382162 w 1973984"/>
                <a:gd name="connsiteY540" fmla="*/ 1196846 h 1440373"/>
                <a:gd name="connsiteX541" fmla="*/ 1382162 w 1973984"/>
                <a:gd name="connsiteY541" fmla="*/ 1206827 h 1440373"/>
                <a:gd name="connsiteX542" fmla="*/ 1387107 w 1973984"/>
                <a:gd name="connsiteY542" fmla="*/ 1211329 h 1440373"/>
                <a:gd name="connsiteX543" fmla="*/ 1391646 w 1973984"/>
                <a:gd name="connsiteY543" fmla="*/ 1211329 h 1440373"/>
                <a:gd name="connsiteX544" fmla="*/ 1401671 w 1973984"/>
                <a:gd name="connsiteY544" fmla="*/ 1216352 h 1440373"/>
                <a:gd name="connsiteX545" fmla="*/ 1406616 w 1973984"/>
                <a:gd name="connsiteY545" fmla="*/ 1226333 h 1440373"/>
                <a:gd name="connsiteX546" fmla="*/ 1401671 w 1973984"/>
                <a:gd name="connsiteY546" fmla="*/ 1230834 h 1440373"/>
                <a:gd name="connsiteX547" fmla="*/ 1397132 w 1973984"/>
                <a:gd name="connsiteY547" fmla="*/ 1226333 h 1440373"/>
                <a:gd name="connsiteX548" fmla="*/ 1391646 w 1973984"/>
                <a:gd name="connsiteY548" fmla="*/ 1230834 h 1440373"/>
                <a:gd name="connsiteX549" fmla="*/ 1391646 w 1973984"/>
                <a:gd name="connsiteY549" fmla="*/ 1235857 h 1440373"/>
                <a:gd name="connsiteX550" fmla="*/ 1387107 w 1973984"/>
                <a:gd name="connsiteY550" fmla="*/ 1250340 h 1440373"/>
                <a:gd name="connsiteX551" fmla="*/ 1377624 w 1973984"/>
                <a:gd name="connsiteY551" fmla="*/ 1245839 h 1440373"/>
                <a:gd name="connsiteX552" fmla="*/ 1372137 w 1973984"/>
                <a:gd name="connsiteY552" fmla="*/ 1240359 h 1440373"/>
                <a:gd name="connsiteX553" fmla="*/ 1367599 w 1973984"/>
                <a:gd name="connsiteY553" fmla="*/ 1245839 h 1440373"/>
                <a:gd name="connsiteX554" fmla="*/ 1362654 w 1973984"/>
                <a:gd name="connsiteY554" fmla="*/ 1240359 h 1440373"/>
                <a:gd name="connsiteX555" fmla="*/ 1348090 w 1973984"/>
                <a:gd name="connsiteY555" fmla="*/ 1235857 h 1440373"/>
                <a:gd name="connsiteX556" fmla="*/ 1338133 w 1973984"/>
                <a:gd name="connsiteY556" fmla="*/ 1235857 h 1440373"/>
                <a:gd name="connsiteX557" fmla="*/ 1333595 w 1973984"/>
                <a:gd name="connsiteY557" fmla="*/ 1230834 h 1440373"/>
                <a:gd name="connsiteX558" fmla="*/ 1328108 w 1973984"/>
                <a:gd name="connsiteY558" fmla="*/ 1235857 h 1440373"/>
                <a:gd name="connsiteX559" fmla="*/ 1328108 w 1973984"/>
                <a:gd name="connsiteY559" fmla="*/ 1240359 h 1440373"/>
                <a:gd name="connsiteX560" fmla="*/ 1328108 w 1973984"/>
                <a:gd name="connsiteY560" fmla="*/ 1245839 h 1440373"/>
                <a:gd name="connsiteX561" fmla="*/ 1328108 w 1973984"/>
                <a:gd name="connsiteY561" fmla="*/ 1250340 h 1440373"/>
                <a:gd name="connsiteX562" fmla="*/ 1328108 w 1973984"/>
                <a:gd name="connsiteY562" fmla="*/ 1259864 h 1440373"/>
                <a:gd name="connsiteX563" fmla="*/ 1338133 w 1973984"/>
                <a:gd name="connsiteY563" fmla="*/ 1259864 h 1440373"/>
                <a:gd name="connsiteX564" fmla="*/ 1343078 w 1973984"/>
                <a:gd name="connsiteY564" fmla="*/ 1265344 h 1440373"/>
                <a:gd name="connsiteX565" fmla="*/ 1343078 w 1973984"/>
                <a:gd name="connsiteY565" fmla="*/ 1269846 h 1440373"/>
                <a:gd name="connsiteX566" fmla="*/ 1338133 w 1973984"/>
                <a:gd name="connsiteY566" fmla="*/ 1274869 h 1440373"/>
                <a:gd name="connsiteX567" fmla="*/ 1333595 w 1973984"/>
                <a:gd name="connsiteY567" fmla="*/ 1274869 h 1440373"/>
                <a:gd name="connsiteX568" fmla="*/ 1318625 w 1973984"/>
                <a:gd name="connsiteY568" fmla="*/ 1269846 h 1440373"/>
                <a:gd name="connsiteX569" fmla="*/ 1314086 w 1973984"/>
                <a:gd name="connsiteY569" fmla="*/ 1274869 h 1440373"/>
                <a:gd name="connsiteX570" fmla="*/ 1314086 w 1973984"/>
                <a:gd name="connsiteY570" fmla="*/ 1279370 h 1440373"/>
                <a:gd name="connsiteX571" fmla="*/ 1318625 w 1973984"/>
                <a:gd name="connsiteY571" fmla="*/ 1279370 h 1440373"/>
                <a:gd name="connsiteX572" fmla="*/ 1323570 w 1973984"/>
                <a:gd name="connsiteY572" fmla="*/ 1298876 h 1440373"/>
                <a:gd name="connsiteX573" fmla="*/ 1318625 w 1973984"/>
                <a:gd name="connsiteY573" fmla="*/ 1298876 h 1440373"/>
                <a:gd name="connsiteX574" fmla="*/ 1318625 w 1973984"/>
                <a:gd name="connsiteY574" fmla="*/ 1303899 h 1440373"/>
                <a:gd name="connsiteX575" fmla="*/ 1323570 w 1973984"/>
                <a:gd name="connsiteY575" fmla="*/ 1303899 h 1440373"/>
                <a:gd name="connsiteX576" fmla="*/ 1333595 w 1973984"/>
                <a:gd name="connsiteY576" fmla="*/ 1303899 h 1440373"/>
                <a:gd name="connsiteX577" fmla="*/ 1333595 w 1973984"/>
                <a:gd name="connsiteY577" fmla="*/ 1313880 h 1440373"/>
                <a:gd name="connsiteX578" fmla="*/ 1338133 w 1973984"/>
                <a:gd name="connsiteY578" fmla="*/ 1313880 h 1440373"/>
                <a:gd name="connsiteX579" fmla="*/ 1343078 w 1973984"/>
                <a:gd name="connsiteY579" fmla="*/ 1318381 h 1440373"/>
                <a:gd name="connsiteX580" fmla="*/ 1358116 w 1973984"/>
                <a:gd name="connsiteY580" fmla="*/ 1313880 h 1440373"/>
                <a:gd name="connsiteX581" fmla="*/ 1362654 w 1973984"/>
                <a:gd name="connsiteY581" fmla="*/ 1318381 h 1440373"/>
                <a:gd name="connsiteX582" fmla="*/ 1362654 w 1973984"/>
                <a:gd name="connsiteY582" fmla="*/ 1323405 h 1440373"/>
                <a:gd name="connsiteX583" fmla="*/ 1372137 w 1973984"/>
                <a:gd name="connsiteY583" fmla="*/ 1323405 h 1440373"/>
                <a:gd name="connsiteX584" fmla="*/ 1382162 w 1973984"/>
                <a:gd name="connsiteY584" fmla="*/ 1323405 h 1440373"/>
                <a:gd name="connsiteX585" fmla="*/ 1397132 w 1973984"/>
                <a:gd name="connsiteY585" fmla="*/ 1318381 h 1440373"/>
                <a:gd name="connsiteX586" fmla="*/ 1397132 w 1973984"/>
                <a:gd name="connsiteY586" fmla="*/ 1323405 h 1440373"/>
                <a:gd name="connsiteX587" fmla="*/ 1391646 w 1973984"/>
                <a:gd name="connsiteY587" fmla="*/ 1333386 h 1440373"/>
                <a:gd name="connsiteX588" fmla="*/ 1401671 w 1973984"/>
                <a:gd name="connsiteY588" fmla="*/ 1337887 h 1440373"/>
                <a:gd name="connsiteX589" fmla="*/ 1401671 w 1973984"/>
                <a:gd name="connsiteY589" fmla="*/ 1342910 h 1440373"/>
                <a:gd name="connsiteX590" fmla="*/ 1401671 w 1973984"/>
                <a:gd name="connsiteY590" fmla="*/ 1347412 h 1440373"/>
                <a:gd name="connsiteX591" fmla="*/ 1406616 w 1973984"/>
                <a:gd name="connsiteY591" fmla="*/ 1357393 h 1440373"/>
                <a:gd name="connsiteX592" fmla="*/ 1421653 w 1973984"/>
                <a:gd name="connsiteY592" fmla="*/ 1352891 h 1440373"/>
                <a:gd name="connsiteX593" fmla="*/ 1421653 w 1973984"/>
                <a:gd name="connsiteY593" fmla="*/ 1357393 h 1440373"/>
                <a:gd name="connsiteX594" fmla="*/ 1416641 w 1973984"/>
                <a:gd name="connsiteY594" fmla="*/ 1366852 h 1440373"/>
                <a:gd name="connsiteX595" fmla="*/ 1421653 w 1973984"/>
                <a:gd name="connsiteY595" fmla="*/ 1372397 h 1440373"/>
                <a:gd name="connsiteX596" fmla="*/ 1421653 w 1973984"/>
                <a:gd name="connsiteY596" fmla="*/ 1376898 h 1440373"/>
                <a:gd name="connsiteX597" fmla="*/ 1421653 w 1973984"/>
                <a:gd name="connsiteY597" fmla="*/ 1381856 h 1440373"/>
                <a:gd name="connsiteX598" fmla="*/ 1421653 w 1973984"/>
                <a:gd name="connsiteY598" fmla="*/ 1396404 h 1440373"/>
                <a:gd name="connsiteX599" fmla="*/ 1411154 w 1973984"/>
                <a:gd name="connsiteY599" fmla="*/ 1401362 h 1440373"/>
                <a:gd name="connsiteX600" fmla="*/ 1411154 w 1973984"/>
                <a:gd name="connsiteY600" fmla="*/ 1405863 h 1440373"/>
                <a:gd name="connsiteX601" fmla="*/ 1421653 w 1973984"/>
                <a:gd name="connsiteY601" fmla="*/ 1410886 h 1440373"/>
                <a:gd name="connsiteX602" fmla="*/ 1421653 w 1973984"/>
                <a:gd name="connsiteY602" fmla="*/ 1420868 h 1440373"/>
                <a:gd name="connsiteX603" fmla="*/ 1411154 w 1973984"/>
                <a:gd name="connsiteY603" fmla="*/ 1420868 h 1440373"/>
                <a:gd name="connsiteX604" fmla="*/ 1406616 w 1973984"/>
                <a:gd name="connsiteY604" fmla="*/ 1420868 h 1440373"/>
                <a:gd name="connsiteX605" fmla="*/ 1406616 w 1973984"/>
                <a:gd name="connsiteY605" fmla="*/ 1410886 h 1440373"/>
                <a:gd name="connsiteX606" fmla="*/ 1397132 w 1973984"/>
                <a:gd name="connsiteY606" fmla="*/ 1405863 h 1440373"/>
                <a:gd name="connsiteX607" fmla="*/ 1397132 w 1973984"/>
                <a:gd name="connsiteY607" fmla="*/ 1401362 h 1440373"/>
                <a:gd name="connsiteX608" fmla="*/ 1391646 w 1973984"/>
                <a:gd name="connsiteY608" fmla="*/ 1396404 h 1440373"/>
                <a:gd name="connsiteX609" fmla="*/ 1382162 w 1973984"/>
                <a:gd name="connsiteY609" fmla="*/ 1401362 h 1440373"/>
                <a:gd name="connsiteX610" fmla="*/ 1377624 w 1973984"/>
                <a:gd name="connsiteY610" fmla="*/ 1410886 h 1440373"/>
                <a:gd name="connsiteX611" fmla="*/ 1382162 w 1973984"/>
                <a:gd name="connsiteY611" fmla="*/ 1415388 h 1440373"/>
                <a:gd name="connsiteX612" fmla="*/ 1382162 w 1973984"/>
                <a:gd name="connsiteY612" fmla="*/ 1420868 h 1440373"/>
                <a:gd name="connsiteX613" fmla="*/ 1372137 w 1973984"/>
                <a:gd name="connsiteY613" fmla="*/ 1420868 h 1440373"/>
                <a:gd name="connsiteX614" fmla="*/ 1372137 w 1973984"/>
                <a:gd name="connsiteY614" fmla="*/ 1430392 h 1440373"/>
                <a:gd name="connsiteX615" fmla="*/ 1358116 w 1973984"/>
                <a:gd name="connsiteY615" fmla="*/ 1434893 h 1440373"/>
                <a:gd name="connsiteX616" fmla="*/ 1353103 w 1973984"/>
                <a:gd name="connsiteY616" fmla="*/ 1440373 h 1440373"/>
                <a:gd name="connsiteX617" fmla="*/ 1333595 w 1973984"/>
                <a:gd name="connsiteY617" fmla="*/ 1440373 h 1440373"/>
                <a:gd name="connsiteX618" fmla="*/ 1333595 w 1973984"/>
                <a:gd name="connsiteY618" fmla="*/ 1430392 h 1440373"/>
                <a:gd name="connsiteX619" fmla="*/ 1328108 w 1973984"/>
                <a:gd name="connsiteY619" fmla="*/ 1430392 h 1440373"/>
                <a:gd name="connsiteX620" fmla="*/ 1323570 w 1973984"/>
                <a:gd name="connsiteY620" fmla="*/ 1420868 h 1440373"/>
                <a:gd name="connsiteX621" fmla="*/ 1318625 w 1973984"/>
                <a:gd name="connsiteY621" fmla="*/ 1425369 h 1440373"/>
                <a:gd name="connsiteX622" fmla="*/ 1304061 w 1973984"/>
                <a:gd name="connsiteY622" fmla="*/ 1420868 h 1440373"/>
                <a:gd name="connsiteX623" fmla="*/ 1304061 w 1973984"/>
                <a:gd name="connsiteY623" fmla="*/ 1401362 h 1440373"/>
                <a:gd name="connsiteX624" fmla="*/ 1304061 w 1973984"/>
                <a:gd name="connsiteY624" fmla="*/ 1396404 h 1440373"/>
                <a:gd name="connsiteX625" fmla="*/ 1299116 w 1973984"/>
                <a:gd name="connsiteY625" fmla="*/ 1391381 h 1440373"/>
                <a:gd name="connsiteX626" fmla="*/ 1289091 w 1973984"/>
                <a:gd name="connsiteY626" fmla="*/ 1391381 h 1440373"/>
                <a:gd name="connsiteX627" fmla="*/ 1284553 w 1973984"/>
                <a:gd name="connsiteY627" fmla="*/ 1396404 h 1440373"/>
                <a:gd name="connsiteX628" fmla="*/ 1279608 w 1973984"/>
                <a:gd name="connsiteY628" fmla="*/ 1391381 h 1440373"/>
                <a:gd name="connsiteX629" fmla="*/ 1270057 w 1973984"/>
                <a:gd name="connsiteY629" fmla="*/ 1396404 h 1440373"/>
                <a:gd name="connsiteX630" fmla="*/ 1264570 w 1973984"/>
                <a:gd name="connsiteY630" fmla="*/ 1386358 h 1440373"/>
                <a:gd name="connsiteX631" fmla="*/ 1255087 w 1973984"/>
                <a:gd name="connsiteY631" fmla="*/ 1381856 h 1440373"/>
                <a:gd name="connsiteX632" fmla="*/ 1250549 w 1973984"/>
                <a:gd name="connsiteY632" fmla="*/ 1381856 h 1440373"/>
                <a:gd name="connsiteX633" fmla="*/ 1245062 w 1973984"/>
                <a:gd name="connsiteY633" fmla="*/ 1391381 h 1440373"/>
                <a:gd name="connsiteX634" fmla="*/ 1216070 w 1973984"/>
                <a:gd name="connsiteY634" fmla="*/ 1386358 h 1440373"/>
                <a:gd name="connsiteX635" fmla="*/ 1211532 w 1973984"/>
                <a:gd name="connsiteY635" fmla="*/ 1381856 h 1440373"/>
                <a:gd name="connsiteX636" fmla="*/ 1216070 w 1973984"/>
                <a:gd name="connsiteY636" fmla="*/ 1376898 h 1440373"/>
                <a:gd name="connsiteX637" fmla="*/ 1216070 w 1973984"/>
                <a:gd name="connsiteY637" fmla="*/ 1366852 h 1440373"/>
                <a:gd name="connsiteX638" fmla="*/ 1211532 w 1973984"/>
                <a:gd name="connsiteY638" fmla="*/ 1362351 h 1440373"/>
                <a:gd name="connsiteX639" fmla="*/ 1211532 w 1973984"/>
                <a:gd name="connsiteY639" fmla="*/ 1357393 h 1440373"/>
                <a:gd name="connsiteX640" fmla="*/ 1216070 w 1973984"/>
                <a:gd name="connsiteY640" fmla="*/ 1347412 h 1440373"/>
                <a:gd name="connsiteX641" fmla="*/ 1216070 w 1973984"/>
                <a:gd name="connsiteY641" fmla="*/ 1337887 h 1440373"/>
                <a:gd name="connsiteX642" fmla="*/ 1196562 w 1973984"/>
                <a:gd name="connsiteY642" fmla="*/ 1357393 h 1440373"/>
                <a:gd name="connsiteX643" fmla="*/ 1187011 w 1973984"/>
                <a:gd name="connsiteY643" fmla="*/ 1357393 h 1440373"/>
                <a:gd name="connsiteX644" fmla="*/ 1181524 w 1973984"/>
                <a:gd name="connsiteY644" fmla="*/ 1357393 h 1440373"/>
                <a:gd name="connsiteX645" fmla="*/ 1172041 w 1973984"/>
                <a:gd name="connsiteY645" fmla="*/ 1342910 h 1440373"/>
                <a:gd name="connsiteX646" fmla="*/ 1162016 w 1973984"/>
                <a:gd name="connsiteY646" fmla="*/ 1347412 h 1440373"/>
                <a:gd name="connsiteX647" fmla="*/ 1162016 w 1973984"/>
                <a:gd name="connsiteY647" fmla="*/ 1352891 h 1440373"/>
                <a:gd name="connsiteX648" fmla="*/ 1157477 w 1973984"/>
                <a:gd name="connsiteY648" fmla="*/ 1352891 h 1440373"/>
                <a:gd name="connsiteX649" fmla="*/ 1147994 w 1973984"/>
                <a:gd name="connsiteY649" fmla="*/ 1357393 h 1440373"/>
                <a:gd name="connsiteX650" fmla="*/ 1142507 w 1973984"/>
                <a:gd name="connsiteY650" fmla="*/ 1357393 h 1440373"/>
                <a:gd name="connsiteX651" fmla="*/ 1122999 w 1973984"/>
                <a:gd name="connsiteY651" fmla="*/ 1372397 h 1440373"/>
                <a:gd name="connsiteX652" fmla="*/ 1113516 w 1973984"/>
                <a:gd name="connsiteY652" fmla="*/ 1372397 h 1440373"/>
                <a:gd name="connsiteX653" fmla="*/ 1103965 w 1973984"/>
                <a:gd name="connsiteY653" fmla="*/ 1372397 h 1440373"/>
                <a:gd name="connsiteX654" fmla="*/ 1098478 w 1973984"/>
                <a:gd name="connsiteY654" fmla="*/ 1376898 h 1440373"/>
                <a:gd name="connsiteX655" fmla="*/ 1093940 w 1973984"/>
                <a:gd name="connsiteY655" fmla="*/ 1381856 h 1440373"/>
                <a:gd name="connsiteX656" fmla="*/ 1084457 w 1973984"/>
                <a:gd name="connsiteY656" fmla="*/ 1391381 h 1440373"/>
                <a:gd name="connsiteX657" fmla="*/ 1078970 w 1973984"/>
                <a:gd name="connsiteY657" fmla="*/ 1391381 h 1440373"/>
                <a:gd name="connsiteX658" fmla="*/ 1078970 w 1973984"/>
                <a:gd name="connsiteY658" fmla="*/ 1381856 h 1440373"/>
                <a:gd name="connsiteX659" fmla="*/ 1074431 w 1973984"/>
                <a:gd name="connsiteY659" fmla="*/ 1366852 h 1440373"/>
                <a:gd name="connsiteX660" fmla="*/ 1074431 w 1973984"/>
                <a:gd name="connsiteY660" fmla="*/ 1362351 h 1440373"/>
                <a:gd name="connsiteX661" fmla="*/ 1074431 w 1973984"/>
                <a:gd name="connsiteY661" fmla="*/ 1352891 h 1440373"/>
                <a:gd name="connsiteX662" fmla="*/ 1059461 w 1973984"/>
                <a:gd name="connsiteY662" fmla="*/ 1337887 h 1440373"/>
                <a:gd name="connsiteX663" fmla="*/ 1039953 w 1973984"/>
                <a:gd name="connsiteY663" fmla="*/ 1337887 h 1440373"/>
                <a:gd name="connsiteX664" fmla="*/ 1039953 w 1973984"/>
                <a:gd name="connsiteY664" fmla="*/ 1342910 h 1440373"/>
                <a:gd name="connsiteX665" fmla="*/ 1025457 w 1973984"/>
                <a:gd name="connsiteY665" fmla="*/ 1342910 h 1440373"/>
                <a:gd name="connsiteX666" fmla="*/ 1010894 w 1973984"/>
                <a:gd name="connsiteY666" fmla="*/ 1337887 h 1440373"/>
                <a:gd name="connsiteX667" fmla="*/ 1015432 w 1973984"/>
                <a:gd name="connsiteY667" fmla="*/ 1357393 h 1440373"/>
                <a:gd name="connsiteX668" fmla="*/ 1015432 w 1973984"/>
                <a:gd name="connsiteY668" fmla="*/ 1366852 h 1440373"/>
                <a:gd name="connsiteX669" fmla="*/ 1005949 w 1973984"/>
                <a:gd name="connsiteY669" fmla="*/ 1362351 h 1440373"/>
                <a:gd name="connsiteX670" fmla="*/ 1001410 w 1973984"/>
                <a:gd name="connsiteY670" fmla="*/ 1366852 h 1440373"/>
                <a:gd name="connsiteX671" fmla="*/ 995924 w 1973984"/>
                <a:gd name="connsiteY671" fmla="*/ 1357393 h 1440373"/>
                <a:gd name="connsiteX672" fmla="*/ 991385 w 1973984"/>
                <a:gd name="connsiteY672" fmla="*/ 1357393 h 1440373"/>
                <a:gd name="connsiteX673" fmla="*/ 986441 w 1973984"/>
                <a:gd name="connsiteY673" fmla="*/ 1352891 h 1440373"/>
                <a:gd name="connsiteX674" fmla="*/ 976415 w 1973984"/>
                <a:gd name="connsiteY674" fmla="*/ 1357393 h 1440373"/>
                <a:gd name="connsiteX675" fmla="*/ 971403 w 1973984"/>
                <a:gd name="connsiteY675" fmla="*/ 1342910 h 1440373"/>
                <a:gd name="connsiteX676" fmla="*/ 956907 w 1973984"/>
                <a:gd name="connsiteY676" fmla="*/ 1337887 h 1440373"/>
                <a:gd name="connsiteX677" fmla="*/ 956907 w 1973984"/>
                <a:gd name="connsiteY677" fmla="*/ 1333386 h 1440373"/>
                <a:gd name="connsiteX678" fmla="*/ 937399 w 1973984"/>
                <a:gd name="connsiteY678" fmla="*/ 1333386 h 1440373"/>
                <a:gd name="connsiteX679" fmla="*/ 937399 w 1973984"/>
                <a:gd name="connsiteY679" fmla="*/ 1337887 h 1440373"/>
                <a:gd name="connsiteX680" fmla="*/ 932386 w 1973984"/>
                <a:gd name="connsiteY680" fmla="*/ 1337887 h 1440373"/>
                <a:gd name="connsiteX681" fmla="*/ 932386 w 1973984"/>
                <a:gd name="connsiteY681" fmla="*/ 1357393 h 1440373"/>
                <a:gd name="connsiteX682" fmla="*/ 932386 w 1973984"/>
                <a:gd name="connsiteY682" fmla="*/ 1362351 h 1440373"/>
                <a:gd name="connsiteX683" fmla="*/ 918364 w 1973984"/>
                <a:gd name="connsiteY683" fmla="*/ 1362351 h 1440373"/>
                <a:gd name="connsiteX684" fmla="*/ 912878 w 1973984"/>
                <a:gd name="connsiteY684" fmla="*/ 1357393 h 1440373"/>
                <a:gd name="connsiteX685" fmla="*/ 912878 w 1973984"/>
                <a:gd name="connsiteY685" fmla="*/ 1342910 h 1440373"/>
                <a:gd name="connsiteX686" fmla="*/ 912878 w 1973984"/>
                <a:gd name="connsiteY686" fmla="*/ 1333386 h 1440373"/>
                <a:gd name="connsiteX687" fmla="*/ 907865 w 1973984"/>
                <a:gd name="connsiteY687" fmla="*/ 1333386 h 1440373"/>
                <a:gd name="connsiteX688" fmla="*/ 903394 w 1973984"/>
                <a:gd name="connsiteY688" fmla="*/ 1337887 h 1440373"/>
                <a:gd name="connsiteX689" fmla="*/ 883886 w 1973984"/>
                <a:gd name="connsiteY689" fmla="*/ 1337887 h 1440373"/>
                <a:gd name="connsiteX690" fmla="*/ 878332 w 1973984"/>
                <a:gd name="connsiteY690" fmla="*/ 1347412 h 1440373"/>
                <a:gd name="connsiteX691" fmla="*/ 868848 w 1973984"/>
                <a:gd name="connsiteY691" fmla="*/ 1347412 h 1440373"/>
                <a:gd name="connsiteX692" fmla="*/ 868848 w 1973984"/>
                <a:gd name="connsiteY692" fmla="*/ 1362351 h 1440373"/>
                <a:gd name="connsiteX693" fmla="*/ 859365 w 1973984"/>
                <a:gd name="connsiteY693" fmla="*/ 1376898 h 1440373"/>
                <a:gd name="connsiteX694" fmla="*/ 849340 w 1973984"/>
                <a:gd name="connsiteY694" fmla="*/ 1372397 h 1440373"/>
                <a:gd name="connsiteX695" fmla="*/ 844802 w 1973984"/>
                <a:gd name="connsiteY695" fmla="*/ 1362351 h 1440373"/>
                <a:gd name="connsiteX696" fmla="*/ 829832 w 1973984"/>
                <a:gd name="connsiteY696" fmla="*/ 1357393 h 1440373"/>
                <a:gd name="connsiteX697" fmla="*/ 824819 w 1973984"/>
                <a:gd name="connsiteY697" fmla="*/ 1347412 h 1440373"/>
                <a:gd name="connsiteX698" fmla="*/ 810323 w 1973984"/>
                <a:gd name="connsiteY698" fmla="*/ 1352891 h 1440373"/>
                <a:gd name="connsiteX699" fmla="*/ 810323 w 1973984"/>
                <a:gd name="connsiteY699" fmla="*/ 1342910 h 1440373"/>
                <a:gd name="connsiteX700" fmla="*/ 805311 w 1973984"/>
                <a:gd name="connsiteY700" fmla="*/ 1337887 h 1440373"/>
                <a:gd name="connsiteX701" fmla="*/ 800840 w 1973984"/>
                <a:gd name="connsiteY701" fmla="*/ 1342910 h 1440373"/>
                <a:gd name="connsiteX702" fmla="*/ 795286 w 1973984"/>
                <a:gd name="connsiteY702" fmla="*/ 1342910 h 1440373"/>
                <a:gd name="connsiteX703" fmla="*/ 785802 w 1973984"/>
                <a:gd name="connsiteY703" fmla="*/ 1342910 h 1440373"/>
                <a:gd name="connsiteX704" fmla="*/ 781332 w 1973984"/>
                <a:gd name="connsiteY704" fmla="*/ 1352891 h 1440373"/>
                <a:gd name="connsiteX705" fmla="*/ 776319 w 1973984"/>
                <a:gd name="connsiteY705" fmla="*/ 1352891 h 1440373"/>
                <a:gd name="connsiteX706" fmla="*/ 776319 w 1973984"/>
                <a:gd name="connsiteY706" fmla="*/ 1347412 h 1440373"/>
                <a:gd name="connsiteX707" fmla="*/ 771307 w 1973984"/>
                <a:gd name="connsiteY707" fmla="*/ 1342910 h 1440373"/>
                <a:gd name="connsiteX708" fmla="*/ 776319 w 1973984"/>
                <a:gd name="connsiteY708" fmla="*/ 1337887 h 1440373"/>
                <a:gd name="connsiteX709" fmla="*/ 776319 w 1973984"/>
                <a:gd name="connsiteY709" fmla="*/ 1327906 h 1440373"/>
                <a:gd name="connsiteX710" fmla="*/ 776319 w 1973984"/>
                <a:gd name="connsiteY710" fmla="*/ 1318381 h 1440373"/>
                <a:gd name="connsiteX711" fmla="*/ 771307 w 1973984"/>
                <a:gd name="connsiteY711" fmla="*/ 1313880 h 1440373"/>
                <a:gd name="connsiteX712" fmla="*/ 771307 w 1973984"/>
                <a:gd name="connsiteY712" fmla="*/ 1308400 h 1440373"/>
                <a:gd name="connsiteX713" fmla="*/ 781332 w 1973984"/>
                <a:gd name="connsiteY713" fmla="*/ 1308400 h 1440373"/>
                <a:gd name="connsiteX714" fmla="*/ 781332 w 1973984"/>
                <a:gd name="connsiteY714" fmla="*/ 1303899 h 1440373"/>
                <a:gd name="connsiteX715" fmla="*/ 771307 w 1973984"/>
                <a:gd name="connsiteY715" fmla="*/ 1289351 h 1440373"/>
                <a:gd name="connsiteX716" fmla="*/ 766294 w 1973984"/>
                <a:gd name="connsiteY716" fmla="*/ 1279370 h 1440373"/>
                <a:gd name="connsiteX717" fmla="*/ 761281 w 1973984"/>
                <a:gd name="connsiteY717" fmla="*/ 1274869 h 1440373"/>
                <a:gd name="connsiteX718" fmla="*/ 751256 w 1973984"/>
                <a:gd name="connsiteY718" fmla="*/ 1274869 h 1440373"/>
                <a:gd name="connsiteX719" fmla="*/ 746786 w 1973984"/>
                <a:gd name="connsiteY719" fmla="*/ 1259864 h 1440373"/>
                <a:gd name="connsiteX720" fmla="*/ 746786 w 1973984"/>
                <a:gd name="connsiteY720" fmla="*/ 1245839 h 1440373"/>
                <a:gd name="connsiteX721" fmla="*/ 746786 w 1973984"/>
                <a:gd name="connsiteY721" fmla="*/ 1240359 h 1440373"/>
                <a:gd name="connsiteX722" fmla="*/ 741773 w 1973984"/>
                <a:gd name="connsiteY722" fmla="*/ 1230834 h 1440373"/>
                <a:gd name="connsiteX723" fmla="*/ 737302 w 1973984"/>
                <a:gd name="connsiteY723" fmla="*/ 1220853 h 1440373"/>
                <a:gd name="connsiteX724" fmla="*/ 731748 w 1973984"/>
                <a:gd name="connsiteY724" fmla="*/ 1211329 h 1440373"/>
                <a:gd name="connsiteX725" fmla="*/ 722265 w 1973984"/>
                <a:gd name="connsiteY725" fmla="*/ 1211329 h 1440373"/>
                <a:gd name="connsiteX726" fmla="*/ 717794 w 1973984"/>
                <a:gd name="connsiteY726" fmla="*/ 1201869 h 1440373"/>
                <a:gd name="connsiteX727" fmla="*/ 717794 w 1973984"/>
                <a:gd name="connsiteY727" fmla="*/ 1191823 h 1440373"/>
                <a:gd name="connsiteX728" fmla="*/ 712240 w 1973984"/>
                <a:gd name="connsiteY728" fmla="*/ 1191823 h 1440373"/>
                <a:gd name="connsiteX729" fmla="*/ 707769 w 1973984"/>
                <a:gd name="connsiteY729" fmla="*/ 1187322 h 1440373"/>
                <a:gd name="connsiteX730" fmla="*/ 712240 w 1973984"/>
                <a:gd name="connsiteY730" fmla="*/ 1172317 h 1440373"/>
                <a:gd name="connsiteX731" fmla="*/ 707769 w 1973984"/>
                <a:gd name="connsiteY731" fmla="*/ 1167816 h 1440373"/>
                <a:gd name="connsiteX732" fmla="*/ 702756 w 1973984"/>
                <a:gd name="connsiteY732" fmla="*/ 1152877 h 1440373"/>
                <a:gd name="connsiteX733" fmla="*/ 707769 w 1973984"/>
                <a:gd name="connsiteY733" fmla="*/ 1143352 h 1440373"/>
                <a:gd name="connsiteX734" fmla="*/ 698286 w 1973984"/>
                <a:gd name="connsiteY734" fmla="*/ 1143352 h 1440373"/>
                <a:gd name="connsiteX735" fmla="*/ 698286 w 1973984"/>
                <a:gd name="connsiteY735" fmla="*/ 1138851 h 1440373"/>
                <a:gd name="connsiteX736" fmla="*/ 702756 w 1973984"/>
                <a:gd name="connsiteY736" fmla="*/ 1119345 h 1440373"/>
                <a:gd name="connsiteX737" fmla="*/ 699751 w 1973984"/>
                <a:gd name="connsiteY737" fmla="*/ 1119345 h 1440373"/>
                <a:gd name="connsiteX738" fmla="*/ 699180 w 1973984"/>
                <a:gd name="connsiteY738" fmla="*/ 1119984 h 1440373"/>
                <a:gd name="connsiteX739" fmla="*/ 688676 w 1973984"/>
                <a:gd name="connsiteY739" fmla="*/ 1119984 h 1440373"/>
                <a:gd name="connsiteX740" fmla="*/ 688676 w 1973984"/>
                <a:gd name="connsiteY740" fmla="*/ 1114971 h 1440373"/>
                <a:gd name="connsiteX741" fmla="*/ 684194 w 1973984"/>
                <a:gd name="connsiteY741" fmla="*/ 1114971 h 1440373"/>
                <a:gd name="connsiteX742" fmla="*/ 688676 w 1973984"/>
                <a:gd name="connsiteY742" fmla="*/ 1105482 h 1440373"/>
                <a:gd name="connsiteX743" fmla="*/ 678685 w 1973984"/>
                <a:gd name="connsiteY743" fmla="*/ 1105482 h 1440373"/>
                <a:gd name="connsiteX744" fmla="*/ 674156 w 1973984"/>
                <a:gd name="connsiteY744" fmla="*/ 1105482 h 1440373"/>
                <a:gd name="connsiteX745" fmla="*/ 669161 w 1973984"/>
                <a:gd name="connsiteY745" fmla="*/ 1095456 h 1440373"/>
                <a:gd name="connsiteX746" fmla="*/ 659683 w 1973984"/>
                <a:gd name="connsiteY746" fmla="*/ 1090980 h 1440373"/>
                <a:gd name="connsiteX747" fmla="*/ 654641 w 1973984"/>
                <a:gd name="connsiteY747" fmla="*/ 1081491 h 1440373"/>
                <a:gd name="connsiteX748" fmla="*/ 649646 w 1973984"/>
                <a:gd name="connsiteY748" fmla="*/ 1071465 h 1440373"/>
                <a:gd name="connsiteX749" fmla="*/ 620653 w 1973984"/>
                <a:gd name="connsiteY749" fmla="*/ 1075941 h 1440373"/>
                <a:gd name="connsiteX750" fmla="*/ 615144 w 1973984"/>
                <a:gd name="connsiteY750" fmla="*/ 1071465 h 1440373"/>
                <a:gd name="connsiteX751" fmla="*/ 620653 w 1973984"/>
                <a:gd name="connsiteY751" fmla="*/ 1066452 h 1440373"/>
                <a:gd name="connsiteX752" fmla="*/ 620653 w 1973984"/>
                <a:gd name="connsiteY752" fmla="*/ 1061976 h 1440373"/>
                <a:gd name="connsiteX753" fmla="*/ 615144 w 1973984"/>
                <a:gd name="connsiteY753" fmla="*/ 1046938 h 1440373"/>
                <a:gd name="connsiteX754" fmla="*/ 605666 w 1973984"/>
                <a:gd name="connsiteY754" fmla="*/ 1046938 h 1440373"/>
                <a:gd name="connsiteX755" fmla="*/ 596142 w 1973984"/>
                <a:gd name="connsiteY755" fmla="*/ 1046938 h 1440373"/>
                <a:gd name="connsiteX756" fmla="*/ 591147 w 1973984"/>
                <a:gd name="connsiteY756" fmla="*/ 1046938 h 1440373"/>
                <a:gd name="connsiteX757" fmla="*/ 591147 w 1973984"/>
                <a:gd name="connsiteY757" fmla="*/ 1075941 h 1440373"/>
                <a:gd name="connsiteX758" fmla="*/ 586151 w 1973984"/>
                <a:gd name="connsiteY758" fmla="*/ 1075941 h 1440373"/>
                <a:gd name="connsiteX759" fmla="*/ 586151 w 1973984"/>
                <a:gd name="connsiteY759" fmla="*/ 1071465 h 1440373"/>
                <a:gd name="connsiteX760" fmla="*/ 581623 w 1973984"/>
                <a:gd name="connsiteY760" fmla="*/ 1071465 h 1440373"/>
                <a:gd name="connsiteX761" fmla="*/ 581623 w 1973984"/>
                <a:gd name="connsiteY761" fmla="*/ 1075941 h 1440373"/>
                <a:gd name="connsiteX762" fmla="*/ 562154 w 1973984"/>
                <a:gd name="connsiteY762" fmla="*/ 1081491 h 1440373"/>
                <a:gd name="connsiteX763" fmla="*/ 552630 w 1973984"/>
                <a:gd name="connsiteY763" fmla="*/ 1090980 h 1440373"/>
                <a:gd name="connsiteX764" fmla="*/ 547121 w 1973984"/>
                <a:gd name="connsiteY764" fmla="*/ 1085967 h 1440373"/>
                <a:gd name="connsiteX765" fmla="*/ 532135 w 1973984"/>
                <a:gd name="connsiteY765" fmla="*/ 1061976 h 1440373"/>
                <a:gd name="connsiteX766" fmla="*/ 527653 w 1973984"/>
                <a:gd name="connsiteY766" fmla="*/ 1046938 h 1440373"/>
                <a:gd name="connsiteX767" fmla="*/ 522611 w 1973984"/>
                <a:gd name="connsiteY767" fmla="*/ 1027423 h 1440373"/>
                <a:gd name="connsiteX768" fmla="*/ 522611 w 1973984"/>
                <a:gd name="connsiteY768" fmla="*/ 1012921 h 1440373"/>
                <a:gd name="connsiteX769" fmla="*/ 518129 w 1973984"/>
                <a:gd name="connsiteY769" fmla="*/ 1012921 h 1440373"/>
                <a:gd name="connsiteX770" fmla="*/ 518129 w 1973984"/>
                <a:gd name="connsiteY770" fmla="*/ 1007908 h 1440373"/>
                <a:gd name="connsiteX771" fmla="*/ 513133 w 1973984"/>
                <a:gd name="connsiteY771" fmla="*/ 1007908 h 1440373"/>
                <a:gd name="connsiteX772" fmla="*/ 503142 w 1973984"/>
                <a:gd name="connsiteY772" fmla="*/ 998419 h 1440373"/>
                <a:gd name="connsiteX773" fmla="*/ 498614 w 1973984"/>
                <a:gd name="connsiteY773" fmla="*/ 998419 h 1440373"/>
                <a:gd name="connsiteX774" fmla="*/ 498614 w 1973984"/>
                <a:gd name="connsiteY774" fmla="*/ 1007908 h 1440373"/>
                <a:gd name="connsiteX775" fmla="*/ 493618 w 1973984"/>
                <a:gd name="connsiteY775" fmla="*/ 1007908 h 1440373"/>
                <a:gd name="connsiteX776" fmla="*/ 474103 w 1973984"/>
                <a:gd name="connsiteY776" fmla="*/ 1022887 h 1440373"/>
                <a:gd name="connsiteX777" fmla="*/ 464112 w 1973984"/>
                <a:gd name="connsiteY777" fmla="*/ 1022887 h 1440373"/>
                <a:gd name="connsiteX778" fmla="*/ 464112 w 1973984"/>
                <a:gd name="connsiteY778" fmla="*/ 1017934 h 1440373"/>
                <a:gd name="connsiteX779" fmla="*/ 459117 w 1973984"/>
                <a:gd name="connsiteY779" fmla="*/ 1012921 h 1440373"/>
                <a:gd name="connsiteX780" fmla="*/ 454635 w 1973984"/>
                <a:gd name="connsiteY780" fmla="*/ 1017934 h 1440373"/>
                <a:gd name="connsiteX781" fmla="*/ 454635 w 1973984"/>
                <a:gd name="connsiteY781" fmla="*/ 1027423 h 1440373"/>
                <a:gd name="connsiteX782" fmla="*/ 449126 w 1973984"/>
                <a:gd name="connsiteY782" fmla="*/ 1032436 h 1440373"/>
                <a:gd name="connsiteX783" fmla="*/ 454635 w 1973984"/>
                <a:gd name="connsiteY783" fmla="*/ 1046938 h 1440373"/>
                <a:gd name="connsiteX784" fmla="*/ 449126 w 1973984"/>
                <a:gd name="connsiteY784" fmla="*/ 1046938 h 1440373"/>
                <a:gd name="connsiteX785" fmla="*/ 430124 w 1973984"/>
                <a:gd name="connsiteY785" fmla="*/ 1056426 h 1440373"/>
                <a:gd name="connsiteX786" fmla="*/ 425596 w 1973984"/>
                <a:gd name="connsiteY786" fmla="*/ 1046938 h 1440373"/>
                <a:gd name="connsiteX787" fmla="*/ 420087 w 1973984"/>
                <a:gd name="connsiteY787" fmla="*/ 1042462 h 1440373"/>
                <a:gd name="connsiteX788" fmla="*/ 415605 w 1973984"/>
                <a:gd name="connsiteY788" fmla="*/ 1036911 h 1440373"/>
                <a:gd name="connsiteX789" fmla="*/ 410609 w 1973984"/>
                <a:gd name="connsiteY789" fmla="*/ 1036911 h 1440373"/>
                <a:gd name="connsiteX790" fmla="*/ 400618 w 1973984"/>
                <a:gd name="connsiteY790" fmla="*/ 1046938 h 1440373"/>
                <a:gd name="connsiteX791" fmla="*/ 400618 w 1973984"/>
                <a:gd name="connsiteY791" fmla="*/ 1056426 h 1440373"/>
                <a:gd name="connsiteX792" fmla="*/ 400618 w 1973984"/>
                <a:gd name="connsiteY792" fmla="*/ 1061976 h 1440373"/>
                <a:gd name="connsiteX793" fmla="*/ 400618 w 1973984"/>
                <a:gd name="connsiteY793" fmla="*/ 1071465 h 1440373"/>
                <a:gd name="connsiteX794" fmla="*/ 400618 w 1973984"/>
                <a:gd name="connsiteY794" fmla="*/ 1075941 h 1440373"/>
                <a:gd name="connsiteX795" fmla="*/ 395576 w 1973984"/>
                <a:gd name="connsiteY795" fmla="*/ 1075941 h 1440373"/>
                <a:gd name="connsiteX796" fmla="*/ 385585 w 1973984"/>
                <a:gd name="connsiteY796" fmla="*/ 1075941 h 1440373"/>
                <a:gd name="connsiteX797" fmla="*/ 391094 w 1973984"/>
                <a:gd name="connsiteY797" fmla="*/ 1081491 h 1440373"/>
                <a:gd name="connsiteX798" fmla="*/ 385585 w 1973984"/>
                <a:gd name="connsiteY798" fmla="*/ 1081491 h 1440373"/>
                <a:gd name="connsiteX799" fmla="*/ 376108 w 1973984"/>
                <a:gd name="connsiteY799" fmla="*/ 1095456 h 1440373"/>
                <a:gd name="connsiteX800" fmla="*/ 381103 w 1973984"/>
                <a:gd name="connsiteY800" fmla="*/ 1105482 h 1440373"/>
                <a:gd name="connsiteX801" fmla="*/ 381103 w 1973984"/>
                <a:gd name="connsiteY801" fmla="*/ 1110495 h 1440373"/>
                <a:gd name="connsiteX802" fmla="*/ 376108 w 1973984"/>
                <a:gd name="connsiteY802" fmla="*/ 1114971 h 1440373"/>
                <a:gd name="connsiteX803" fmla="*/ 371579 w 1973984"/>
                <a:gd name="connsiteY803" fmla="*/ 1130010 h 1440373"/>
                <a:gd name="connsiteX804" fmla="*/ 376108 w 1973984"/>
                <a:gd name="connsiteY804" fmla="*/ 1139499 h 1440373"/>
                <a:gd name="connsiteX805" fmla="*/ 366584 w 1973984"/>
                <a:gd name="connsiteY805" fmla="*/ 1139499 h 1440373"/>
                <a:gd name="connsiteX806" fmla="*/ 356593 w 1973984"/>
                <a:gd name="connsiteY806" fmla="*/ 1169039 h 1440373"/>
                <a:gd name="connsiteX807" fmla="*/ 352111 w 1973984"/>
                <a:gd name="connsiteY807" fmla="*/ 1178528 h 1440373"/>
                <a:gd name="connsiteX808" fmla="*/ 347069 w 1973984"/>
                <a:gd name="connsiteY808" fmla="*/ 1178528 h 1440373"/>
                <a:gd name="connsiteX809" fmla="*/ 347069 w 1973984"/>
                <a:gd name="connsiteY809" fmla="*/ 1173575 h 1440373"/>
                <a:gd name="connsiteX810" fmla="*/ 337078 w 1973984"/>
                <a:gd name="connsiteY810" fmla="*/ 1163549 h 1440373"/>
                <a:gd name="connsiteX811" fmla="*/ 332596 w 1973984"/>
                <a:gd name="connsiteY811" fmla="*/ 1139499 h 1440373"/>
                <a:gd name="connsiteX812" fmla="*/ 327600 w 1973984"/>
                <a:gd name="connsiteY812" fmla="*/ 1130010 h 1440373"/>
                <a:gd name="connsiteX813" fmla="*/ 332596 w 1973984"/>
                <a:gd name="connsiteY813" fmla="*/ 1124997 h 1440373"/>
                <a:gd name="connsiteX814" fmla="*/ 327600 w 1973984"/>
                <a:gd name="connsiteY814" fmla="*/ 1114971 h 1440373"/>
                <a:gd name="connsiteX815" fmla="*/ 327600 w 1973984"/>
                <a:gd name="connsiteY815" fmla="*/ 1110495 h 1440373"/>
                <a:gd name="connsiteX816" fmla="*/ 332596 w 1973984"/>
                <a:gd name="connsiteY816" fmla="*/ 1114971 h 1440373"/>
                <a:gd name="connsiteX817" fmla="*/ 337078 w 1973984"/>
                <a:gd name="connsiteY817" fmla="*/ 1105482 h 1440373"/>
                <a:gd name="connsiteX818" fmla="*/ 327600 w 1973984"/>
                <a:gd name="connsiteY818" fmla="*/ 1101006 h 1440373"/>
                <a:gd name="connsiteX819" fmla="*/ 322091 w 1973984"/>
                <a:gd name="connsiteY819" fmla="*/ 1105482 h 1440373"/>
                <a:gd name="connsiteX820" fmla="*/ 317563 w 1973984"/>
                <a:gd name="connsiteY820" fmla="*/ 1095456 h 1440373"/>
                <a:gd name="connsiteX821" fmla="*/ 312567 w 1973984"/>
                <a:gd name="connsiteY821" fmla="*/ 1095456 h 1440373"/>
                <a:gd name="connsiteX822" fmla="*/ 308085 w 1973984"/>
                <a:gd name="connsiteY822" fmla="*/ 1056426 h 1440373"/>
                <a:gd name="connsiteX823" fmla="*/ 302576 w 1973984"/>
                <a:gd name="connsiteY823" fmla="*/ 1051950 h 1440373"/>
                <a:gd name="connsiteX824" fmla="*/ 283575 w 1973984"/>
                <a:gd name="connsiteY824" fmla="*/ 1056426 h 1440373"/>
                <a:gd name="connsiteX825" fmla="*/ 273584 w 1973984"/>
                <a:gd name="connsiteY825" fmla="*/ 1066452 h 1440373"/>
                <a:gd name="connsiteX826" fmla="*/ 269055 w 1973984"/>
                <a:gd name="connsiteY826" fmla="*/ 1061976 h 1440373"/>
                <a:gd name="connsiteX827" fmla="*/ 273584 w 1973984"/>
                <a:gd name="connsiteY827" fmla="*/ 1046938 h 1440373"/>
                <a:gd name="connsiteX828" fmla="*/ 273584 w 1973984"/>
                <a:gd name="connsiteY828" fmla="*/ 1032436 h 1440373"/>
                <a:gd name="connsiteX829" fmla="*/ 259578 w 1973984"/>
                <a:gd name="connsiteY829" fmla="*/ 1017934 h 1440373"/>
                <a:gd name="connsiteX830" fmla="*/ 254069 w 1973984"/>
                <a:gd name="connsiteY830" fmla="*/ 1027423 h 1440373"/>
                <a:gd name="connsiteX831" fmla="*/ 249073 w 1973984"/>
                <a:gd name="connsiteY831" fmla="*/ 1022887 h 1440373"/>
                <a:gd name="connsiteX832" fmla="*/ 244545 w 1973984"/>
                <a:gd name="connsiteY832" fmla="*/ 1036911 h 1440373"/>
                <a:gd name="connsiteX833" fmla="*/ 239082 w 1973984"/>
                <a:gd name="connsiteY833" fmla="*/ 1036911 h 1440373"/>
                <a:gd name="connsiteX834" fmla="*/ 234554 w 1973984"/>
                <a:gd name="connsiteY834" fmla="*/ 1042462 h 1440373"/>
                <a:gd name="connsiteX835" fmla="*/ 225076 w 1973984"/>
                <a:gd name="connsiteY835" fmla="*/ 1056426 h 1440373"/>
                <a:gd name="connsiteX836" fmla="*/ 220034 w 1973984"/>
                <a:gd name="connsiteY836" fmla="*/ 1056426 h 1440373"/>
                <a:gd name="connsiteX837" fmla="*/ 205561 w 1973984"/>
                <a:gd name="connsiteY837" fmla="*/ 1071465 h 1440373"/>
                <a:gd name="connsiteX838" fmla="*/ 210043 w 1973984"/>
                <a:gd name="connsiteY838" fmla="*/ 1075941 h 1440373"/>
                <a:gd name="connsiteX839" fmla="*/ 205561 w 1973984"/>
                <a:gd name="connsiteY839" fmla="*/ 1081491 h 1440373"/>
                <a:gd name="connsiteX840" fmla="*/ 205561 w 1973984"/>
                <a:gd name="connsiteY840" fmla="*/ 1101006 h 1440373"/>
                <a:gd name="connsiteX841" fmla="*/ 200566 w 1973984"/>
                <a:gd name="connsiteY841" fmla="*/ 1105482 h 1440373"/>
                <a:gd name="connsiteX842" fmla="*/ 190528 w 1973984"/>
                <a:gd name="connsiteY842" fmla="*/ 1105482 h 1440373"/>
                <a:gd name="connsiteX843" fmla="*/ 186046 w 1973984"/>
                <a:gd name="connsiteY843" fmla="*/ 1119984 h 1440373"/>
                <a:gd name="connsiteX844" fmla="*/ 186046 w 1973984"/>
                <a:gd name="connsiteY844" fmla="*/ 1130010 h 1440373"/>
                <a:gd name="connsiteX845" fmla="*/ 190528 w 1973984"/>
                <a:gd name="connsiteY845" fmla="*/ 1130010 h 1440373"/>
                <a:gd name="connsiteX846" fmla="*/ 186046 w 1973984"/>
                <a:gd name="connsiteY846" fmla="*/ 1134486 h 1440373"/>
                <a:gd name="connsiteX847" fmla="*/ 181051 w 1973984"/>
                <a:gd name="connsiteY847" fmla="*/ 1144034 h 1440373"/>
                <a:gd name="connsiteX848" fmla="*/ 171060 w 1973984"/>
                <a:gd name="connsiteY848" fmla="*/ 1149525 h 1440373"/>
                <a:gd name="connsiteX849" fmla="*/ 166064 w 1973984"/>
                <a:gd name="connsiteY849" fmla="*/ 1154060 h 1440373"/>
                <a:gd name="connsiteX850" fmla="*/ 161536 w 1973984"/>
                <a:gd name="connsiteY850" fmla="*/ 1173575 h 1440373"/>
                <a:gd name="connsiteX851" fmla="*/ 156027 w 1973984"/>
                <a:gd name="connsiteY851" fmla="*/ 1173575 h 1440373"/>
                <a:gd name="connsiteX852" fmla="*/ 151545 w 1973984"/>
                <a:gd name="connsiteY852" fmla="*/ 1178528 h 1440373"/>
                <a:gd name="connsiteX853" fmla="*/ 146549 w 1973984"/>
                <a:gd name="connsiteY853" fmla="*/ 1178528 h 1440373"/>
                <a:gd name="connsiteX854" fmla="*/ 142021 w 1973984"/>
                <a:gd name="connsiteY854" fmla="*/ 1183064 h 1440373"/>
                <a:gd name="connsiteX855" fmla="*/ 127034 w 1973984"/>
                <a:gd name="connsiteY855" fmla="*/ 1178528 h 1440373"/>
                <a:gd name="connsiteX856" fmla="*/ 122552 w 1973984"/>
                <a:gd name="connsiteY856" fmla="*/ 1178528 h 1440373"/>
                <a:gd name="connsiteX857" fmla="*/ 113028 w 1973984"/>
                <a:gd name="connsiteY857" fmla="*/ 1178528 h 1440373"/>
                <a:gd name="connsiteX858" fmla="*/ 102524 w 1973984"/>
                <a:gd name="connsiteY858" fmla="*/ 1178528 h 1440373"/>
                <a:gd name="connsiteX859" fmla="*/ 102524 w 1973984"/>
                <a:gd name="connsiteY859" fmla="*/ 1169039 h 1440373"/>
                <a:gd name="connsiteX860" fmla="*/ 98042 w 1973984"/>
                <a:gd name="connsiteY860" fmla="*/ 1169039 h 1440373"/>
                <a:gd name="connsiteX861" fmla="*/ 78527 w 1973984"/>
                <a:gd name="connsiteY861" fmla="*/ 1169039 h 1440373"/>
                <a:gd name="connsiteX862" fmla="*/ 68536 w 1973984"/>
                <a:gd name="connsiteY862" fmla="*/ 1173575 h 1440373"/>
                <a:gd name="connsiteX863" fmla="*/ 63494 w 1973984"/>
                <a:gd name="connsiteY863" fmla="*/ 1173575 h 1440373"/>
                <a:gd name="connsiteX864" fmla="*/ 54016 w 1973984"/>
                <a:gd name="connsiteY864" fmla="*/ 1178528 h 1440373"/>
                <a:gd name="connsiteX865" fmla="*/ 59012 w 1973984"/>
                <a:gd name="connsiteY865" fmla="*/ 1193090 h 1440373"/>
                <a:gd name="connsiteX866" fmla="*/ 49534 w 1973984"/>
                <a:gd name="connsiteY866" fmla="*/ 1193090 h 1440373"/>
                <a:gd name="connsiteX867" fmla="*/ 39497 w 1973984"/>
                <a:gd name="connsiteY867" fmla="*/ 1183064 h 1440373"/>
                <a:gd name="connsiteX868" fmla="*/ 39497 w 1973984"/>
                <a:gd name="connsiteY868" fmla="*/ 1173575 h 1440373"/>
                <a:gd name="connsiteX869" fmla="*/ 39497 w 1973984"/>
                <a:gd name="connsiteY869" fmla="*/ 1163549 h 1440373"/>
                <a:gd name="connsiteX870" fmla="*/ 34501 w 1973984"/>
                <a:gd name="connsiteY870" fmla="*/ 1149525 h 1440373"/>
                <a:gd name="connsiteX871" fmla="*/ 24510 w 1973984"/>
                <a:gd name="connsiteY871" fmla="*/ 1154060 h 1440373"/>
                <a:gd name="connsiteX872" fmla="*/ 19515 w 1973984"/>
                <a:gd name="connsiteY872" fmla="*/ 1149525 h 1440373"/>
                <a:gd name="connsiteX873" fmla="*/ 24510 w 1973984"/>
                <a:gd name="connsiteY873" fmla="*/ 1144034 h 1440373"/>
                <a:gd name="connsiteX874" fmla="*/ 28992 w 1973984"/>
                <a:gd name="connsiteY874" fmla="*/ 1139499 h 1440373"/>
                <a:gd name="connsiteX875" fmla="*/ 28992 w 1973984"/>
                <a:gd name="connsiteY875" fmla="*/ 1119984 h 1440373"/>
                <a:gd name="connsiteX876" fmla="*/ 28992 w 1973984"/>
                <a:gd name="connsiteY876" fmla="*/ 1110495 h 1440373"/>
                <a:gd name="connsiteX877" fmla="*/ 39497 w 1973984"/>
                <a:gd name="connsiteY877" fmla="*/ 1105482 h 1440373"/>
                <a:gd name="connsiteX878" fmla="*/ 39497 w 1973984"/>
                <a:gd name="connsiteY878" fmla="*/ 1101006 h 1440373"/>
                <a:gd name="connsiteX879" fmla="*/ 39497 w 1973984"/>
                <a:gd name="connsiteY879" fmla="*/ 1095456 h 1440373"/>
                <a:gd name="connsiteX880" fmla="*/ 34501 w 1973984"/>
                <a:gd name="connsiteY880" fmla="*/ 1095456 h 1440373"/>
                <a:gd name="connsiteX881" fmla="*/ 34501 w 1973984"/>
                <a:gd name="connsiteY881" fmla="*/ 1085967 h 1440373"/>
                <a:gd name="connsiteX882" fmla="*/ 28992 w 1973984"/>
                <a:gd name="connsiteY882" fmla="*/ 1085967 h 1440373"/>
                <a:gd name="connsiteX883" fmla="*/ 24510 w 1973984"/>
                <a:gd name="connsiteY883" fmla="*/ 1081491 h 1440373"/>
                <a:gd name="connsiteX884" fmla="*/ 24510 w 1973984"/>
                <a:gd name="connsiteY884" fmla="*/ 1071465 h 1440373"/>
                <a:gd name="connsiteX885" fmla="*/ 14986 w 1973984"/>
                <a:gd name="connsiteY885" fmla="*/ 1066452 h 1440373"/>
                <a:gd name="connsiteX886" fmla="*/ 9524 w 1973984"/>
                <a:gd name="connsiteY886" fmla="*/ 1051950 h 1440373"/>
                <a:gd name="connsiteX887" fmla="*/ 4995 w 1973984"/>
                <a:gd name="connsiteY887" fmla="*/ 1036911 h 1440373"/>
                <a:gd name="connsiteX888" fmla="*/ 14986 w 1973984"/>
                <a:gd name="connsiteY888" fmla="*/ 1032436 h 1440373"/>
                <a:gd name="connsiteX889" fmla="*/ 4995 w 1973984"/>
                <a:gd name="connsiteY889" fmla="*/ 1017934 h 1440373"/>
                <a:gd name="connsiteX890" fmla="*/ 0 w 1973984"/>
                <a:gd name="connsiteY890" fmla="*/ 1012921 h 1440373"/>
                <a:gd name="connsiteX891" fmla="*/ 0 w 1973984"/>
                <a:gd name="connsiteY891" fmla="*/ 998419 h 1440373"/>
                <a:gd name="connsiteX892" fmla="*/ 9524 w 1973984"/>
                <a:gd name="connsiteY892" fmla="*/ 993883 h 1440373"/>
                <a:gd name="connsiteX893" fmla="*/ 24510 w 1973984"/>
                <a:gd name="connsiteY893" fmla="*/ 993883 h 1440373"/>
                <a:gd name="connsiteX894" fmla="*/ 28992 w 1973984"/>
                <a:gd name="connsiteY894" fmla="*/ 983857 h 1440373"/>
                <a:gd name="connsiteX895" fmla="*/ 19515 w 1973984"/>
                <a:gd name="connsiteY895" fmla="*/ 968878 h 1440373"/>
                <a:gd name="connsiteX896" fmla="*/ 14986 w 1973984"/>
                <a:gd name="connsiteY896" fmla="*/ 964343 h 1440373"/>
                <a:gd name="connsiteX897" fmla="*/ 9524 w 1973984"/>
                <a:gd name="connsiteY897" fmla="*/ 954854 h 1440373"/>
                <a:gd name="connsiteX898" fmla="*/ 9524 w 1973984"/>
                <a:gd name="connsiteY898" fmla="*/ 949363 h 1440373"/>
                <a:gd name="connsiteX899" fmla="*/ 24510 w 1973984"/>
                <a:gd name="connsiteY899" fmla="*/ 939815 h 1440373"/>
                <a:gd name="connsiteX900" fmla="*/ 39497 w 1973984"/>
                <a:gd name="connsiteY900" fmla="*/ 939815 h 1440373"/>
                <a:gd name="connsiteX901" fmla="*/ 44025 w 1973984"/>
                <a:gd name="connsiteY901" fmla="*/ 910811 h 1440373"/>
                <a:gd name="connsiteX902" fmla="*/ 54016 w 1973984"/>
                <a:gd name="connsiteY902" fmla="*/ 905798 h 1440373"/>
                <a:gd name="connsiteX903" fmla="*/ 54016 w 1973984"/>
                <a:gd name="connsiteY903" fmla="*/ 896309 h 1440373"/>
                <a:gd name="connsiteX904" fmla="*/ 59012 w 1973984"/>
                <a:gd name="connsiteY904" fmla="*/ 896309 h 1440373"/>
                <a:gd name="connsiteX905" fmla="*/ 59012 w 1973984"/>
                <a:gd name="connsiteY905" fmla="*/ 891296 h 1440373"/>
                <a:gd name="connsiteX906" fmla="*/ 54016 w 1973984"/>
                <a:gd name="connsiteY906" fmla="*/ 891296 h 1440373"/>
                <a:gd name="connsiteX907" fmla="*/ 49534 w 1973984"/>
                <a:gd name="connsiteY907" fmla="*/ 881270 h 1440373"/>
                <a:gd name="connsiteX908" fmla="*/ 49534 w 1973984"/>
                <a:gd name="connsiteY908" fmla="*/ 867246 h 1440373"/>
                <a:gd name="connsiteX909" fmla="*/ 49534 w 1973984"/>
                <a:gd name="connsiteY909" fmla="*/ 861756 h 1440373"/>
                <a:gd name="connsiteX910" fmla="*/ 59012 w 1973984"/>
                <a:gd name="connsiteY910" fmla="*/ 857280 h 1440373"/>
                <a:gd name="connsiteX911" fmla="*/ 63494 w 1973984"/>
                <a:gd name="connsiteY911" fmla="*/ 837765 h 1440373"/>
                <a:gd name="connsiteX912" fmla="*/ 73531 w 1973984"/>
                <a:gd name="connsiteY912" fmla="*/ 837765 h 1440373"/>
                <a:gd name="connsiteX913" fmla="*/ 73531 w 1973984"/>
                <a:gd name="connsiteY913" fmla="*/ 832752 h 1440373"/>
                <a:gd name="connsiteX914" fmla="*/ 73531 w 1973984"/>
                <a:gd name="connsiteY914" fmla="*/ 828216 h 1440373"/>
                <a:gd name="connsiteX915" fmla="*/ 78527 w 1973984"/>
                <a:gd name="connsiteY915" fmla="*/ 828216 h 1440373"/>
                <a:gd name="connsiteX916" fmla="*/ 83009 w 1973984"/>
                <a:gd name="connsiteY916" fmla="*/ 828216 h 1440373"/>
                <a:gd name="connsiteX917" fmla="*/ 88004 w 1973984"/>
                <a:gd name="connsiteY917" fmla="*/ 813237 h 1440373"/>
                <a:gd name="connsiteX918" fmla="*/ 98042 w 1973984"/>
                <a:gd name="connsiteY918" fmla="*/ 808701 h 1440373"/>
                <a:gd name="connsiteX919" fmla="*/ 102524 w 1973984"/>
                <a:gd name="connsiteY919" fmla="*/ 808701 h 1440373"/>
                <a:gd name="connsiteX920" fmla="*/ 107519 w 1973984"/>
                <a:gd name="connsiteY920" fmla="*/ 798735 h 1440373"/>
                <a:gd name="connsiteX921" fmla="*/ 107519 w 1973984"/>
                <a:gd name="connsiteY921" fmla="*/ 793722 h 1440373"/>
                <a:gd name="connsiteX922" fmla="*/ 113028 w 1973984"/>
                <a:gd name="connsiteY922" fmla="*/ 793722 h 1440373"/>
                <a:gd name="connsiteX923" fmla="*/ 113028 w 1973984"/>
                <a:gd name="connsiteY923" fmla="*/ 779698 h 1440373"/>
                <a:gd name="connsiteX924" fmla="*/ 113028 w 1973984"/>
                <a:gd name="connsiteY924" fmla="*/ 774207 h 1440373"/>
                <a:gd name="connsiteX925" fmla="*/ 113028 w 1973984"/>
                <a:gd name="connsiteY925" fmla="*/ 769672 h 1440373"/>
                <a:gd name="connsiteX926" fmla="*/ 107519 w 1973984"/>
                <a:gd name="connsiteY926" fmla="*/ 760183 h 1440373"/>
                <a:gd name="connsiteX927" fmla="*/ 113028 w 1973984"/>
                <a:gd name="connsiteY927" fmla="*/ 760183 h 1440373"/>
                <a:gd name="connsiteX928" fmla="*/ 122552 w 1973984"/>
                <a:gd name="connsiteY928" fmla="*/ 760183 h 1440373"/>
                <a:gd name="connsiteX929" fmla="*/ 132030 w 1973984"/>
                <a:gd name="connsiteY929" fmla="*/ 769672 h 1440373"/>
                <a:gd name="connsiteX930" fmla="*/ 142021 w 1973984"/>
                <a:gd name="connsiteY930" fmla="*/ 774207 h 1440373"/>
                <a:gd name="connsiteX931" fmla="*/ 146549 w 1973984"/>
                <a:gd name="connsiteY931" fmla="*/ 774207 h 1440373"/>
                <a:gd name="connsiteX932" fmla="*/ 151545 w 1973984"/>
                <a:gd name="connsiteY932" fmla="*/ 779698 h 1440373"/>
                <a:gd name="connsiteX933" fmla="*/ 151545 w 1973984"/>
                <a:gd name="connsiteY933" fmla="*/ 784174 h 1440373"/>
                <a:gd name="connsiteX934" fmla="*/ 156027 w 1973984"/>
                <a:gd name="connsiteY934" fmla="*/ 784174 h 1440373"/>
                <a:gd name="connsiteX935" fmla="*/ 161536 w 1973984"/>
                <a:gd name="connsiteY935" fmla="*/ 779698 h 1440373"/>
                <a:gd name="connsiteX936" fmla="*/ 175542 w 1973984"/>
                <a:gd name="connsiteY936" fmla="*/ 779698 h 1440373"/>
                <a:gd name="connsiteX937" fmla="*/ 175542 w 1973984"/>
                <a:gd name="connsiteY937" fmla="*/ 764659 h 1440373"/>
                <a:gd name="connsiteX938" fmla="*/ 161536 w 1973984"/>
                <a:gd name="connsiteY938" fmla="*/ 760183 h 1440373"/>
                <a:gd name="connsiteX939" fmla="*/ 161536 w 1973984"/>
                <a:gd name="connsiteY939" fmla="*/ 745144 h 1440373"/>
                <a:gd name="connsiteX940" fmla="*/ 161536 w 1973984"/>
                <a:gd name="connsiteY940" fmla="*/ 740668 h 1440373"/>
                <a:gd name="connsiteX941" fmla="*/ 166064 w 1973984"/>
                <a:gd name="connsiteY941" fmla="*/ 730642 h 1440373"/>
                <a:gd name="connsiteX942" fmla="*/ 166064 w 1973984"/>
                <a:gd name="connsiteY942" fmla="*/ 725629 h 1440373"/>
                <a:gd name="connsiteX943" fmla="*/ 171060 w 1973984"/>
                <a:gd name="connsiteY943" fmla="*/ 715663 h 1440373"/>
                <a:gd name="connsiteX944" fmla="*/ 166064 w 1973984"/>
                <a:gd name="connsiteY944" fmla="*/ 711127 h 1440373"/>
                <a:gd name="connsiteX945" fmla="*/ 171060 w 1973984"/>
                <a:gd name="connsiteY945" fmla="*/ 701639 h 1440373"/>
                <a:gd name="connsiteX946" fmla="*/ 166064 w 1973984"/>
                <a:gd name="connsiteY946" fmla="*/ 696626 h 1440373"/>
                <a:gd name="connsiteX947" fmla="*/ 171060 w 1973984"/>
                <a:gd name="connsiteY947" fmla="*/ 686600 h 1440373"/>
                <a:gd name="connsiteX948" fmla="*/ 171060 w 1973984"/>
                <a:gd name="connsiteY948" fmla="*/ 682124 h 1440373"/>
                <a:gd name="connsiteX949" fmla="*/ 161536 w 1973984"/>
                <a:gd name="connsiteY949" fmla="*/ 682124 h 1440373"/>
                <a:gd name="connsiteX950" fmla="*/ 151545 w 1973984"/>
                <a:gd name="connsiteY950" fmla="*/ 657596 h 1440373"/>
                <a:gd name="connsiteX951" fmla="*/ 156027 w 1973984"/>
                <a:gd name="connsiteY951" fmla="*/ 653060 h 1440373"/>
                <a:gd name="connsiteX952" fmla="*/ 156027 w 1973984"/>
                <a:gd name="connsiteY952" fmla="*/ 638081 h 1440373"/>
                <a:gd name="connsiteX953" fmla="*/ 171060 w 1973984"/>
                <a:gd name="connsiteY953" fmla="*/ 638081 h 1440373"/>
                <a:gd name="connsiteX954" fmla="*/ 171060 w 1973984"/>
                <a:gd name="connsiteY954" fmla="*/ 628055 h 1440373"/>
                <a:gd name="connsiteX955" fmla="*/ 175542 w 1973984"/>
                <a:gd name="connsiteY955" fmla="*/ 623579 h 1440373"/>
                <a:gd name="connsiteX956" fmla="*/ 171060 w 1973984"/>
                <a:gd name="connsiteY956" fmla="*/ 614031 h 1440373"/>
                <a:gd name="connsiteX957" fmla="*/ 175542 w 1973984"/>
                <a:gd name="connsiteY957" fmla="*/ 608540 h 1440373"/>
                <a:gd name="connsiteX958" fmla="*/ 175542 w 1973984"/>
                <a:gd name="connsiteY958" fmla="*/ 604064 h 1440373"/>
                <a:gd name="connsiteX959" fmla="*/ 171060 w 1973984"/>
                <a:gd name="connsiteY959" fmla="*/ 604064 h 1440373"/>
                <a:gd name="connsiteX960" fmla="*/ 171060 w 1973984"/>
                <a:gd name="connsiteY960" fmla="*/ 594516 h 1440373"/>
                <a:gd name="connsiteX961" fmla="*/ 161536 w 1973984"/>
                <a:gd name="connsiteY961" fmla="*/ 585027 h 1440373"/>
                <a:gd name="connsiteX962" fmla="*/ 151545 w 1973984"/>
                <a:gd name="connsiteY962" fmla="*/ 569988 h 1440373"/>
                <a:gd name="connsiteX963" fmla="*/ 137025 w 1973984"/>
                <a:gd name="connsiteY963" fmla="*/ 565512 h 1440373"/>
                <a:gd name="connsiteX964" fmla="*/ 137025 w 1973984"/>
                <a:gd name="connsiteY964" fmla="*/ 555486 h 1440373"/>
                <a:gd name="connsiteX965" fmla="*/ 122552 w 1973984"/>
                <a:gd name="connsiteY965" fmla="*/ 530958 h 1440373"/>
                <a:gd name="connsiteX966" fmla="*/ 127034 w 1973984"/>
                <a:gd name="connsiteY966" fmla="*/ 526483 h 1440373"/>
                <a:gd name="connsiteX967" fmla="*/ 132030 w 1973984"/>
                <a:gd name="connsiteY967" fmla="*/ 530958 h 1440373"/>
                <a:gd name="connsiteX968" fmla="*/ 142021 w 1973984"/>
                <a:gd name="connsiteY968" fmla="*/ 526483 h 1440373"/>
                <a:gd name="connsiteX969" fmla="*/ 142021 w 1973984"/>
                <a:gd name="connsiteY969" fmla="*/ 520992 h 1440373"/>
                <a:gd name="connsiteX970" fmla="*/ 146549 w 1973984"/>
                <a:gd name="connsiteY970" fmla="*/ 520992 h 1440373"/>
                <a:gd name="connsiteX971" fmla="*/ 142021 w 1973984"/>
                <a:gd name="connsiteY971" fmla="*/ 511444 h 1440373"/>
                <a:gd name="connsiteX972" fmla="*/ 151545 w 1973984"/>
                <a:gd name="connsiteY972" fmla="*/ 511444 h 1440373"/>
                <a:gd name="connsiteX973" fmla="*/ 161536 w 1973984"/>
                <a:gd name="connsiteY973" fmla="*/ 511444 h 1440373"/>
                <a:gd name="connsiteX974" fmla="*/ 166064 w 1973984"/>
                <a:gd name="connsiteY974" fmla="*/ 506968 h 1440373"/>
                <a:gd name="connsiteX975" fmla="*/ 186046 w 1973984"/>
                <a:gd name="connsiteY975" fmla="*/ 487453 h 1440373"/>
                <a:gd name="connsiteX976" fmla="*/ 181051 w 1973984"/>
                <a:gd name="connsiteY976" fmla="*/ 482440 h 1440373"/>
                <a:gd name="connsiteX977" fmla="*/ 186046 w 1973984"/>
                <a:gd name="connsiteY977" fmla="*/ 472414 h 1440373"/>
                <a:gd name="connsiteX978" fmla="*/ 190528 w 1973984"/>
                <a:gd name="connsiteY978" fmla="*/ 467938 h 1440373"/>
                <a:gd name="connsiteX979" fmla="*/ 190528 w 1973984"/>
                <a:gd name="connsiteY979" fmla="*/ 462925 h 1440373"/>
                <a:gd name="connsiteX980" fmla="*/ 205561 w 1973984"/>
                <a:gd name="connsiteY980" fmla="*/ 458390 h 1440373"/>
                <a:gd name="connsiteX981" fmla="*/ 205561 w 1973984"/>
                <a:gd name="connsiteY981" fmla="*/ 452899 h 1440373"/>
                <a:gd name="connsiteX982" fmla="*/ 200566 w 1973984"/>
                <a:gd name="connsiteY982" fmla="*/ 443410 h 1440373"/>
                <a:gd name="connsiteX983" fmla="*/ 205561 w 1973984"/>
                <a:gd name="connsiteY983" fmla="*/ 428908 h 1440373"/>
                <a:gd name="connsiteX984" fmla="*/ 205561 w 1973984"/>
                <a:gd name="connsiteY984" fmla="*/ 419360 h 1440373"/>
                <a:gd name="connsiteX985" fmla="*/ 196037 w 1973984"/>
                <a:gd name="connsiteY985" fmla="*/ 413869 h 1440373"/>
                <a:gd name="connsiteX986" fmla="*/ 186046 w 1973984"/>
                <a:gd name="connsiteY986" fmla="*/ 389819 h 1440373"/>
                <a:gd name="connsiteX987" fmla="*/ 186046 w 1973984"/>
                <a:gd name="connsiteY987" fmla="*/ 384866 h 1440373"/>
                <a:gd name="connsiteX988" fmla="*/ 186046 w 1973984"/>
                <a:gd name="connsiteY988" fmla="*/ 375317 h 1440373"/>
                <a:gd name="connsiteX989" fmla="*/ 190528 w 1973984"/>
                <a:gd name="connsiteY989" fmla="*/ 360815 h 1440373"/>
                <a:gd name="connsiteX990" fmla="*/ 186046 w 1973984"/>
                <a:gd name="connsiteY990" fmla="*/ 345836 h 1440373"/>
                <a:gd name="connsiteX991" fmla="*/ 175542 w 1973984"/>
                <a:gd name="connsiteY991" fmla="*/ 336288 h 1440373"/>
                <a:gd name="connsiteX992" fmla="*/ 175542 w 1973984"/>
                <a:gd name="connsiteY992" fmla="*/ 326321 h 1440373"/>
                <a:gd name="connsiteX993" fmla="*/ 171060 w 1973984"/>
                <a:gd name="connsiteY993" fmla="*/ 312297 h 1440373"/>
                <a:gd name="connsiteX994" fmla="*/ 171060 w 1973984"/>
                <a:gd name="connsiteY994" fmla="*/ 306747 h 1440373"/>
                <a:gd name="connsiteX995" fmla="*/ 161536 w 1973984"/>
                <a:gd name="connsiteY995" fmla="*/ 302271 h 1440373"/>
                <a:gd name="connsiteX996" fmla="*/ 156027 w 1973984"/>
                <a:gd name="connsiteY996" fmla="*/ 287769 h 1440373"/>
                <a:gd name="connsiteX997" fmla="*/ 142021 w 1973984"/>
                <a:gd name="connsiteY997" fmla="*/ 277743 h 1440373"/>
                <a:gd name="connsiteX998" fmla="*/ 137025 w 1973984"/>
                <a:gd name="connsiteY998" fmla="*/ 277743 h 1440373"/>
                <a:gd name="connsiteX999" fmla="*/ 137025 w 1973984"/>
                <a:gd name="connsiteY999" fmla="*/ 282756 h 1440373"/>
                <a:gd name="connsiteX1000" fmla="*/ 132030 w 1973984"/>
                <a:gd name="connsiteY1000" fmla="*/ 282756 h 1440373"/>
                <a:gd name="connsiteX1001" fmla="*/ 132030 w 1973984"/>
                <a:gd name="connsiteY1001" fmla="*/ 273267 h 1440373"/>
                <a:gd name="connsiteX1002" fmla="*/ 122552 w 1973984"/>
                <a:gd name="connsiteY1002" fmla="*/ 258228 h 1440373"/>
                <a:gd name="connsiteX1003" fmla="*/ 117510 w 1973984"/>
                <a:gd name="connsiteY1003" fmla="*/ 268254 h 1440373"/>
                <a:gd name="connsiteX1004" fmla="*/ 113028 w 1973984"/>
                <a:gd name="connsiteY1004" fmla="*/ 268254 h 1440373"/>
                <a:gd name="connsiteX1005" fmla="*/ 107519 w 1973984"/>
                <a:gd name="connsiteY1005" fmla="*/ 258228 h 1440373"/>
                <a:gd name="connsiteX1006" fmla="*/ 102524 w 1973984"/>
                <a:gd name="connsiteY1006" fmla="*/ 262764 h 1440373"/>
                <a:gd name="connsiteX1007" fmla="*/ 92533 w 1973984"/>
                <a:gd name="connsiteY1007" fmla="*/ 253215 h 1440373"/>
                <a:gd name="connsiteX1008" fmla="*/ 92533 w 1973984"/>
                <a:gd name="connsiteY1008" fmla="*/ 243189 h 1440373"/>
                <a:gd name="connsiteX1009" fmla="*/ 102524 w 1973984"/>
                <a:gd name="connsiteY1009" fmla="*/ 238714 h 1440373"/>
                <a:gd name="connsiteX1010" fmla="*/ 98042 w 1973984"/>
                <a:gd name="connsiteY1010" fmla="*/ 233701 h 1440373"/>
                <a:gd name="connsiteX1011" fmla="*/ 92533 w 1973984"/>
                <a:gd name="connsiteY1011" fmla="*/ 233701 h 1440373"/>
                <a:gd name="connsiteX1012" fmla="*/ 88004 w 1973984"/>
                <a:gd name="connsiteY1012" fmla="*/ 233701 h 1440373"/>
                <a:gd name="connsiteX1013" fmla="*/ 83009 w 1973984"/>
                <a:gd name="connsiteY1013" fmla="*/ 229225 h 1440373"/>
                <a:gd name="connsiteX1014" fmla="*/ 83009 w 1973984"/>
                <a:gd name="connsiteY1014" fmla="*/ 214186 h 1440373"/>
                <a:gd name="connsiteX1015" fmla="*/ 78527 w 1973984"/>
                <a:gd name="connsiteY1015" fmla="*/ 209710 h 1440373"/>
                <a:gd name="connsiteX1016" fmla="*/ 88004 w 1973984"/>
                <a:gd name="connsiteY1016" fmla="*/ 180646 h 1440373"/>
                <a:gd name="connsiteX1017" fmla="*/ 98042 w 1973984"/>
                <a:gd name="connsiteY1017" fmla="*/ 185182 h 1440373"/>
                <a:gd name="connsiteX1018" fmla="*/ 98042 w 1973984"/>
                <a:gd name="connsiteY1018" fmla="*/ 175156 h 1440373"/>
                <a:gd name="connsiteX1019" fmla="*/ 98042 w 1973984"/>
                <a:gd name="connsiteY1019" fmla="*/ 170680 h 1440373"/>
                <a:gd name="connsiteX1020" fmla="*/ 113028 w 1973984"/>
                <a:gd name="connsiteY1020" fmla="*/ 155641 h 1440373"/>
                <a:gd name="connsiteX1021" fmla="*/ 117510 w 1973984"/>
                <a:gd name="connsiteY1021" fmla="*/ 155641 h 1440373"/>
                <a:gd name="connsiteX1022" fmla="*/ 146549 w 1973984"/>
                <a:gd name="connsiteY1022" fmla="*/ 155641 h 1440373"/>
                <a:gd name="connsiteX1023" fmla="*/ 161536 w 1973984"/>
                <a:gd name="connsiteY1023" fmla="*/ 146152 h 1440373"/>
                <a:gd name="connsiteX1024" fmla="*/ 161536 w 1973984"/>
                <a:gd name="connsiteY1024" fmla="*/ 155641 h 1440373"/>
                <a:gd name="connsiteX1025" fmla="*/ 171060 w 1973984"/>
                <a:gd name="connsiteY1025" fmla="*/ 155641 h 1440373"/>
                <a:gd name="connsiteX1026" fmla="*/ 171060 w 1973984"/>
                <a:gd name="connsiteY1026" fmla="*/ 151106 h 1440373"/>
                <a:gd name="connsiteX1027" fmla="*/ 175542 w 1973984"/>
                <a:gd name="connsiteY1027" fmla="*/ 151106 h 1440373"/>
                <a:gd name="connsiteX1028" fmla="*/ 175542 w 1973984"/>
                <a:gd name="connsiteY1028" fmla="*/ 155641 h 1440373"/>
                <a:gd name="connsiteX1029" fmla="*/ 181051 w 1973984"/>
                <a:gd name="connsiteY1029" fmla="*/ 155641 h 1440373"/>
                <a:gd name="connsiteX1030" fmla="*/ 190528 w 1973984"/>
                <a:gd name="connsiteY1030" fmla="*/ 146152 h 1440373"/>
                <a:gd name="connsiteX1031" fmla="*/ 210043 w 1973984"/>
                <a:gd name="connsiteY1031" fmla="*/ 136126 h 1440373"/>
                <a:gd name="connsiteX1032" fmla="*/ 205561 w 1973984"/>
                <a:gd name="connsiteY1032" fmla="*/ 126637 h 1440373"/>
                <a:gd name="connsiteX1033" fmla="*/ 200566 w 1973984"/>
                <a:gd name="connsiteY1033" fmla="*/ 112076 h 1440373"/>
                <a:gd name="connsiteX1034" fmla="*/ 196037 w 1973984"/>
                <a:gd name="connsiteY1034" fmla="*/ 116611 h 1440373"/>
                <a:gd name="connsiteX1035" fmla="*/ 190528 w 1973984"/>
                <a:gd name="connsiteY1035" fmla="*/ 107123 h 1440373"/>
                <a:gd name="connsiteX1036" fmla="*/ 200566 w 1973984"/>
                <a:gd name="connsiteY1036" fmla="*/ 102587 h 1440373"/>
                <a:gd name="connsiteX1037" fmla="*/ 200566 w 1973984"/>
                <a:gd name="connsiteY1037" fmla="*/ 87608 h 1440373"/>
                <a:gd name="connsiteX1038" fmla="*/ 190528 w 1973984"/>
                <a:gd name="connsiteY1038" fmla="*/ 83072 h 1440373"/>
                <a:gd name="connsiteX1039" fmla="*/ 190528 w 1973984"/>
                <a:gd name="connsiteY1039" fmla="*/ 78059 h 1440373"/>
                <a:gd name="connsiteX1040" fmla="*/ 205561 w 1973984"/>
                <a:gd name="connsiteY1040" fmla="*/ 73583 h 1440373"/>
                <a:gd name="connsiteX1041" fmla="*/ 205561 w 1973984"/>
                <a:gd name="connsiteY1041" fmla="*/ 78059 h 1440373"/>
                <a:gd name="connsiteX1042" fmla="*/ 210043 w 1973984"/>
                <a:gd name="connsiteY1042" fmla="*/ 78059 h 1440373"/>
                <a:gd name="connsiteX1043" fmla="*/ 215039 w 1973984"/>
                <a:gd name="connsiteY1043" fmla="*/ 73583 h 1440373"/>
                <a:gd name="connsiteX1044" fmla="*/ 210043 w 1973984"/>
                <a:gd name="connsiteY1044" fmla="*/ 68033 h 1440373"/>
                <a:gd name="connsiteX1045" fmla="*/ 215039 w 1973984"/>
                <a:gd name="connsiteY1045" fmla="*/ 58544 h 1440373"/>
                <a:gd name="connsiteX1046" fmla="*/ 220034 w 1973984"/>
                <a:gd name="connsiteY1046" fmla="*/ 63557 h 1440373"/>
                <a:gd name="connsiteX1047" fmla="*/ 229558 w 1973984"/>
                <a:gd name="connsiteY1047" fmla="*/ 54068 h 1440373"/>
                <a:gd name="connsiteX1048" fmla="*/ 234554 w 1973984"/>
                <a:gd name="connsiteY1048" fmla="*/ 48518 h 1440373"/>
                <a:gd name="connsiteX1049" fmla="*/ 234554 w 1973984"/>
                <a:gd name="connsiteY1049" fmla="*/ 44042 h 1440373"/>
                <a:gd name="connsiteX1050" fmla="*/ 239082 w 1973984"/>
                <a:gd name="connsiteY1050" fmla="*/ 44042 h 1440373"/>
                <a:gd name="connsiteX1051" fmla="*/ 239082 w 1973984"/>
                <a:gd name="connsiteY1051" fmla="*/ 34554 h 1440373"/>
                <a:gd name="connsiteX1052" fmla="*/ 254069 w 1973984"/>
                <a:gd name="connsiteY1052" fmla="*/ 29004 h 1440373"/>
                <a:gd name="connsiteX1053" fmla="*/ 264060 w 1973984"/>
                <a:gd name="connsiteY1053" fmla="*/ 48518 h 1440373"/>
                <a:gd name="connsiteX1054" fmla="*/ 269055 w 1973984"/>
                <a:gd name="connsiteY1054" fmla="*/ 44042 h 1440373"/>
                <a:gd name="connsiteX1055" fmla="*/ 273584 w 1973984"/>
                <a:gd name="connsiteY1055" fmla="*/ 39030 h 1440373"/>
                <a:gd name="connsiteX1056" fmla="*/ 288570 w 1973984"/>
                <a:gd name="connsiteY1056" fmla="*/ 34554 h 1440373"/>
                <a:gd name="connsiteX1057" fmla="*/ 293052 w 1973984"/>
                <a:gd name="connsiteY1057" fmla="*/ 44042 h 1440373"/>
                <a:gd name="connsiteX1058" fmla="*/ 298094 w 1973984"/>
                <a:gd name="connsiteY1058" fmla="*/ 44042 h 1440373"/>
                <a:gd name="connsiteX1059" fmla="*/ 298094 w 1973984"/>
                <a:gd name="connsiteY1059" fmla="*/ 29004 h 1440373"/>
                <a:gd name="connsiteX1060" fmla="*/ 308085 w 1973984"/>
                <a:gd name="connsiteY1060" fmla="*/ 24528 h 1440373"/>
                <a:gd name="connsiteX1061" fmla="*/ 308085 w 1973984"/>
                <a:gd name="connsiteY1061" fmla="*/ 19515 h 1440373"/>
                <a:gd name="connsiteX1062" fmla="*/ 312567 w 1973984"/>
                <a:gd name="connsiteY1062" fmla="*/ 15039 h 1440373"/>
                <a:gd name="connsiteX1063" fmla="*/ 317563 w 1973984"/>
                <a:gd name="connsiteY1063" fmla="*/ 15039 h 1440373"/>
                <a:gd name="connsiteX1064" fmla="*/ 317563 w 1973984"/>
                <a:gd name="connsiteY1064" fmla="*/ 5013 h 1440373"/>
                <a:gd name="connsiteX1065" fmla="*/ 327600 w 1973984"/>
                <a:gd name="connsiteY1065" fmla="*/ 5013 h 1440373"/>
                <a:gd name="connsiteX1066" fmla="*/ 332596 w 1973984"/>
                <a:gd name="connsiteY1066" fmla="*/ 5013 h 144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Lst>
              <a:rect l="l" t="t" r="r" b="b"/>
              <a:pathLst>
                <a:path w="1973984" h="1440373">
                  <a:moveTo>
                    <a:pt x="337078" y="0"/>
                  </a:moveTo>
                  <a:lnTo>
                    <a:pt x="361588" y="5013"/>
                  </a:lnTo>
                  <a:lnTo>
                    <a:pt x="366584" y="19515"/>
                  </a:lnTo>
                  <a:lnTo>
                    <a:pt x="385585" y="39030"/>
                  </a:lnTo>
                  <a:lnTo>
                    <a:pt x="391094" y="39030"/>
                  </a:lnTo>
                  <a:lnTo>
                    <a:pt x="400618" y="39030"/>
                  </a:lnTo>
                  <a:lnTo>
                    <a:pt x="406081" y="48518"/>
                  </a:lnTo>
                  <a:lnTo>
                    <a:pt x="406081" y="54068"/>
                  </a:lnTo>
                  <a:lnTo>
                    <a:pt x="420087" y="63557"/>
                  </a:lnTo>
                  <a:lnTo>
                    <a:pt x="430124" y="68033"/>
                  </a:lnTo>
                  <a:lnTo>
                    <a:pt x="430124" y="63557"/>
                  </a:lnTo>
                  <a:lnTo>
                    <a:pt x="439602" y="58544"/>
                  </a:lnTo>
                  <a:lnTo>
                    <a:pt x="449126" y="54068"/>
                  </a:lnTo>
                  <a:lnTo>
                    <a:pt x="454635" y="44042"/>
                  </a:lnTo>
                  <a:lnTo>
                    <a:pt x="454635" y="48518"/>
                  </a:lnTo>
                  <a:lnTo>
                    <a:pt x="459117" y="48518"/>
                  </a:lnTo>
                  <a:lnTo>
                    <a:pt x="464112" y="48518"/>
                  </a:lnTo>
                  <a:lnTo>
                    <a:pt x="468594" y="63557"/>
                  </a:lnTo>
                  <a:lnTo>
                    <a:pt x="483627" y="63557"/>
                  </a:lnTo>
                  <a:lnTo>
                    <a:pt x="498614" y="44042"/>
                  </a:lnTo>
                  <a:lnTo>
                    <a:pt x="513133" y="48518"/>
                  </a:lnTo>
                  <a:lnTo>
                    <a:pt x="513133" y="58544"/>
                  </a:lnTo>
                  <a:lnTo>
                    <a:pt x="522611" y="58544"/>
                  </a:lnTo>
                  <a:lnTo>
                    <a:pt x="518129" y="78059"/>
                  </a:lnTo>
                  <a:lnTo>
                    <a:pt x="527653" y="83072"/>
                  </a:lnTo>
                  <a:lnTo>
                    <a:pt x="537644" y="78059"/>
                  </a:lnTo>
                  <a:lnTo>
                    <a:pt x="542126" y="73583"/>
                  </a:lnTo>
                  <a:lnTo>
                    <a:pt x="552630" y="58544"/>
                  </a:lnTo>
                  <a:lnTo>
                    <a:pt x="557159" y="63557"/>
                  </a:lnTo>
                  <a:lnTo>
                    <a:pt x="562154" y="63557"/>
                  </a:lnTo>
                  <a:lnTo>
                    <a:pt x="557159" y="44042"/>
                  </a:lnTo>
                  <a:lnTo>
                    <a:pt x="572145" y="44042"/>
                  </a:lnTo>
                  <a:lnTo>
                    <a:pt x="576627" y="39030"/>
                  </a:lnTo>
                  <a:lnTo>
                    <a:pt x="572145" y="24528"/>
                  </a:lnTo>
                  <a:lnTo>
                    <a:pt x="572145" y="19515"/>
                  </a:lnTo>
                  <a:lnTo>
                    <a:pt x="581623" y="24528"/>
                  </a:lnTo>
                  <a:lnTo>
                    <a:pt x="586151" y="24528"/>
                  </a:lnTo>
                  <a:lnTo>
                    <a:pt x="591147" y="24528"/>
                  </a:lnTo>
                  <a:lnTo>
                    <a:pt x="586151" y="29004"/>
                  </a:lnTo>
                  <a:lnTo>
                    <a:pt x="591147" y="34554"/>
                  </a:lnTo>
                  <a:lnTo>
                    <a:pt x="591147" y="48518"/>
                  </a:lnTo>
                  <a:lnTo>
                    <a:pt x="596142" y="48518"/>
                  </a:lnTo>
                  <a:lnTo>
                    <a:pt x="601138" y="58544"/>
                  </a:lnTo>
                  <a:lnTo>
                    <a:pt x="605666" y="63557"/>
                  </a:lnTo>
                  <a:lnTo>
                    <a:pt x="605666" y="68033"/>
                  </a:lnTo>
                  <a:lnTo>
                    <a:pt x="615144" y="73583"/>
                  </a:lnTo>
                  <a:lnTo>
                    <a:pt x="615144" y="78059"/>
                  </a:lnTo>
                  <a:lnTo>
                    <a:pt x="620653" y="83072"/>
                  </a:lnTo>
                  <a:lnTo>
                    <a:pt x="620653" y="87608"/>
                  </a:lnTo>
                  <a:lnTo>
                    <a:pt x="620653" y="92561"/>
                  </a:lnTo>
                  <a:lnTo>
                    <a:pt x="625649" y="92561"/>
                  </a:lnTo>
                  <a:lnTo>
                    <a:pt x="620653" y="102587"/>
                  </a:lnTo>
                  <a:lnTo>
                    <a:pt x="625649" y="107123"/>
                  </a:lnTo>
                  <a:lnTo>
                    <a:pt x="630177" y="107123"/>
                  </a:lnTo>
                  <a:lnTo>
                    <a:pt x="630177" y="116611"/>
                  </a:lnTo>
                  <a:lnTo>
                    <a:pt x="630177" y="122102"/>
                  </a:lnTo>
                  <a:lnTo>
                    <a:pt x="630177" y="131591"/>
                  </a:lnTo>
                  <a:lnTo>
                    <a:pt x="630177" y="136126"/>
                  </a:lnTo>
                  <a:lnTo>
                    <a:pt x="645164" y="141617"/>
                  </a:lnTo>
                  <a:lnTo>
                    <a:pt x="649646" y="146152"/>
                  </a:lnTo>
                  <a:lnTo>
                    <a:pt x="654641" y="151106"/>
                  </a:lnTo>
                  <a:lnTo>
                    <a:pt x="659683" y="151106"/>
                  </a:lnTo>
                  <a:lnTo>
                    <a:pt x="669161" y="146152"/>
                  </a:lnTo>
                  <a:lnTo>
                    <a:pt x="674156" y="151106"/>
                  </a:lnTo>
                  <a:lnTo>
                    <a:pt x="678685" y="155641"/>
                  </a:lnTo>
                  <a:lnTo>
                    <a:pt x="678685" y="165667"/>
                  </a:lnTo>
                  <a:lnTo>
                    <a:pt x="693671" y="170680"/>
                  </a:lnTo>
                  <a:lnTo>
                    <a:pt x="699180" y="161132"/>
                  </a:lnTo>
                  <a:lnTo>
                    <a:pt x="718695" y="165667"/>
                  </a:lnTo>
                  <a:lnTo>
                    <a:pt x="713186" y="170680"/>
                  </a:lnTo>
                  <a:lnTo>
                    <a:pt x="718695" y="170680"/>
                  </a:lnTo>
                  <a:lnTo>
                    <a:pt x="728173" y="175156"/>
                  </a:lnTo>
                  <a:lnTo>
                    <a:pt x="728173" y="185182"/>
                  </a:lnTo>
                  <a:lnTo>
                    <a:pt x="732701" y="190195"/>
                  </a:lnTo>
                  <a:lnTo>
                    <a:pt x="728173" y="194671"/>
                  </a:lnTo>
                  <a:lnTo>
                    <a:pt x="728173" y="199684"/>
                  </a:lnTo>
                  <a:lnTo>
                    <a:pt x="728173" y="204697"/>
                  </a:lnTo>
                  <a:lnTo>
                    <a:pt x="723177" y="214186"/>
                  </a:lnTo>
                  <a:lnTo>
                    <a:pt x="728173" y="223675"/>
                  </a:lnTo>
                  <a:lnTo>
                    <a:pt x="728173" y="229225"/>
                  </a:lnTo>
                  <a:lnTo>
                    <a:pt x="732701" y="229225"/>
                  </a:lnTo>
                  <a:lnTo>
                    <a:pt x="728173" y="243189"/>
                  </a:lnTo>
                  <a:lnTo>
                    <a:pt x="728173" y="253215"/>
                  </a:lnTo>
                  <a:lnTo>
                    <a:pt x="732701" y="253215"/>
                  </a:lnTo>
                  <a:lnTo>
                    <a:pt x="732701" y="258228"/>
                  </a:lnTo>
                  <a:lnTo>
                    <a:pt x="728173" y="258228"/>
                  </a:lnTo>
                  <a:lnTo>
                    <a:pt x="713186" y="258228"/>
                  </a:lnTo>
                  <a:lnTo>
                    <a:pt x="718695" y="268254"/>
                  </a:lnTo>
                  <a:lnTo>
                    <a:pt x="713186" y="268254"/>
                  </a:lnTo>
                  <a:lnTo>
                    <a:pt x="693671" y="277743"/>
                  </a:lnTo>
                  <a:lnTo>
                    <a:pt x="699180" y="282756"/>
                  </a:lnTo>
                  <a:lnTo>
                    <a:pt x="698286" y="282756"/>
                  </a:lnTo>
                  <a:lnTo>
                    <a:pt x="698286" y="292671"/>
                  </a:lnTo>
                  <a:lnTo>
                    <a:pt x="698286" y="302196"/>
                  </a:lnTo>
                  <a:lnTo>
                    <a:pt x="698286" y="306697"/>
                  </a:lnTo>
                  <a:lnTo>
                    <a:pt x="693273" y="316221"/>
                  </a:lnTo>
                  <a:lnTo>
                    <a:pt x="702756" y="321701"/>
                  </a:lnTo>
                  <a:lnTo>
                    <a:pt x="707769" y="321701"/>
                  </a:lnTo>
                  <a:lnTo>
                    <a:pt x="722265" y="321701"/>
                  </a:lnTo>
                  <a:lnTo>
                    <a:pt x="727277" y="321701"/>
                  </a:lnTo>
                  <a:lnTo>
                    <a:pt x="727277" y="341207"/>
                  </a:lnTo>
                  <a:lnTo>
                    <a:pt x="746786" y="341207"/>
                  </a:lnTo>
                  <a:lnTo>
                    <a:pt x="756811" y="335727"/>
                  </a:lnTo>
                  <a:lnTo>
                    <a:pt x="756811" y="331226"/>
                  </a:lnTo>
                  <a:lnTo>
                    <a:pt x="766294" y="331226"/>
                  </a:lnTo>
                  <a:lnTo>
                    <a:pt x="776319" y="326202"/>
                  </a:lnTo>
                  <a:lnTo>
                    <a:pt x="785802" y="335727"/>
                  </a:lnTo>
                  <a:lnTo>
                    <a:pt x="790815" y="335727"/>
                  </a:lnTo>
                  <a:lnTo>
                    <a:pt x="805311" y="335727"/>
                  </a:lnTo>
                  <a:lnTo>
                    <a:pt x="805311" y="331226"/>
                  </a:lnTo>
                  <a:lnTo>
                    <a:pt x="805311" y="326202"/>
                  </a:lnTo>
                  <a:lnTo>
                    <a:pt x="814794" y="326202"/>
                  </a:lnTo>
                  <a:lnTo>
                    <a:pt x="820348" y="331226"/>
                  </a:lnTo>
                  <a:lnTo>
                    <a:pt x="820348" y="335727"/>
                  </a:lnTo>
                  <a:lnTo>
                    <a:pt x="824819" y="331226"/>
                  </a:lnTo>
                  <a:lnTo>
                    <a:pt x="829832" y="326202"/>
                  </a:lnTo>
                  <a:lnTo>
                    <a:pt x="834302" y="331226"/>
                  </a:lnTo>
                  <a:lnTo>
                    <a:pt x="829832" y="341207"/>
                  </a:lnTo>
                  <a:lnTo>
                    <a:pt x="829832" y="345708"/>
                  </a:lnTo>
                  <a:lnTo>
                    <a:pt x="844802" y="345708"/>
                  </a:lnTo>
                  <a:lnTo>
                    <a:pt x="849340" y="335727"/>
                  </a:lnTo>
                  <a:lnTo>
                    <a:pt x="854353" y="335727"/>
                  </a:lnTo>
                  <a:lnTo>
                    <a:pt x="859365" y="326202"/>
                  </a:lnTo>
                  <a:lnTo>
                    <a:pt x="868848" y="326202"/>
                  </a:lnTo>
                  <a:lnTo>
                    <a:pt x="873861" y="331226"/>
                  </a:lnTo>
                  <a:lnTo>
                    <a:pt x="878332" y="326202"/>
                  </a:lnTo>
                  <a:lnTo>
                    <a:pt x="873861" y="321701"/>
                  </a:lnTo>
                  <a:lnTo>
                    <a:pt x="878332" y="311720"/>
                  </a:lnTo>
                  <a:lnTo>
                    <a:pt x="878332" y="306697"/>
                  </a:lnTo>
                  <a:lnTo>
                    <a:pt x="883886" y="306697"/>
                  </a:lnTo>
                  <a:lnTo>
                    <a:pt x="883886" y="292671"/>
                  </a:lnTo>
                  <a:lnTo>
                    <a:pt x="883886" y="282690"/>
                  </a:lnTo>
                  <a:lnTo>
                    <a:pt x="883886" y="277667"/>
                  </a:lnTo>
                  <a:lnTo>
                    <a:pt x="888357" y="267686"/>
                  </a:lnTo>
                  <a:lnTo>
                    <a:pt x="897840" y="262662"/>
                  </a:lnTo>
                  <a:lnTo>
                    <a:pt x="903394" y="267686"/>
                  </a:lnTo>
                  <a:lnTo>
                    <a:pt x="907865" y="267686"/>
                  </a:lnTo>
                  <a:lnTo>
                    <a:pt x="922903" y="273165"/>
                  </a:lnTo>
                  <a:lnTo>
                    <a:pt x="927848" y="282690"/>
                  </a:lnTo>
                  <a:lnTo>
                    <a:pt x="942411" y="277667"/>
                  </a:lnTo>
                  <a:lnTo>
                    <a:pt x="947424" y="267686"/>
                  </a:lnTo>
                  <a:lnTo>
                    <a:pt x="951894" y="267686"/>
                  </a:lnTo>
                  <a:lnTo>
                    <a:pt x="951894" y="277667"/>
                  </a:lnTo>
                  <a:lnTo>
                    <a:pt x="956907" y="282690"/>
                  </a:lnTo>
                  <a:lnTo>
                    <a:pt x="971403" y="282690"/>
                  </a:lnTo>
                  <a:lnTo>
                    <a:pt x="971403" y="273165"/>
                  </a:lnTo>
                  <a:lnTo>
                    <a:pt x="976415" y="267686"/>
                  </a:lnTo>
                  <a:lnTo>
                    <a:pt x="976415" y="262662"/>
                  </a:lnTo>
                  <a:lnTo>
                    <a:pt x="991385" y="262662"/>
                  </a:lnTo>
                  <a:lnTo>
                    <a:pt x="991385" y="258161"/>
                  </a:lnTo>
                  <a:lnTo>
                    <a:pt x="995924" y="258161"/>
                  </a:lnTo>
                  <a:lnTo>
                    <a:pt x="1001410" y="262662"/>
                  </a:lnTo>
                  <a:lnTo>
                    <a:pt x="1001410" y="273165"/>
                  </a:lnTo>
                  <a:lnTo>
                    <a:pt x="1005949" y="277667"/>
                  </a:lnTo>
                  <a:lnTo>
                    <a:pt x="1001410" y="277667"/>
                  </a:lnTo>
                  <a:lnTo>
                    <a:pt x="995924" y="282690"/>
                  </a:lnTo>
                  <a:lnTo>
                    <a:pt x="995924" y="292671"/>
                  </a:lnTo>
                  <a:lnTo>
                    <a:pt x="1005949" y="287191"/>
                  </a:lnTo>
                  <a:lnTo>
                    <a:pt x="1015432" y="297172"/>
                  </a:lnTo>
                  <a:lnTo>
                    <a:pt x="1015432" y="302196"/>
                  </a:lnTo>
                  <a:lnTo>
                    <a:pt x="1010894" y="302196"/>
                  </a:lnTo>
                  <a:lnTo>
                    <a:pt x="1015432" y="311720"/>
                  </a:lnTo>
                  <a:lnTo>
                    <a:pt x="1010894" y="316221"/>
                  </a:lnTo>
                  <a:lnTo>
                    <a:pt x="1010894" y="326202"/>
                  </a:lnTo>
                  <a:lnTo>
                    <a:pt x="1025457" y="331226"/>
                  </a:lnTo>
                  <a:lnTo>
                    <a:pt x="1030470" y="331226"/>
                  </a:lnTo>
                  <a:lnTo>
                    <a:pt x="1030470" y="326202"/>
                  </a:lnTo>
                  <a:lnTo>
                    <a:pt x="1039953" y="311720"/>
                  </a:lnTo>
                  <a:lnTo>
                    <a:pt x="1039953" y="306697"/>
                  </a:lnTo>
                  <a:lnTo>
                    <a:pt x="1039953" y="302196"/>
                  </a:lnTo>
                  <a:lnTo>
                    <a:pt x="1044424" y="287191"/>
                  </a:lnTo>
                  <a:lnTo>
                    <a:pt x="1044424" y="282690"/>
                  </a:lnTo>
                  <a:lnTo>
                    <a:pt x="1049978" y="273165"/>
                  </a:lnTo>
                  <a:lnTo>
                    <a:pt x="1049978" y="262662"/>
                  </a:lnTo>
                  <a:lnTo>
                    <a:pt x="1054923" y="252681"/>
                  </a:lnTo>
                  <a:lnTo>
                    <a:pt x="1054923" y="248180"/>
                  </a:lnTo>
                  <a:lnTo>
                    <a:pt x="1059461" y="248180"/>
                  </a:lnTo>
                  <a:lnTo>
                    <a:pt x="1059461" y="238655"/>
                  </a:lnTo>
                  <a:lnTo>
                    <a:pt x="1054923" y="233697"/>
                  </a:lnTo>
                  <a:lnTo>
                    <a:pt x="1059461" y="223716"/>
                  </a:lnTo>
                  <a:lnTo>
                    <a:pt x="1064948" y="219215"/>
                  </a:lnTo>
                  <a:lnTo>
                    <a:pt x="1064948" y="214192"/>
                  </a:lnTo>
                  <a:lnTo>
                    <a:pt x="1069487" y="204211"/>
                  </a:lnTo>
                  <a:lnTo>
                    <a:pt x="1069487" y="194686"/>
                  </a:lnTo>
                  <a:lnTo>
                    <a:pt x="1069487" y="190185"/>
                  </a:lnTo>
                  <a:lnTo>
                    <a:pt x="1069487" y="180204"/>
                  </a:lnTo>
                  <a:lnTo>
                    <a:pt x="1074431" y="180204"/>
                  </a:lnTo>
                  <a:lnTo>
                    <a:pt x="1078970" y="170679"/>
                  </a:lnTo>
                  <a:lnTo>
                    <a:pt x="1078970" y="160698"/>
                  </a:lnTo>
                  <a:lnTo>
                    <a:pt x="1078970" y="155675"/>
                  </a:lnTo>
                  <a:lnTo>
                    <a:pt x="1084457" y="151173"/>
                  </a:lnTo>
                  <a:lnTo>
                    <a:pt x="1084457" y="145694"/>
                  </a:lnTo>
                  <a:lnTo>
                    <a:pt x="1084457" y="141192"/>
                  </a:lnTo>
                  <a:lnTo>
                    <a:pt x="1088995" y="141192"/>
                  </a:lnTo>
                  <a:lnTo>
                    <a:pt x="1088995" y="145694"/>
                  </a:lnTo>
                  <a:lnTo>
                    <a:pt x="1093940" y="145694"/>
                  </a:lnTo>
                  <a:lnTo>
                    <a:pt x="1103965" y="141192"/>
                  </a:lnTo>
                  <a:lnTo>
                    <a:pt x="1113516" y="145694"/>
                  </a:lnTo>
                  <a:lnTo>
                    <a:pt x="1117987" y="151173"/>
                  </a:lnTo>
                  <a:lnTo>
                    <a:pt x="1133024" y="155675"/>
                  </a:lnTo>
                  <a:lnTo>
                    <a:pt x="1137969" y="155675"/>
                  </a:lnTo>
                  <a:lnTo>
                    <a:pt x="1147994" y="151173"/>
                  </a:lnTo>
                  <a:lnTo>
                    <a:pt x="1152533" y="151173"/>
                  </a:lnTo>
                  <a:lnTo>
                    <a:pt x="1162016" y="145694"/>
                  </a:lnTo>
                  <a:lnTo>
                    <a:pt x="1162016" y="141192"/>
                  </a:lnTo>
                  <a:lnTo>
                    <a:pt x="1172041" y="141192"/>
                  </a:lnTo>
                  <a:lnTo>
                    <a:pt x="1172041" y="136169"/>
                  </a:lnTo>
                  <a:lnTo>
                    <a:pt x="1187011" y="141192"/>
                  </a:lnTo>
                  <a:lnTo>
                    <a:pt x="1187011" y="155675"/>
                  </a:lnTo>
                  <a:lnTo>
                    <a:pt x="1191549" y="165199"/>
                  </a:lnTo>
                  <a:lnTo>
                    <a:pt x="1196562" y="165199"/>
                  </a:lnTo>
                  <a:lnTo>
                    <a:pt x="1201507" y="170679"/>
                  </a:lnTo>
                  <a:lnTo>
                    <a:pt x="1206045" y="170679"/>
                  </a:lnTo>
                  <a:lnTo>
                    <a:pt x="1216070" y="175180"/>
                  </a:lnTo>
                  <a:lnTo>
                    <a:pt x="1225554" y="170679"/>
                  </a:lnTo>
                  <a:lnTo>
                    <a:pt x="1231040" y="175180"/>
                  </a:lnTo>
                  <a:lnTo>
                    <a:pt x="1235579" y="184705"/>
                  </a:lnTo>
                  <a:lnTo>
                    <a:pt x="1231040" y="184705"/>
                  </a:lnTo>
                  <a:lnTo>
                    <a:pt x="1231040" y="190185"/>
                  </a:lnTo>
                  <a:lnTo>
                    <a:pt x="1225554" y="190185"/>
                  </a:lnTo>
                  <a:lnTo>
                    <a:pt x="1225554" y="194686"/>
                  </a:lnTo>
                  <a:lnTo>
                    <a:pt x="1231040" y="194686"/>
                  </a:lnTo>
                  <a:lnTo>
                    <a:pt x="1245062" y="199709"/>
                  </a:lnTo>
                  <a:lnTo>
                    <a:pt x="1250549" y="204211"/>
                  </a:lnTo>
                  <a:lnTo>
                    <a:pt x="1255087" y="209690"/>
                  </a:lnTo>
                  <a:lnTo>
                    <a:pt x="1250549" y="214192"/>
                  </a:lnTo>
                  <a:lnTo>
                    <a:pt x="1255087" y="219215"/>
                  </a:lnTo>
                  <a:lnTo>
                    <a:pt x="1255087" y="223716"/>
                  </a:lnTo>
                  <a:lnTo>
                    <a:pt x="1264570" y="233697"/>
                  </a:lnTo>
                  <a:lnTo>
                    <a:pt x="1264570" y="243157"/>
                  </a:lnTo>
                  <a:lnTo>
                    <a:pt x="1264570" y="248180"/>
                  </a:lnTo>
                  <a:lnTo>
                    <a:pt x="1270057" y="248180"/>
                  </a:lnTo>
                  <a:lnTo>
                    <a:pt x="1270057" y="228674"/>
                  </a:lnTo>
                  <a:lnTo>
                    <a:pt x="1275070" y="228674"/>
                  </a:lnTo>
                  <a:lnTo>
                    <a:pt x="1279608" y="243157"/>
                  </a:lnTo>
                  <a:lnTo>
                    <a:pt x="1289091" y="238655"/>
                  </a:lnTo>
                  <a:lnTo>
                    <a:pt x="1294578" y="243157"/>
                  </a:lnTo>
                  <a:lnTo>
                    <a:pt x="1289091" y="258161"/>
                  </a:lnTo>
                  <a:lnTo>
                    <a:pt x="1289091" y="262662"/>
                  </a:lnTo>
                  <a:lnTo>
                    <a:pt x="1294578" y="273165"/>
                  </a:lnTo>
                  <a:lnTo>
                    <a:pt x="1304061" y="267686"/>
                  </a:lnTo>
                  <a:lnTo>
                    <a:pt x="1308600" y="273165"/>
                  </a:lnTo>
                  <a:lnTo>
                    <a:pt x="1318625" y="267686"/>
                  </a:lnTo>
                  <a:lnTo>
                    <a:pt x="1323570" y="258161"/>
                  </a:lnTo>
                  <a:lnTo>
                    <a:pt x="1328108" y="258161"/>
                  </a:lnTo>
                  <a:lnTo>
                    <a:pt x="1328108" y="252681"/>
                  </a:lnTo>
                  <a:lnTo>
                    <a:pt x="1338133" y="252681"/>
                  </a:lnTo>
                  <a:lnTo>
                    <a:pt x="1343078" y="248180"/>
                  </a:lnTo>
                  <a:lnTo>
                    <a:pt x="1343078" y="243157"/>
                  </a:lnTo>
                  <a:lnTo>
                    <a:pt x="1348090" y="233697"/>
                  </a:lnTo>
                  <a:lnTo>
                    <a:pt x="1353103" y="233697"/>
                  </a:lnTo>
                  <a:lnTo>
                    <a:pt x="1353103" y="228674"/>
                  </a:lnTo>
                  <a:lnTo>
                    <a:pt x="1358116" y="228674"/>
                  </a:lnTo>
                  <a:lnTo>
                    <a:pt x="1358116" y="233697"/>
                  </a:lnTo>
                  <a:lnTo>
                    <a:pt x="1358116" y="238655"/>
                  </a:lnTo>
                  <a:lnTo>
                    <a:pt x="1367599" y="238655"/>
                  </a:lnTo>
                  <a:lnTo>
                    <a:pt x="1372137" y="238655"/>
                  </a:lnTo>
                  <a:lnTo>
                    <a:pt x="1372137" y="243157"/>
                  </a:lnTo>
                  <a:lnTo>
                    <a:pt x="1387107" y="243157"/>
                  </a:lnTo>
                  <a:lnTo>
                    <a:pt x="1387107" y="258161"/>
                  </a:lnTo>
                  <a:lnTo>
                    <a:pt x="1391646" y="267686"/>
                  </a:lnTo>
                  <a:lnTo>
                    <a:pt x="1397132" y="267686"/>
                  </a:lnTo>
                  <a:lnTo>
                    <a:pt x="1406616" y="267686"/>
                  </a:lnTo>
                  <a:lnTo>
                    <a:pt x="1426124" y="267686"/>
                  </a:lnTo>
                  <a:lnTo>
                    <a:pt x="1436149" y="267686"/>
                  </a:lnTo>
                  <a:lnTo>
                    <a:pt x="1441162" y="262662"/>
                  </a:lnTo>
                  <a:lnTo>
                    <a:pt x="1445700" y="262662"/>
                  </a:lnTo>
                  <a:lnTo>
                    <a:pt x="1455183" y="252681"/>
                  </a:lnTo>
                  <a:lnTo>
                    <a:pt x="1465208" y="238655"/>
                  </a:lnTo>
                  <a:lnTo>
                    <a:pt x="1470153" y="238655"/>
                  </a:lnTo>
                  <a:lnTo>
                    <a:pt x="1484717" y="219215"/>
                  </a:lnTo>
                  <a:lnTo>
                    <a:pt x="1489662" y="204211"/>
                  </a:lnTo>
                  <a:lnTo>
                    <a:pt x="1495216" y="204211"/>
                  </a:lnTo>
                  <a:lnTo>
                    <a:pt x="1504699" y="190185"/>
                  </a:lnTo>
                  <a:lnTo>
                    <a:pt x="1509170" y="184705"/>
                  </a:lnTo>
                  <a:lnTo>
                    <a:pt x="1514183" y="180204"/>
                  </a:lnTo>
                  <a:lnTo>
                    <a:pt x="1528678" y="184705"/>
                  </a:lnTo>
                  <a:lnTo>
                    <a:pt x="1548254" y="199709"/>
                  </a:lnTo>
                  <a:lnTo>
                    <a:pt x="1553199" y="199709"/>
                  </a:lnTo>
                  <a:lnTo>
                    <a:pt x="1557738" y="204211"/>
                  </a:lnTo>
                  <a:lnTo>
                    <a:pt x="1548254" y="219215"/>
                  </a:lnTo>
                  <a:lnTo>
                    <a:pt x="1543716" y="223716"/>
                  </a:lnTo>
                  <a:lnTo>
                    <a:pt x="1538229" y="228674"/>
                  </a:lnTo>
                  <a:lnTo>
                    <a:pt x="1538229" y="238655"/>
                  </a:lnTo>
                  <a:lnTo>
                    <a:pt x="1538229" y="243157"/>
                  </a:lnTo>
                  <a:lnTo>
                    <a:pt x="1533691" y="248180"/>
                  </a:lnTo>
                  <a:lnTo>
                    <a:pt x="1538229" y="262662"/>
                  </a:lnTo>
                  <a:lnTo>
                    <a:pt x="1543716" y="267686"/>
                  </a:lnTo>
                  <a:lnTo>
                    <a:pt x="1533691" y="277667"/>
                  </a:lnTo>
                  <a:lnTo>
                    <a:pt x="1528678" y="273165"/>
                  </a:lnTo>
                  <a:lnTo>
                    <a:pt x="1519195" y="277667"/>
                  </a:lnTo>
                  <a:lnTo>
                    <a:pt x="1514183" y="282690"/>
                  </a:lnTo>
                  <a:lnTo>
                    <a:pt x="1509170" y="277667"/>
                  </a:lnTo>
                  <a:lnTo>
                    <a:pt x="1504699" y="277667"/>
                  </a:lnTo>
                  <a:lnTo>
                    <a:pt x="1495216" y="292671"/>
                  </a:lnTo>
                  <a:lnTo>
                    <a:pt x="1484717" y="292671"/>
                  </a:lnTo>
                  <a:lnTo>
                    <a:pt x="1480178" y="302196"/>
                  </a:lnTo>
                  <a:lnTo>
                    <a:pt x="1495216" y="306697"/>
                  </a:lnTo>
                  <a:lnTo>
                    <a:pt x="1495216" y="311720"/>
                  </a:lnTo>
                  <a:lnTo>
                    <a:pt x="1489662" y="316221"/>
                  </a:lnTo>
                  <a:lnTo>
                    <a:pt x="1484717" y="321701"/>
                  </a:lnTo>
                  <a:lnTo>
                    <a:pt x="1484717" y="331226"/>
                  </a:lnTo>
                  <a:lnTo>
                    <a:pt x="1480178" y="335727"/>
                  </a:lnTo>
                  <a:lnTo>
                    <a:pt x="1480178" y="341207"/>
                  </a:lnTo>
                  <a:lnTo>
                    <a:pt x="1489662" y="335727"/>
                  </a:lnTo>
                  <a:lnTo>
                    <a:pt x="1495216" y="331226"/>
                  </a:lnTo>
                  <a:lnTo>
                    <a:pt x="1514183" y="331226"/>
                  </a:lnTo>
                  <a:lnTo>
                    <a:pt x="1514183" y="326202"/>
                  </a:lnTo>
                  <a:lnTo>
                    <a:pt x="1533691" y="321701"/>
                  </a:lnTo>
                  <a:lnTo>
                    <a:pt x="1533691" y="326202"/>
                  </a:lnTo>
                  <a:lnTo>
                    <a:pt x="1543716" y="326202"/>
                  </a:lnTo>
                  <a:lnTo>
                    <a:pt x="1548254" y="326202"/>
                  </a:lnTo>
                  <a:lnTo>
                    <a:pt x="1553199" y="326202"/>
                  </a:lnTo>
                  <a:lnTo>
                    <a:pt x="1553199" y="321701"/>
                  </a:lnTo>
                  <a:lnTo>
                    <a:pt x="1563224" y="316221"/>
                  </a:lnTo>
                  <a:lnTo>
                    <a:pt x="1568237" y="311720"/>
                  </a:lnTo>
                  <a:lnTo>
                    <a:pt x="1568237" y="306697"/>
                  </a:lnTo>
                  <a:lnTo>
                    <a:pt x="1568237" y="302196"/>
                  </a:lnTo>
                  <a:lnTo>
                    <a:pt x="1578262" y="297172"/>
                  </a:lnTo>
                  <a:lnTo>
                    <a:pt x="1582733" y="292671"/>
                  </a:lnTo>
                  <a:lnTo>
                    <a:pt x="1602241" y="287191"/>
                  </a:lnTo>
                  <a:lnTo>
                    <a:pt x="1602241" y="282690"/>
                  </a:lnTo>
                  <a:lnTo>
                    <a:pt x="1607254" y="277667"/>
                  </a:lnTo>
                  <a:lnTo>
                    <a:pt x="1611724" y="273165"/>
                  </a:lnTo>
                  <a:lnTo>
                    <a:pt x="1611724" y="262662"/>
                  </a:lnTo>
                  <a:lnTo>
                    <a:pt x="1607254" y="258161"/>
                  </a:lnTo>
                  <a:lnTo>
                    <a:pt x="1597229" y="267686"/>
                  </a:lnTo>
                  <a:lnTo>
                    <a:pt x="1582733" y="252681"/>
                  </a:lnTo>
                  <a:lnTo>
                    <a:pt x="1587745" y="243157"/>
                  </a:lnTo>
                  <a:lnTo>
                    <a:pt x="1587745" y="233697"/>
                  </a:lnTo>
                  <a:lnTo>
                    <a:pt x="1592216" y="219215"/>
                  </a:lnTo>
                  <a:lnTo>
                    <a:pt x="1597229" y="209690"/>
                  </a:lnTo>
                  <a:lnTo>
                    <a:pt x="1602241" y="209690"/>
                  </a:lnTo>
                  <a:lnTo>
                    <a:pt x="1607254" y="204211"/>
                  </a:lnTo>
                  <a:lnTo>
                    <a:pt x="1611724" y="199709"/>
                  </a:lnTo>
                  <a:lnTo>
                    <a:pt x="1621275" y="199709"/>
                  </a:lnTo>
                  <a:lnTo>
                    <a:pt x="1626762" y="204211"/>
                  </a:lnTo>
                  <a:lnTo>
                    <a:pt x="1626762" y="214192"/>
                  </a:lnTo>
                  <a:lnTo>
                    <a:pt x="1636245" y="214192"/>
                  </a:lnTo>
                  <a:lnTo>
                    <a:pt x="1646271" y="209690"/>
                  </a:lnTo>
                  <a:lnTo>
                    <a:pt x="1651283" y="204211"/>
                  </a:lnTo>
                  <a:lnTo>
                    <a:pt x="1661308" y="204211"/>
                  </a:lnTo>
                  <a:lnTo>
                    <a:pt x="1670791" y="194686"/>
                  </a:lnTo>
                  <a:lnTo>
                    <a:pt x="1675262" y="184705"/>
                  </a:lnTo>
                  <a:lnTo>
                    <a:pt x="1685287" y="180204"/>
                  </a:lnTo>
                  <a:lnTo>
                    <a:pt x="1699783" y="184705"/>
                  </a:lnTo>
                  <a:lnTo>
                    <a:pt x="1704321" y="180204"/>
                  </a:lnTo>
                  <a:lnTo>
                    <a:pt x="1714821" y="175180"/>
                  </a:lnTo>
                  <a:lnTo>
                    <a:pt x="1719291" y="175180"/>
                  </a:lnTo>
                  <a:lnTo>
                    <a:pt x="1724846" y="175180"/>
                  </a:lnTo>
                  <a:lnTo>
                    <a:pt x="1734329" y="175180"/>
                  </a:lnTo>
                  <a:lnTo>
                    <a:pt x="1758308" y="175180"/>
                  </a:lnTo>
                  <a:lnTo>
                    <a:pt x="1768333" y="175180"/>
                  </a:lnTo>
                  <a:lnTo>
                    <a:pt x="1777817" y="175180"/>
                  </a:lnTo>
                  <a:lnTo>
                    <a:pt x="1792854" y="180204"/>
                  </a:lnTo>
                  <a:lnTo>
                    <a:pt x="1797867" y="184705"/>
                  </a:lnTo>
                  <a:lnTo>
                    <a:pt x="1792854" y="184705"/>
                  </a:lnTo>
                  <a:lnTo>
                    <a:pt x="1788384" y="194686"/>
                  </a:lnTo>
                  <a:lnTo>
                    <a:pt x="1782829" y="194686"/>
                  </a:lnTo>
                  <a:lnTo>
                    <a:pt x="1782829" y="199709"/>
                  </a:lnTo>
                  <a:lnTo>
                    <a:pt x="1788384" y="204211"/>
                  </a:lnTo>
                  <a:lnTo>
                    <a:pt x="1792854" y="209690"/>
                  </a:lnTo>
                  <a:lnTo>
                    <a:pt x="1792854" y="219215"/>
                  </a:lnTo>
                  <a:lnTo>
                    <a:pt x="1807892" y="223716"/>
                  </a:lnTo>
                  <a:lnTo>
                    <a:pt x="1812363" y="233697"/>
                  </a:lnTo>
                  <a:lnTo>
                    <a:pt x="1817375" y="233697"/>
                  </a:lnTo>
                  <a:lnTo>
                    <a:pt x="1821846" y="238655"/>
                  </a:lnTo>
                  <a:lnTo>
                    <a:pt x="1817375" y="252681"/>
                  </a:lnTo>
                  <a:lnTo>
                    <a:pt x="1812363" y="258161"/>
                  </a:lnTo>
                  <a:lnTo>
                    <a:pt x="1807892" y="267686"/>
                  </a:lnTo>
                  <a:lnTo>
                    <a:pt x="1802337" y="282690"/>
                  </a:lnTo>
                  <a:lnTo>
                    <a:pt x="1802337" y="292671"/>
                  </a:lnTo>
                  <a:lnTo>
                    <a:pt x="1797867" y="306697"/>
                  </a:lnTo>
                  <a:lnTo>
                    <a:pt x="1797867" y="316221"/>
                  </a:lnTo>
                  <a:lnTo>
                    <a:pt x="1807892" y="321701"/>
                  </a:lnTo>
                  <a:lnTo>
                    <a:pt x="1817375" y="321701"/>
                  </a:lnTo>
                  <a:lnTo>
                    <a:pt x="1821846" y="321701"/>
                  </a:lnTo>
                  <a:lnTo>
                    <a:pt x="1836884" y="321701"/>
                  </a:lnTo>
                  <a:lnTo>
                    <a:pt x="1836884" y="341207"/>
                  </a:lnTo>
                  <a:lnTo>
                    <a:pt x="1836884" y="345708"/>
                  </a:lnTo>
                  <a:lnTo>
                    <a:pt x="1831871" y="365214"/>
                  </a:lnTo>
                  <a:lnTo>
                    <a:pt x="1836884" y="365214"/>
                  </a:lnTo>
                  <a:lnTo>
                    <a:pt x="1846909" y="360712"/>
                  </a:lnTo>
                  <a:lnTo>
                    <a:pt x="1851379" y="355233"/>
                  </a:lnTo>
                  <a:lnTo>
                    <a:pt x="1856392" y="355233"/>
                  </a:lnTo>
                  <a:lnTo>
                    <a:pt x="1865875" y="370237"/>
                  </a:lnTo>
                  <a:lnTo>
                    <a:pt x="1875900" y="380218"/>
                  </a:lnTo>
                  <a:lnTo>
                    <a:pt x="1875900" y="384719"/>
                  </a:lnTo>
                  <a:lnTo>
                    <a:pt x="1885384" y="389743"/>
                  </a:lnTo>
                  <a:lnTo>
                    <a:pt x="1890938" y="399202"/>
                  </a:lnTo>
                  <a:lnTo>
                    <a:pt x="1885384" y="404225"/>
                  </a:lnTo>
                  <a:lnTo>
                    <a:pt x="1890938" y="409248"/>
                  </a:lnTo>
                  <a:lnTo>
                    <a:pt x="1895409" y="413750"/>
                  </a:lnTo>
                  <a:lnTo>
                    <a:pt x="1900421" y="428689"/>
                  </a:lnTo>
                  <a:lnTo>
                    <a:pt x="1885384" y="442715"/>
                  </a:lnTo>
                  <a:lnTo>
                    <a:pt x="1885384" y="457719"/>
                  </a:lnTo>
                  <a:lnTo>
                    <a:pt x="1865875" y="467700"/>
                  </a:lnTo>
                  <a:lnTo>
                    <a:pt x="1865875" y="472201"/>
                  </a:lnTo>
                  <a:lnTo>
                    <a:pt x="1846909" y="477225"/>
                  </a:lnTo>
                  <a:lnTo>
                    <a:pt x="1841354" y="472201"/>
                  </a:lnTo>
                  <a:lnTo>
                    <a:pt x="1836884" y="481726"/>
                  </a:lnTo>
                  <a:lnTo>
                    <a:pt x="1827400" y="477225"/>
                  </a:lnTo>
                  <a:lnTo>
                    <a:pt x="1817375" y="481726"/>
                  </a:lnTo>
                  <a:lnTo>
                    <a:pt x="1812363" y="491707"/>
                  </a:lnTo>
                  <a:lnTo>
                    <a:pt x="1817375" y="496730"/>
                  </a:lnTo>
                  <a:lnTo>
                    <a:pt x="1812363" y="511213"/>
                  </a:lnTo>
                  <a:lnTo>
                    <a:pt x="1817375" y="530262"/>
                  </a:lnTo>
                  <a:lnTo>
                    <a:pt x="1821846" y="530262"/>
                  </a:lnTo>
                  <a:lnTo>
                    <a:pt x="1817375" y="540243"/>
                  </a:lnTo>
                  <a:lnTo>
                    <a:pt x="1827400" y="555247"/>
                  </a:lnTo>
                  <a:lnTo>
                    <a:pt x="1831871" y="559748"/>
                  </a:lnTo>
                  <a:lnTo>
                    <a:pt x="1846909" y="564772"/>
                  </a:lnTo>
                  <a:lnTo>
                    <a:pt x="1851379" y="564772"/>
                  </a:lnTo>
                  <a:lnTo>
                    <a:pt x="1856392" y="564772"/>
                  </a:lnTo>
                  <a:lnTo>
                    <a:pt x="1856392" y="574753"/>
                  </a:lnTo>
                  <a:lnTo>
                    <a:pt x="1861404" y="579254"/>
                  </a:lnTo>
                  <a:lnTo>
                    <a:pt x="1871430" y="579254"/>
                  </a:lnTo>
                  <a:lnTo>
                    <a:pt x="1880913" y="574753"/>
                  </a:lnTo>
                  <a:lnTo>
                    <a:pt x="1895409" y="584277"/>
                  </a:lnTo>
                  <a:lnTo>
                    <a:pt x="1890938" y="593737"/>
                  </a:lnTo>
                  <a:lnTo>
                    <a:pt x="1890938" y="613242"/>
                  </a:lnTo>
                  <a:lnTo>
                    <a:pt x="1895409" y="617744"/>
                  </a:lnTo>
                  <a:lnTo>
                    <a:pt x="1895409" y="642729"/>
                  </a:lnTo>
                  <a:lnTo>
                    <a:pt x="1900421" y="647230"/>
                  </a:lnTo>
                  <a:lnTo>
                    <a:pt x="1900421" y="656755"/>
                  </a:lnTo>
                  <a:lnTo>
                    <a:pt x="1904892" y="662235"/>
                  </a:lnTo>
                  <a:lnTo>
                    <a:pt x="1919930" y="662235"/>
                  </a:lnTo>
                  <a:lnTo>
                    <a:pt x="1919930" y="666736"/>
                  </a:lnTo>
                  <a:lnTo>
                    <a:pt x="1919930" y="671759"/>
                  </a:lnTo>
                  <a:lnTo>
                    <a:pt x="1939438" y="676260"/>
                  </a:lnTo>
                  <a:lnTo>
                    <a:pt x="1939438" y="681740"/>
                  </a:lnTo>
                  <a:lnTo>
                    <a:pt x="1944451" y="691265"/>
                  </a:lnTo>
                  <a:lnTo>
                    <a:pt x="1963959" y="695766"/>
                  </a:lnTo>
                  <a:lnTo>
                    <a:pt x="1973984" y="705747"/>
                  </a:lnTo>
                  <a:lnTo>
                    <a:pt x="1968430" y="715272"/>
                  </a:lnTo>
                  <a:lnTo>
                    <a:pt x="1963959" y="730276"/>
                  </a:lnTo>
                  <a:lnTo>
                    <a:pt x="1954476" y="734777"/>
                  </a:lnTo>
                  <a:lnTo>
                    <a:pt x="1958946" y="749782"/>
                  </a:lnTo>
                  <a:lnTo>
                    <a:pt x="1948921" y="749782"/>
                  </a:lnTo>
                  <a:lnTo>
                    <a:pt x="1948921" y="759306"/>
                  </a:lnTo>
                  <a:lnTo>
                    <a:pt x="1958946" y="773789"/>
                  </a:lnTo>
                  <a:lnTo>
                    <a:pt x="1958946" y="788793"/>
                  </a:lnTo>
                  <a:lnTo>
                    <a:pt x="1954476" y="793294"/>
                  </a:lnTo>
                  <a:lnTo>
                    <a:pt x="1948921" y="793294"/>
                  </a:lnTo>
                  <a:lnTo>
                    <a:pt x="1934967" y="812278"/>
                  </a:lnTo>
                  <a:lnTo>
                    <a:pt x="1924400" y="807777"/>
                  </a:lnTo>
                  <a:lnTo>
                    <a:pt x="1914917" y="812278"/>
                  </a:lnTo>
                  <a:lnTo>
                    <a:pt x="1904892" y="812278"/>
                  </a:lnTo>
                  <a:lnTo>
                    <a:pt x="1890938" y="822259"/>
                  </a:lnTo>
                  <a:lnTo>
                    <a:pt x="1895409" y="822259"/>
                  </a:lnTo>
                  <a:lnTo>
                    <a:pt x="1890938" y="837264"/>
                  </a:lnTo>
                  <a:lnTo>
                    <a:pt x="1885384" y="837264"/>
                  </a:lnTo>
                  <a:lnTo>
                    <a:pt x="1865875" y="841765"/>
                  </a:lnTo>
                  <a:lnTo>
                    <a:pt x="1865875" y="851289"/>
                  </a:lnTo>
                  <a:lnTo>
                    <a:pt x="1871430" y="856769"/>
                  </a:lnTo>
                  <a:lnTo>
                    <a:pt x="1856392" y="861271"/>
                  </a:lnTo>
                  <a:lnTo>
                    <a:pt x="1831871" y="851289"/>
                  </a:lnTo>
                  <a:lnTo>
                    <a:pt x="1821846" y="846788"/>
                  </a:lnTo>
                  <a:lnTo>
                    <a:pt x="1807892" y="861271"/>
                  </a:lnTo>
                  <a:lnTo>
                    <a:pt x="1797867" y="861271"/>
                  </a:lnTo>
                  <a:lnTo>
                    <a:pt x="1782829" y="861271"/>
                  </a:lnTo>
                  <a:lnTo>
                    <a:pt x="1782829" y="870795"/>
                  </a:lnTo>
                  <a:lnTo>
                    <a:pt x="1768333" y="880776"/>
                  </a:lnTo>
                  <a:lnTo>
                    <a:pt x="1763321" y="876275"/>
                  </a:lnTo>
                  <a:lnTo>
                    <a:pt x="1744354" y="876275"/>
                  </a:lnTo>
                  <a:lnTo>
                    <a:pt x="1738800" y="880776"/>
                  </a:lnTo>
                  <a:lnTo>
                    <a:pt x="1729317" y="885799"/>
                  </a:lnTo>
                  <a:lnTo>
                    <a:pt x="1719291" y="885799"/>
                  </a:lnTo>
                  <a:lnTo>
                    <a:pt x="1709808" y="890301"/>
                  </a:lnTo>
                  <a:lnTo>
                    <a:pt x="1714821" y="909806"/>
                  </a:lnTo>
                  <a:lnTo>
                    <a:pt x="1699783" y="914830"/>
                  </a:lnTo>
                  <a:lnTo>
                    <a:pt x="1694770" y="909806"/>
                  </a:lnTo>
                  <a:lnTo>
                    <a:pt x="1690300" y="909806"/>
                  </a:lnTo>
                  <a:lnTo>
                    <a:pt x="1675262" y="909806"/>
                  </a:lnTo>
                  <a:lnTo>
                    <a:pt x="1665779" y="905305"/>
                  </a:lnTo>
                  <a:lnTo>
                    <a:pt x="1670791" y="900282"/>
                  </a:lnTo>
                  <a:lnTo>
                    <a:pt x="1665779" y="885799"/>
                  </a:lnTo>
                  <a:lnTo>
                    <a:pt x="1651283" y="880776"/>
                  </a:lnTo>
                  <a:lnTo>
                    <a:pt x="1636245" y="885799"/>
                  </a:lnTo>
                  <a:lnTo>
                    <a:pt x="1631301" y="885799"/>
                  </a:lnTo>
                  <a:lnTo>
                    <a:pt x="1621275" y="876275"/>
                  </a:lnTo>
                  <a:lnTo>
                    <a:pt x="1621275" y="880776"/>
                  </a:lnTo>
                  <a:lnTo>
                    <a:pt x="1611724" y="890301"/>
                  </a:lnTo>
                  <a:lnTo>
                    <a:pt x="1616737" y="905305"/>
                  </a:lnTo>
                  <a:lnTo>
                    <a:pt x="1611724" y="905305"/>
                  </a:lnTo>
                  <a:lnTo>
                    <a:pt x="1607254" y="909806"/>
                  </a:lnTo>
                  <a:lnTo>
                    <a:pt x="1607254" y="938837"/>
                  </a:lnTo>
                  <a:lnTo>
                    <a:pt x="1626762" y="948818"/>
                  </a:lnTo>
                  <a:lnTo>
                    <a:pt x="1651283" y="944316"/>
                  </a:lnTo>
                  <a:lnTo>
                    <a:pt x="1651283" y="958342"/>
                  </a:lnTo>
                  <a:lnTo>
                    <a:pt x="1655754" y="963822"/>
                  </a:lnTo>
                  <a:lnTo>
                    <a:pt x="1655754" y="973347"/>
                  </a:lnTo>
                  <a:lnTo>
                    <a:pt x="1665779" y="977783"/>
                  </a:lnTo>
                  <a:lnTo>
                    <a:pt x="1670791" y="992787"/>
                  </a:lnTo>
                  <a:lnTo>
                    <a:pt x="1665779" y="1006813"/>
                  </a:lnTo>
                  <a:lnTo>
                    <a:pt x="1670791" y="1021817"/>
                  </a:lnTo>
                  <a:lnTo>
                    <a:pt x="1661308" y="1026318"/>
                  </a:lnTo>
                  <a:lnTo>
                    <a:pt x="1651283" y="1016794"/>
                  </a:lnTo>
                  <a:lnTo>
                    <a:pt x="1636245" y="1016794"/>
                  </a:lnTo>
                  <a:lnTo>
                    <a:pt x="1626762" y="1026318"/>
                  </a:lnTo>
                  <a:lnTo>
                    <a:pt x="1616737" y="1026318"/>
                  </a:lnTo>
                  <a:lnTo>
                    <a:pt x="1607254" y="1021817"/>
                  </a:lnTo>
                  <a:lnTo>
                    <a:pt x="1597229" y="1026318"/>
                  </a:lnTo>
                  <a:lnTo>
                    <a:pt x="1582733" y="1021817"/>
                  </a:lnTo>
                  <a:lnTo>
                    <a:pt x="1572708" y="1031798"/>
                  </a:lnTo>
                  <a:lnTo>
                    <a:pt x="1568237" y="1036300"/>
                  </a:lnTo>
                  <a:lnTo>
                    <a:pt x="1553199" y="1051304"/>
                  </a:lnTo>
                  <a:lnTo>
                    <a:pt x="1548254" y="1045824"/>
                  </a:lnTo>
                  <a:lnTo>
                    <a:pt x="1543716" y="1041323"/>
                  </a:lnTo>
                  <a:lnTo>
                    <a:pt x="1533691" y="1041323"/>
                  </a:lnTo>
                  <a:lnTo>
                    <a:pt x="1533691" y="1051304"/>
                  </a:lnTo>
                  <a:lnTo>
                    <a:pt x="1524208" y="1051304"/>
                  </a:lnTo>
                  <a:lnTo>
                    <a:pt x="1509170" y="1060829"/>
                  </a:lnTo>
                  <a:lnTo>
                    <a:pt x="1524208" y="1065330"/>
                  </a:lnTo>
                  <a:lnTo>
                    <a:pt x="1524208" y="1070810"/>
                  </a:lnTo>
                  <a:lnTo>
                    <a:pt x="1514183" y="1075311"/>
                  </a:lnTo>
                  <a:lnTo>
                    <a:pt x="1514183" y="1084835"/>
                  </a:lnTo>
                  <a:lnTo>
                    <a:pt x="1504699" y="1089859"/>
                  </a:lnTo>
                  <a:lnTo>
                    <a:pt x="1495216" y="1084835"/>
                  </a:lnTo>
                  <a:lnTo>
                    <a:pt x="1489662" y="1089859"/>
                  </a:lnTo>
                  <a:lnTo>
                    <a:pt x="1484717" y="1089859"/>
                  </a:lnTo>
                  <a:lnTo>
                    <a:pt x="1465208" y="1084835"/>
                  </a:lnTo>
                  <a:lnTo>
                    <a:pt x="1465208" y="1094817"/>
                  </a:lnTo>
                  <a:lnTo>
                    <a:pt x="1455183" y="1113866"/>
                  </a:lnTo>
                  <a:lnTo>
                    <a:pt x="1460670" y="1113866"/>
                  </a:lnTo>
                  <a:lnTo>
                    <a:pt x="1465208" y="1119345"/>
                  </a:lnTo>
                  <a:lnTo>
                    <a:pt x="1465208" y="1123847"/>
                  </a:lnTo>
                  <a:lnTo>
                    <a:pt x="1460670" y="1128870"/>
                  </a:lnTo>
                  <a:lnTo>
                    <a:pt x="1455183" y="1133371"/>
                  </a:lnTo>
                  <a:lnTo>
                    <a:pt x="1450645" y="1143352"/>
                  </a:lnTo>
                  <a:lnTo>
                    <a:pt x="1445700" y="1143352"/>
                  </a:lnTo>
                  <a:lnTo>
                    <a:pt x="1441162" y="1138851"/>
                  </a:lnTo>
                  <a:lnTo>
                    <a:pt x="1431137" y="1152877"/>
                  </a:lnTo>
                  <a:lnTo>
                    <a:pt x="1416641" y="1148376"/>
                  </a:lnTo>
                  <a:lnTo>
                    <a:pt x="1397132" y="1143352"/>
                  </a:lnTo>
                  <a:lnTo>
                    <a:pt x="1397132" y="1148376"/>
                  </a:lnTo>
                  <a:lnTo>
                    <a:pt x="1401671" y="1162858"/>
                  </a:lnTo>
                  <a:lnTo>
                    <a:pt x="1391646" y="1172317"/>
                  </a:lnTo>
                  <a:lnTo>
                    <a:pt x="1391646" y="1177862"/>
                  </a:lnTo>
                  <a:lnTo>
                    <a:pt x="1391646" y="1182364"/>
                  </a:lnTo>
                  <a:lnTo>
                    <a:pt x="1382162" y="1196846"/>
                  </a:lnTo>
                  <a:lnTo>
                    <a:pt x="1382162" y="1206827"/>
                  </a:lnTo>
                  <a:lnTo>
                    <a:pt x="1387107" y="1211329"/>
                  </a:lnTo>
                  <a:lnTo>
                    <a:pt x="1391646" y="1211329"/>
                  </a:lnTo>
                  <a:lnTo>
                    <a:pt x="1401671" y="1216352"/>
                  </a:lnTo>
                  <a:lnTo>
                    <a:pt x="1406616" y="1226333"/>
                  </a:lnTo>
                  <a:lnTo>
                    <a:pt x="1401671" y="1230834"/>
                  </a:lnTo>
                  <a:lnTo>
                    <a:pt x="1397132" y="1226333"/>
                  </a:lnTo>
                  <a:lnTo>
                    <a:pt x="1391646" y="1230834"/>
                  </a:lnTo>
                  <a:lnTo>
                    <a:pt x="1391646" y="1235857"/>
                  </a:lnTo>
                  <a:lnTo>
                    <a:pt x="1387107" y="1250340"/>
                  </a:lnTo>
                  <a:lnTo>
                    <a:pt x="1377624" y="1245839"/>
                  </a:lnTo>
                  <a:lnTo>
                    <a:pt x="1372137" y="1240359"/>
                  </a:lnTo>
                  <a:lnTo>
                    <a:pt x="1367599" y="1245839"/>
                  </a:lnTo>
                  <a:lnTo>
                    <a:pt x="1362654" y="1240359"/>
                  </a:lnTo>
                  <a:lnTo>
                    <a:pt x="1348090" y="1235857"/>
                  </a:lnTo>
                  <a:lnTo>
                    <a:pt x="1338133" y="1235857"/>
                  </a:lnTo>
                  <a:lnTo>
                    <a:pt x="1333595" y="1230834"/>
                  </a:lnTo>
                  <a:lnTo>
                    <a:pt x="1328108" y="1235857"/>
                  </a:lnTo>
                  <a:lnTo>
                    <a:pt x="1328108" y="1240359"/>
                  </a:lnTo>
                  <a:lnTo>
                    <a:pt x="1328108" y="1245839"/>
                  </a:lnTo>
                  <a:lnTo>
                    <a:pt x="1328108" y="1250340"/>
                  </a:lnTo>
                  <a:lnTo>
                    <a:pt x="1328108" y="1259864"/>
                  </a:lnTo>
                  <a:lnTo>
                    <a:pt x="1338133" y="1259864"/>
                  </a:lnTo>
                  <a:lnTo>
                    <a:pt x="1343078" y="1265344"/>
                  </a:lnTo>
                  <a:lnTo>
                    <a:pt x="1343078" y="1269846"/>
                  </a:lnTo>
                  <a:lnTo>
                    <a:pt x="1338133" y="1274869"/>
                  </a:lnTo>
                  <a:lnTo>
                    <a:pt x="1333595" y="1274869"/>
                  </a:lnTo>
                  <a:lnTo>
                    <a:pt x="1318625" y="1269846"/>
                  </a:lnTo>
                  <a:lnTo>
                    <a:pt x="1314086" y="1274869"/>
                  </a:lnTo>
                  <a:lnTo>
                    <a:pt x="1314086" y="1279370"/>
                  </a:lnTo>
                  <a:lnTo>
                    <a:pt x="1318625" y="1279370"/>
                  </a:lnTo>
                  <a:lnTo>
                    <a:pt x="1323570" y="1298876"/>
                  </a:lnTo>
                  <a:lnTo>
                    <a:pt x="1318625" y="1298876"/>
                  </a:lnTo>
                  <a:lnTo>
                    <a:pt x="1318625" y="1303899"/>
                  </a:lnTo>
                  <a:lnTo>
                    <a:pt x="1323570" y="1303899"/>
                  </a:lnTo>
                  <a:lnTo>
                    <a:pt x="1333595" y="1303899"/>
                  </a:lnTo>
                  <a:lnTo>
                    <a:pt x="1333595" y="1313880"/>
                  </a:lnTo>
                  <a:lnTo>
                    <a:pt x="1338133" y="1313880"/>
                  </a:lnTo>
                  <a:lnTo>
                    <a:pt x="1343078" y="1318381"/>
                  </a:lnTo>
                  <a:lnTo>
                    <a:pt x="1358116" y="1313880"/>
                  </a:lnTo>
                  <a:lnTo>
                    <a:pt x="1362654" y="1318381"/>
                  </a:lnTo>
                  <a:lnTo>
                    <a:pt x="1362654" y="1323405"/>
                  </a:lnTo>
                  <a:lnTo>
                    <a:pt x="1372137" y="1323405"/>
                  </a:lnTo>
                  <a:lnTo>
                    <a:pt x="1382162" y="1323405"/>
                  </a:lnTo>
                  <a:lnTo>
                    <a:pt x="1397132" y="1318381"/>
                  </a:lnTo>
                  <a:lnTo>
                    <a:pt x="1397132" y="1323405"/>
                  </a:lnTo>
                  <a:lnTo>
                    <a:pt x="1391646" y="1333386"/>
                  </a:lnTo>
                  <a:lnTo>
                    <a:pt x="1401671" y="1337887"/>
                  </a:lnTo>
                  <a:lnTo>
                    <a:pt x="1401671" y="1342910"/>
                  </a:lnTo>
                  <a:lnTo>
                    <a:pt x="1401671" y="1347412"/>
                  </a:lnTo>
                  <a:lnTo>
                    <a:pt x="1406616" y="1357393"/>
                  </a:lnTo>
                  <a:lnTo>
                    <a:pt x="1421653" y="1352891"/>
                  </a:lnTo>
                  <a:lnTo>
                    <a:pt x="1421653" y="1357393"/>
                  </a:lnTo>
                  <a:lnTo>
                    <a:pt x="1416641" y="1366852"/>
                  </a:lnTo>
                  <a:lnTo>
                    <a:pt x="1421653" y="1372397"/>
                  </a:lnTo>
                  <a:lnTo>
                    <a:pt x="1421653" y="1376898"/>
                  </a:lnTo>
                  <a:lnTo>
                    <a:pt x="1421653" y="1381856"/>
                  </a:lnTo>
                  <a:lnTo>
                    <a:pt x="1421653" y="1396404"/>
                  </a:lnTo>
                  <a:lnTo>
                    <a:pt x="1411154" y="1401362"/>
                  </a:lnTo>
                  <a:lnTo>
                    <a:pt x="1411154" y="1405863"/>
                  </a:lnTo>
                  <a:lnTo>
                    <a:pt x="1421653" y="1410886"/>
                  </a:lnTo>
                  <a:lnTo>
                    <a:pt x="1421653" y="1420868"/>
                  </a:lnTo>
                  <a:lnTo>
                    <a:pt x="1411154" y="1420868"/>
                  </a:lnTo>
                  <a:lnTo>
                    <a:pt x="1406616" y="1420868"/>
                  </a:lnTo>
                  <a:lnTo>
                    <a:pt x="1406616" y="1410886"/>
                  </a:lnTo>
                  <a:lnTo>
                    <a:pt x="1397132" y="1405863"/>
                  </a:lnTo>
                  <a:lnTo>
                    <a:pt x="1397132" y="1401362"/>
                  </a:lnTo>
                  <a:lnTo>
                    <a:pt x="1391646" y="1396404"/>
                  </a:lnTo>
                  <a:lnTo>
                    <a:pt x="1382162" y="1401362"/>
                  </a:lnTo>
                  <a:lnTo>
                    <a:pt x="1377624" y="1410886"/>
                  </a:lnTo>
                  <a:lnTo>
                    <a:pt x="1382162" y="1415388"/>
                  </a:lnTo>
                  <a:lnTo>
                    <a:pt x="1382162" y="1420868"/>
                  </a:lnTo>
                  <a:lnTo>
                    <a:pt x="1372137" y="1420868"/>
                  </a:lnTo>
                  <a:lnTo>
                    <a:pt x="1372137" y="1430392"/>
                  </a:lnTo>
                  <a:lnTo>
                    <a:pt x="1358116" y="1434893"/>
                  </a:lnTo>
                  <a:lnTo>
                    <a:pt x="1353103" y="1440373"/>
                  </a:lnTo>
                  <a:lnTo>
                    <a:pt x="1333595" y="1440373"/>
                  </a:lnTo>
                  <a:lnTo>
                    <a:pt x="1333595" y="1430392"/>
                  </a:lnTo>
                  <a:lnTo>
                    <a:pt x="1328108" y="1430392"/>
                  </a:lnTo>
                  <a:lnTo>
                    <a:pt x="1323570" y="1420868"/>
                  </a:lnTo>
                  <a:lnTo>
                    <a:pt x="1318625" y="1425369"/>
                  </a:lnTo>
                  <a:lnTo>
                    <a:pt x="1304061" y="1420868"/>
                  </a:lnTo>
                  <a:lnTo>
                    <a:pt x="1304061" y="1401362"/>
                  </a:lnTo>
                  <a:lnTo>
                    <a:pt x="1304061" y="1396404"/>
                  </a:lnTo>
                  <a:lnTo>
                    <a:pt x="1299116" y="1391381"/>
                  </a:lnTo>
                  <a:lnTo>
                    <a:pt x="1289091" y="1391381"/>
                  </a:lnTo>
                  <a:lnTo>
                    <a:pt x="1284553" y="1396404"/>
                  </a:lnTo>
                  <a:lnTo>
                    <a:pt x="1279608" y="1391381"/>
                  </a:lnTo>
                  <a:lnTo>
                    <a:pt x="1270057" y="1396404"/>
                  </a:lnTo>
                  <a:lnTo>
                    <a:pt x="1264570" y="1386358"/>
                  </a:lnTo>
                  <a:lnTo>
                    <a:pt x="1255087" y="1381856"/>
                  </a:lnTo>
                  <a:lnTo>
                    <a:pt x="1250549" y="1381856"/>
                  </a:lnTo>
                  <a:lnTo>
                    <a:pt x="1245062" y="1391381"/>
                  </a:lnTo>
                  <a:lnTo>
                    <a:pt x="1216070" y="1386358"/>
                  </a:lnTo>
                  <a:lnTo>
                    <a:pt x="1211532" y="1381856"/>
                  </a:lnTo>
                  <a:lnTo>
                    <a:pt x="1216070" y="1376898"/>
                  </a:lnTo>
                  <a:lnTo>
                    <a:pt x="1216070" y="1366852"/>
                  </a:lnTo>
                  <a:lnTo>
                    <a:pt x="1211532" y="1362351"/>
                  </a:lnTo>
                  <a:lnTo>
                    <a:pt x="1211532" y="1357393"/>
                  </a:lnTo>
                  <a:lnTo>
                    <a:pt x="1216070" y="1347412"/>
                  </a:lnTo>
                  <a:lnTo>
                    <a:pt x="1216070" y="1337887"/>
                  </a:lnTo>
                  <a:lnTo>
                    <a:pt x="1196562" y="1357393"/>
                  </a:lnTo>
                  <a:lnTo>
                    <a:pt x="1187011" y="1357393"/>
                  </a:lnTo>
                  <a:lnTo>
                    <a:pt x="1181524" y="1357393"/>
                  </a:lnTo>
                  <a:lnTo>
                    <a:pt x="1172041" y="1342910"/>
                  </a:lnTo>
                  <a:lnTo>
                    <a:pt x="1162016" y="1347412"/>
                  </a:lnTo>
                  <a:lnTo>
                    <a:pt x="1162016" y="1352891"/>
                  </a:lnTo>
                  <a:lnTo>
                    <a:pt x="1157477" y="1352891"/>
                  </a:lnTo>
                  <a:lnTo>
                    <a:pt x="1147994" y="1357393"/>
                  </a:lnTo>
                  <a:lnTo>
                    <a:pt x="1142507" y="1357393"/>
                  </a:lnTo>
                  <a:lnTo>
                    <a:pt x="1122999" y="1372397"/>
                  </a:lnTo>
                  <a:lnTo>
                    <a:pt x="1113516" y="1372397"/>
                  </a:lnTo>
                  <a:lnTo>
                    <a:pt x="1103965" y="1372397"/>
                  </a:lnTo>
                  <a:lnTo>
                    <a:pt x="1098478" y="1376898"/>
                  </a:lnTo>
                  <a:lnTo>
                    <a:pt x="1093940" y="1381856"/>
                  </a:lnTo>
                  <a:lnTo>
                    <a:pt x="1084457" y="1391381"/>
                  </a:lnTo>
                  <a:lnTo>
                    <a:pt x="1078970" y="1391381"/>
                  </a:lnTo>
                  <a:lnTo>
                    <a:pt x="1078970" y="1381856"/>
                  </a:lnTo>
                  <a:lnTo>
                    <a:pt x="1074431" y="1366852"/>
                  </a:lnTo>
                  <a:lnTo>
                    <a:pt x="1074431" y="1362351"/>
                  </a:lnTo>
                  <a:lnTo>
                    <a:pt x="1074431" y="1352891"/>
                  </a:lnTo>
                  <a:lnTo>
                    <a:pt x="1059461" y="1337887"/>
                  </a:lnTo>
                  <a:lnTo>
                    <a:pt x="1039953" y="1337887"/>
                  </a:lnTo>
                  <a:lnTo>
                    <a:pt x="1039953" y="1342910"/>
                  </a:lnTo>
                  <a:lnTo>
                    <a:pt x="1025457" y="1342910"/>
                  </a:lnTo>
                  <a:lnTo>
                    <a:pt x="1010894" y="1337887"/>
                  </a:lnTo>
                  <a:lnTo>
                    <a:pt x="1015432" y="1357393"/>
                  </a:lnTo>
                  <a:lnTo>
                    <a:pt x="1015432" y="1366852"/>
                  </a:lnTo>
                  <a:lnTo>
                    <a:pt x="1005949" y="1362351"/>
                  </a:lnTo>
                  <a:lnTo>
                    <a:pt x="1001410" y="1366852"/>
                  </a:lnTo>
                  <a:lnTo>
                    <a:pt x="995924" y="1357393"/>
                  </a:lnTo>
                  <a:lnTo>
                    <a:pt x="991385" y="1357393"/>
                  </a:lnTo>
                  <a:lnTo>
                    <a:pt x="986441" y="1352891"/>
                  </a:lnTo>
                  <a:lnTo>
                    <a:pt x="976415" y="1357393"/>
                  </a:lnTo>
                  <a:lnTo>
                    <a:pt x="971403" y="1342910"/>
                  </a:lnTo>
                  <a:lnTo>
                    <a:pt x="956907" y="1337887"/>
                  </a:lnTo>
                  <a:lnTo>
                    <a:pt x="956907" y="1333386"/>
                  </a:lnTo>
                  <a:lnTo>
                    <a:pt x="937399" y="1333386"/>
                  </a:lnTo>
                  <a:lnTo>
                    <a:pt x="937399" y="1337887"/>
                  </a:lnTo>
                  <a:lnTo>
                    <a:pt x="932386" y="1337887"/>
                  </a:lnTo>
                  <a:lnTo>
                    <a:pt x="932386" y="1357393"/>
                  </a:lnTo>
                  <a:lnTo>
                    <a:pt x="932386" y="1362351"/>
                  </a:lnTo>
                  <a:lnTo>
                    <a:pt x="918364" y="1362351"/>
                  </a:lnTo>
                  <a:lnTo>
                    <a:pt x="912878" y="1357393"/>
                  </a:lnTo>
                  <a:lnTo>
                    <a:pt x="912878" y="1342910"/>
                  </a:lnTo>
                  <a:lnTo>
                    <a:pt x="912878" y="1333386"/>
                  </a:lnTo>
                  <a:lnTo>
                    <a:pt x="907865" y="1333386"/>
                  </a:lnTo>
                  <a:lnTo>
                    <a:pt x="903394" y="1337887"/>
                  </a:lnTo>
                  <a:lnTo>
                    <a:pt x="883886" y="1337887"/>
                  </a:lnTo>
                  <a:lnTo>
                    <a:pt x="878332" y="1347412"/>
                  </a:lnTo>
                  <a:lnTo>
                    <a:pt x="868848" y="1347412"/>
                  </a:lnTo>
                  <a:lnTo>
                    <a:pt x="868848" y="1362351"/>
                  </a:lnTo>
                  <a:lnTo>
                    <a:pt x="859365" y="1376898"/>
                  </a:lnTo>
                  <a:lnTo>
                    <a:pt x="849340" y="1372397"/>
                  </a:lnTo>
                  <a:lnTo>
                    <a:pt x="844802" y="1362351"/>
                  </a:lnTo>
                  <a:lnTo>
                    <a:pt x="829832" y="1357393"/>
                  </a:lnTo>
                  <a:lnTo>
                    <a:pt x="824819" y="1347412"/>
                  </a:lnTo>
                  <a:lnTo>
                    <a:pt x="810323" y="1352891"/>
                  </a:lnTo>
                  <a:lnTo>
                    <a:pt x="810323" y="1342910"/>
                  </a:lnTo>
                  <a:lnTo>
                    <a:pt x="805311" y="1337887"/>
                  </a:lnTo>
                  <a:lnTo>
                    <a:pt x="800840" y="1342910"/>
                  </a:lnTo>
                  <a:lnTo>
                    <a:pt x="795286" y="1342910"/>
                  </a:lnTo>
                  <a:lnTo>
                    <a:pt x="785802" y="1342910"/>
                  </a:lnTo>
                  <a:lnTo>
                    <a:pt x="781332" y="1352891"/>
                  </a:lnTo>
                  <a:lnTo>
                    <a:pt x="776319" y="1352891"/>
                  </a:lnTo>
                  <a:lnTo>
                    <a:pt x="776319" y="1347412"/>
                  </a:lnTo>
                  <a:lnTo>
                    <a:pt x="771307" y="1342910"/>
                  </a:lnTo>
                  <a:lnTo>
                    <a:pt x="776319" y="1337887"/>
                  </a:lnTo>
                  <a:lnTo>
                    <a:pt x="776319" y="1327906"/>
                  </a:lnTo>
                  <a:lnTo>
                    <a:pt x="776319" y="1318381"/>
                  </a:lnTo>
                  <a:lnTo>
                    <a:pt x="771307" y="1313880"/>
                  </a:lnTo>
                  <a:lnTo>
                    <a:pt x="771307" y="1308400"/>
                  </a:lnTo>
                  <a:lnTo>
                    <a:pt x="781332" y="1308400"/>
                  </a:lnTo>
                  <a:lnTo>
                    <a:pt x="781332" y="1303899"/>
                  </a:lnTo>
                  <a:lnTo>
                    <a:pt x="771307" y="1289351"/>
                  </a:lnTo>
                  <a:lnTo>
                    <a:pt x="766294" y="1279370"/>
                  </a:lnTo>
                  <a:lnTo>
                    <a:pt x="761281" y="1274869"/>
                  </a:lnTo>
                  <a:lnTo>
                    <a:pt x="751256" y="1274869"/>
                  </a:lnTo>
                  <a:lnTo>
                    <a:pt x="746786" y="1259864"/>
                  </a:lnTo>
                  <a:lnTo>
                    <a:pt x="746786" y="1245839"/>
                  </a:lnTo>
                  <a:lnTo>
                    <a:pt x="746786" y="1240359"/>
                  </a:lnTo>
                  <a:lnTo>
                    <a:pt x="741773" y="1230834"/>
                  </a:lnTo>
                  <a:lnTo>
                    <a:pt x="737302" y="1220853"/>
                  </a:lnTo>
                  <a:lnTo>
                    <a:pt x="731748" y="1211329"/>
                  </a:lnTo>
                  <a:lnTo>
                    <a:pt x="722265" y="1211329"/>
                  </a:lnTo>
                  <a:lnTo>
                    <a:pt x="717794" y="1201869"/>
                  </a:lnTo>
                  <a:lnTo>
                    <a:pt x="717794" y="1191823"/>
                  </a:lnTo>
                  <a:lnTo>
                    <a:pt x="712240" y="1191823"/>
                  </a:lnTo>
                  <a:lnTo>
                    <a:pt x="707769" y="1187322"/>
                  </a:lnTo>
                  <a:lnTo>
                    <a:pt x="712240" y="1172317"/>
                  </a:lnTo>
                  <a:lnTo>
                    <a:pt x="707769" y="1167816"/>
                  </a:lnTo>
                  <a:lnTo>
                    <a:pt x="702756" y="1152877"/>
                  </a:lnTo>
                  <a:lnTo>
                    <a:pt x="707769" y="1143352"/>
                  </a:lnTo>
                  <a:lnTo>
                    <a:pt x="698286" y="1143352"/>
                  </a:lnTo>
                  <a:lnTo>
                    <a:pt x="698286" y="1138851"/>
                  </a:lnTo>
                  <a:lnTo>
                    <a:pt x="702756" y="1119345"/>
                  </a:lnTo>
                  <a:lnTo>
                    <a:pt x="699751" y="1119345"/>
                  </a:lnTo>
                  <a:lnTo>
                    <a:pt x="699180" y="1119984"/>
                  </a:lnTo>
                  <a:lnTo>
                    <a:pt x="688676" y="1119984"/>
                  </a:lnTo>
                  <a:lnTo>
                    <a:pt x="688676" y="1114971"/>
                  </a:lnTo>
                  <a:lnTo>
                    <a:pt x="684194" y="1114971"/>
                  </a:lnTo>
                  <a:lnTo>
                    <a:pt x="688676" y="1105482"/>
                  </a:lnTo>
                  <a:lnTo>
                    <a:pt x="678685" y="1105482"/>
                  </a:lnTo>
                  <a:lnTo>
                    <a:pt x="674156" y="1105482"/>
                  </a:lnTo>
                  <a:lnTo>
                    <a:pt x="669161" y="1095456"/>
                  </a:lnTo>
                  <a:lnTo>
                    <a:pt x="659683" y="1090980"/>
                  </a:lnTo>
                  <a:lnTo>
                    <a:pt x="654641" y="1081491"/>
                  </a:lnTo>
                  <a:lnTo>
                    <a:pt x="649646" y="1071465"/>
                  </a:lnTo>
                  <a:lnTo>
                    <a:pt x="620653" y="1075941"/>
                  </a:lnTo>
                  <a:lnTo>
                    <a:pt x="615144" y="1071465"/>
                  </a:lnTo>
                  <a:lnTo>
                    <a:pt x="620653" y="1066452"/>
                  </a:lnTo>
                  <a:lnTo>
                    <a:pt x="620653" y="1061976"/>
                  </a:lnTo>
                  <a:lnTo>
                    <a:pt x="615144" y="1046938"/>
                  </a:lnTo>
                  <a:lnTo>
                    <a:pt x="605666" y="1046938"/>
                  </a:lnTo>
                  <a:lnTo>
                    <a:pt x="596142" y="1046938"/>
                  </a:lnTo>
                  <a:lnTo>
                    <a:pt x="591147" y="1046938"/>
                  </a:lnTo>
                  <a:lnTo>
                    <a:pt x="591147" y="1075941"/>
                  </a:lnTo>
                  <a:lnTo>
                    <a:pt x="586151" y="1075941"/>
                  </a:lnTo>
                  <a:lnTo>
                    <a:pt x="586151" y="1071465"/>
                  </a:lnTo>
                  <a:lnTo>
                    <a:pt x="581623" y="1071465"/>
                  </a:lnTo>
                  <a:lnTo>
                    <a:pt x="581623" y="1075941"/>
                  </a:lnTo>
                  <a:lnTo>
                    <a:pt x="562154" y="1081491"/>
                  </a:lnTo>
                  <a:lnTo>
                    <a:pt x="552630" y="1090980"/>
                  </a:lnTo>
                  <a:lnTo>
                    <a:pt x="547121" y="1085967"/>
                  </a:lnTo>
                  <a:lnTo>
                    <a:pt x="532135" y="1061976"/>
                  </a:lnTo>
                  <a:lnTo>
                    <a:pt x="527653" y="1046938"/>
                  </a:lnTo>
                  <a:lnTo>
                    <a:pt x="522611" y="1027423"/>
                  </a:lnTo>
                  <a:lnTo>
                    <a:pt x="522611" y="1012921"/>
                  </a:lnTo>
                  <a:lnTo>
                    <a:pt x="518129" y="1012921"/>
                  </a:lnTo>
                  <a:lnTo>
                    <a:pt x="518129" y="1007908"/>
                  </a:lnTo>
                  <a:lnTo>
                    <a:pt x="513133" y="1007908"/>
                  </a:lnTo>
                  <a:lnTo>
                    <a:pt x="503142" y="998419"/>
                  </a:lnTo>
                  <a:lnTo>
                    <a:pt x="498614" y="998419"/>
                  </a:lnTo>
                  <a:lnTo>
                    <a:pt x="498614" y="1007908"/>
                  </a:lnTo>
                  <a:lnTo>
                    <a:pt x="493618" y="1007908"/>
                  </a:lnTo>
                  <a:lnTo>
                    <a:pt x="474103" y="1022887"/>
                  </a:lnTo>
                  <a:lnTo>
                    <a:pt x="464112" y="1022887"/>
                  </a:lnTo>
                  <a:lnTo>
                    <a:pt x="464112" y="1017934"/>
                  </a:lnTo>
                  <a:lnTo>
                    <a:pt x="459117" y="1012921"/>
                  </a:lnTo>
                  <a:lnTo>
                    <a:pt x="454635" y="1017934"/>
                  </a:lnTo>
                  <a:lnTo>
                    <a:pt x="454635" y="1027423"/>
                  </a:lnTo>
                  <a:lnTo>
                    <a:pt x="449126" y="1032436"/>
                  </a:lnTo>
                  <a:lnTo>
                    <a:pt x="454635" y="1046938"/>
                  </a:lnTo>
                  <a:lnTo>
                    <a:pt x="449126" y="1046938"/>
                  </a:lnTo>
                  <a:lnTo>
                    <a:pt x="430124" y="1056426"/>
                  </a:lnTo>
                  <a:lnTo>
                    <a:pt x="425596" y="1046938"/>
                  </a:lnTo>
                  <a:lnTo>
                    <a:pt x="420087" y="1042462"/>
                  </a:lnTo>
                  <a:lnTo>
                    <a:pt x="415605" y="1036911"/>
                  </a:lnTo>
                  <a:lnTo>
                    <a:pt x="410609" y="1036911"/>
                  </a:lnTo>
                  <a:lnTo>
                    <a:pt x="400618" y="1046938"/>
                  </a:lnTo>
                  <a:lnTo>
                    <a:pt x="400618" y="1056426"/>
                  </a:lnTo>
                  <a:lnTo>
                    <a:pt x="400618" y="1061976"/>
                  </a:lnTo>
                  <a:lnTo>
                    <a:pt x="400618" y="1071465"/>
                  </a:lnTo>
                  <a:lnTo>
                    <a:pt x="400618" y="1075941"/>
                  </a:lnTo>
                  <a:lnTo>
                    <a:pt x="395576" y="1075941"/>
                  </a:lnTo>
                  <a:lnTo>
                    <a:pt x="385585" y="1075941"/>
                  </a:lnTo>
                  <a:lnTo>
                    <a:pt x="391094" y="1081491"/>
                  </a:lnTo>
                  <a:lnTo>
                    <a:pt x="385585" y="1081491"/>
                  </a:lnTo>
                  <a:lnTo>
                    <a:pt x="376108" y="1095456"/>
                  </a:lnTo>
                  <a:lnTo>
                    <a:pt x="381103" y="1105482"/>
                  </a:lnTo>
                  <a:lnTo>
                    <a:pt x="381103" y="1110495"/>
                  </a:lnTo>
                  <a:lnTo>
                    <a:pt x="376108" y="1114971"/>
                  </a:lnTo>
                  <a:lnTo>
                    <a:pt x="371579" y="1130010"/>
                  </a:lnTo>
                  <a:lnTo>
                    <a:pt x="376108" y="1139499"/>
                  </a:lnTo>
                  <a:lnTo>
                    <a:pt x="366584" y="1139499"/>
                  </a:lnTo>
                  <a:lnTo>
                    <a:pt x="356593" y="1169039"/>
                  </a:lnTo>
                  <a:lnTo>
                    <a:pt x="352111" y="1178528"/>
                  </a:lnTo>
                  <a:lnTo>
                    <a:pt x="347069" y="1178528"/>
                  </a:lnTo>
                  <a:lnTo>
                    <a:pt x="347069" y="1173575"/>
                  </a:lnTo>
                  <a:lnTo>
                    <a:pt x="337078" y="1163549"/>
                  </a:lnTo>
                  <a:lnTo>
                    <a:pt x="332596" y="1139499"/>
                  </a:lnTo>
                  <a:lnTo>
                    <a:pt x="327600" y="1130010"/>
                  </a:lnTo>
                  <a:lnTo>
                    <a:pt x="332596" y="1124997"/>
                  </a:lnTo>
                  <a:lnTo>
                    <a:pt x="327600" y="1114971"/>
                  </a:lnTo>
                  <a:lnTo>
                    <a:pt x="327600" y="1110495"/>
                  </a:lnTo>
                  <a:lnTo>
                    <a:pt x="332596" y="1114971"/>
                  </a:lnTo>
                  <a:lnTo>
                    <a:pt x="337078" y="1105482"/>
                  </a:lnTo>
                  <a:lnTo>
                    <a:pt x="327600" y="1101006"/>
                  </a:lnTo>
                  <a:lnTo>
                    <a:pt x="322091" y="1105482"/>
                  </a:lnTo>
                  <a:lnTo>
                    <a:pt x="317563" y="1095456"/>
                  </a:lnTo>
                  <a:lnTo>
                    <a:pt x="312567" y="1095456"/>
                  </a:lnTo>
                  <a:lnTo>
                    <a:pt x="308085" y="1056426"/>
                  </a:lnTo>
                  <a:lnTo>
                    <a:pt x="302576" y="1051950"/>
                  </a:lnTo>
                  <a:lnTo>
                    <a:pt x="283575" y="1056426"/>
                  </a:lnTo>
                  <a:lnTo>
                    <a:pt x="273584" y="1066452"/>
                  </a:lnTo>
                  <a:lnTo>
                    <a:pt x="269055" y="1061976"/>
                  </a:lnTo>
                  <a:lnTo>
                    <a:pt x="273584" y="1046938"/>
                  </a:lnTo>
                  <a:lnTo>
                    <a:pt x="273584" y="1032436"/>
                  </a:lnTo>
                  <a:lnTo>
                    <a:pt x="259578" y="1017934"/>
                  </a:lnTo>
                  <a:lnTo>
                    <a:pt x="254069" y="1027423"/>
                  </a:lnTo>
                  <a:lnTo>
                    <a:pt x="249073" y="1022887"/>
                  </a:lnTo>
                  <a:lnTo>
                    <a:pt x="244545" y="1036911"/>
                  </a:lnTo>
                  <a:lnTo>
                    <a:pt x="239082" y="1036911"/>
                  </a:lnTo>
                  <a:lnTo>
                    <a:pt x="234554" y="1042462"/>
                  </a:lnTo>
                  <a:lnTo>
                    <a:pt x="225076" y="1056426"/>
                  </a:lnTo>
                  <a:lnTo>
                    <a:pt x="220034" y="1056426"/>
                  </a:lnTo>
                  <a:lnTo>
                    <a:pt x="205561" y="1071465"/>
                  </a:lnTo>
                  <a:lnTo>
                    <a:pt x="210043" y="1075941"/>
                  </a:lnTo>
                  <a:lnTo>
                    <a:pt x="205561" y="1081491"/>
                  </a:lnTo>
                  <a:lnTo>
                    <a:pt x="205561" y="1101006"/>
                  </a:lnTo>
                  <a:lnTo>
                    <a:pt x="200566" y="1105482"/>
                  </a:lnTo>
                  <a:lnTo>
                    <a:pt x="190528" y="1105482"/>
                  </a:lnTo>
                  <a:lnTo>
                    <a:pt x="186046" y="1119984"/>
                  </a:lnTo>
                  <a:lnTo>
                    <a:pt x="186046" y="1130010"/>
                  </a:lnTo>
                  <a:lnTo>
                    <a:pt x="190528" y="1130010"/>
                  </a:lnTo>
                  <a:lnTo>
                    <a:pt x="186046" y="1134486"/>
                  </a:lnTo>
                  <a:lnTo>
                    <a:pt x="181051" y="1144034"/>
                  </a:lnTo>
                  <a:lnTo>
                    <a:pt x="171060" y="1149525"/>
                  </a:lnTo>
                  <a:lnTo>
                    <a:pt x="166064" y="1154060"/>
                  </a:lnTo>
                  <a:lnTo>
                    <a:pt x="161536" y="1173575"/>
                  </a:lnTo>
                  <a:lnTo>
                    <a:pt x="156027" y="1173575"/>
                  </a:lnTo>
                  <a:lnTo>
                    <a:pt x="151545" y="1178528"/>
                  </a:lnTo>
                  <a:lnTo>
                    <a:pt x="146549" y="1178528"/>
                  </a:lnTo>
                  <a:lnTo>
                    <a:pt x="142021" y="1183064"/>
                  </a:lnTo>
                  <a:lnTo>
                    <a:pt x="127034" y="1178528"/>
                  </a:lnTo>
                  <a:lnTo>
                    <a:pt x="122552" y="1178528"/>
                  </a:lnTo>
                  <a:lnTo>
                    <a:pt x="113028" y="1178528"/>
                  </a:lnTo>
                  <a:lnTo>
                    <a:pt x="102524" y="1178528"/>
                  </a:lnTo>
                  <a:lnTo>
                    <a:pt x="102524" y="1169039"/>
                  </a:lnTo>
                  <a:lnTo>
                    <a:pt x="98042" y="1169039"/>
                  </a:lnTo>
                  <a:lnTo>
                    <a:pt x="78527" y="1169039"/>
                  </a:lnTo>
                  <a:lnTo>
                    <a:pt x="68536" y="1173575"/>
                  </a:lnTo>
                  <a:lnTo>
                    <a:pt x="63494" y="1173575"/>
                  </a:lnTo>
                  <a:lnTo>
                    <a:pt x="54016" y="1178528"/>
                  </a:lnTo>
                  <a:lnTo>
                    <a:pt x="59012" y="1193090"/>
                  </a:lnTo>
                  <a:lnTo>
                    <a:pt x="49534" y="1193090"/>
                  </a:lnTo>
                  <a:lnTo>
                    <a:pt x="39497" y="1183064"/>
                  </a:lnTo>
                  <a:lnTo>
                    <a:pt x="39497" y="1173575"/>
                  </a:lnTo>
                  <a:lnTo>
                    <a:pt x="39497" y="1163549"/>
                  </a:lnTo>
                  <a:lnTo>
                    <a:pt x="34501" y="1149525"/>
                  </a:lnTo>
                  <a:lnTo>
                    <a:pt x="24510" y="1154060"/>
                  </a:lnTo>
                  <a:lnTo>
                    <a:pt x="19515" y="1149525"/>
                  </a:lnTo>
                  <a:lnTo>
                    <a:pt x="24510" y="1144034"/>
                  </a:lnTo>
                  <a:lnTo>
                    <a:pt x="28992" y="1139499"/>
                  </a:lnTo>
                  <a:lnTo>
                    <a:pt x="28992" y="1119984"/>
                  </a:lnTo>
                  <a:lnTo>
                    <a:pt x="28992" y="1110495"/>
                  </a:lnTo>
                  <a:lnTo>
                    <a:pt x="39497" y="1105482"/>
                  </a:lnTo>
                  <a:lnTo>
                    <a:pt x="39497" y="1101006"/>
                  </a:lnTo>
                  <a:lnTo>
                    <a:pt x="39497" y="1095456"/>
                  </a:lnTo>
                  <a:lnTo>
                    <a:pt x="34501" y="1095456"/>
                  </a:lnTo>
                  <a:lnTo>
                    <a:pt x="34501" y="1085967"/>
                  </a:lnTo>
                  <a:lnTo>
                    <a:pt x="28992" y="1085967"/>
                  </a:lnTo>
                  <a:lnTo>
                    <a:pt x="24510" y="1081491"/>
                  </a:lnTo>
                  <a:lnTo>
                    <a:pt x="24510" y="1071465"/>
                  </a:lnTo>
                  <a:lnTo>
                    <a:pt x="14986" y="1066452"/>
                  </a:lnTo>
                  <a:lnTo>
                    <a:pt x="9524" y="1051950"/>
                  </a:lnTo>
                  <a:lnTo>
                    <a:pt x="4995" y="1036911"/>
                  </a:lnTo>
                  <a:lnTo>
                    <a:pt x="14986" y="1032436"/>
                  </a:lnTo>
                  <a:lnTo>
                    <a:pt x="4995" y="1017934"/>
                  </a:lnTo>
                  <a:lnTo>
                    <a:pt x="0" y="1012921"/>
                  </a:lnTo>
                  <a:lnTo>
                    <a:pt x="0" y="998419"/>
                  </a:lnTo>
                  <a:lnTo>
                    <a:pt x="9524" y="993883"/>
                  </a:lnTo>
                  <a:lnTo>
                    <a:pt x="24510" y="993883"/>
                  </a:lnTo>
                  <a:lnTo>
                    <a:pt x="28992" y="983857"/>
                  </a:lnTo>
                  <a:lnTo>
                    <a:pt x="19515" y="968878"/>
                  </a:lnTo>
                  <a:lnTo>
                    <a:pt x="14986" y="964343"/>
                  </a:lnTo>
                  <a:lnTo>
                    <a:pt x="9524" y="954854"/>
                  </a:lnTo>
                  <a:lnTo>
                    <a:pt x="9524" y="949363"/>
                  </a:lnTo>
                  <a:lnTo>
                    <a:pt x="24510" y="939815"/>
                  </a:lnTo>
                  <a:lnTo>
                    <a:pt x="39497" y="939815"/>
                  </a:lnTo>
                  <a:lnTo>
                    <a:pt x="44025" y="910811"/>
                  </a:lnTo>
                  <a:lnTo>
                    <a:pt x="54016" y="905798"/>
                  </a:lnTo>
                  <a:lnTo>
                    <a:pt x="54016" y="896309"/>
                  </a:lnTo>
                  <a:lnTo>
                    <a:pt x="59012" y="896309"/>
                  </a:lnTo>
                  <a:lnTo>
                    <a:pt x="59012" y="891296"/>
                  </a:lnTo>
                  <a:lnTo>
                    <a:pt x="54016" y="891296"/>
                  </a:lnTo>
                  <a:lnTo>
                    <a:pt x="49534" y="881270"/>
                  </a:lnTo>
                  <a:lnTo>
                    <a:pt x="49534" y="867246"/>
                  </a:lnTo>
                  <a:lnTo>
                    <a:pt x="49534" y="861756"/>
                  </a:lnTo>
                  <a:lnTo>
                    <a:pt x="59012" y="857280"/>
                  </a:lnTo>
                  <a:lnTo>
                    <a:pt x="63494" y="837765"/>
                  </a:lnTo>
                  <a:lnTo>
                    <a:pt x="73531" y="837765"/>
                  </a:lnTo>
                  <a:lnTo>
                    <a:pt x="73531" y="832752"/>
                  </a:lnTo>
                  <a:lnTo>
                    <a:pt x="73531" y="828216"/>
                  </a:lnTo>
                  <a:lnTo>
                    <a:pt x="78527" y="828216"/>
                  </a:lnTo>
                  <a:lnTo>
                    <a:pt x="83009" y="828216"/>
                  </a:lnTo>
                  <a:lnTo>
                    <a:pt x="88004" y="813237"/>
                  </a:lnTo>
                  <a:lnTo>
                    <a:pt x="98042" y="808701"/>
                  </a:lnTo>
                  <a:lnTo>
                    <a:pt x="102524" y="808701"/>
                  </a:lnTo>
                  <a:lnTo>
                    <a:pt x="107519" y="798735"/>
                  </a:lnTo>
                  <a:lnTo>
                    <a:pt x="107519" y="793722"/>
                  </a:lnTo>
                  <a:lnTo>
                    <a:pt x="113028" y="793722"/>
                  </a:lnTo>
                  <a:lnTo>
                    <a:pt x="113028" y="779698"/>
                  </a:lnTo>
                  <a:lnTo>
                    <a:pt x="113028" y="774207"/>
                  </a:lnTo>
                  <a:lnTo>
                    <a:pt x="113028" y="769672"/>
                  </a:lnTo>
                  <a:lnTo>
                    <a:pt x="107519" y="760183"/>
                  </a:lnTo>
                  <a:lnTo>
                    <a:pt x="113028" y="760183"/>
                  </a:lnTo>
                  <a:lnTo>
                    <a:pt x="122552" y="760183"/>
                  </a:lnTo>
                  <a:lnTo>
                    <a:pt x="132030" y="769672"/>
                  </a:lnTo>
                  <a:lnTo>
                    <a:pt x="142021" y="774207"/>
                  </a:lnTo>
                  <a:lnTo>
                    <a:pt x="146549" y="774207"/>
                  </a:lnTo>
                  <a:lnTo>
                    <a:pt x="151545" y="779698"/>
                  </a:lnTo>
                  <a:lnTo>
                    <a:pt x="151545" y="784174"/>
                  </a:lnTo>
                  <a:lnTo>
                    <a:pt x="156027" y="784174"/>
                  </a:lnTo>
                  <a:lnTo>
                    <a:pt x="161536" y="779698"/>
                  </a:lnTo>
                  <a:lnTo>
                    <a:pt x="175542" y="779698"/>
                  </a:lnTo>
                  <a:lnTo>
                    <a:pt x="175542" y="764659"/>
                  </a:lnTo>
                  <a:lnTo>
                    <a:pt x="161536" y="760183"/>
                  </a:lnTo>
                  <a:lnTo>
                    <a:pt x="161536" y="745144"/>
                  </a:lnTo>
                  <a:lnTo>
                    <a:pt x="161536" y="740668"/>
                  </a:lnTo>
                  <a:lnTo>
                    <a:pt x="166064" y="730642"/>
                  </a:lnTo>
                  <a:lnTo>
                    <a:pt x="166064" y="725629"/>
                  </a:lnTo>
                  <a:lnTo>
                    <a:pt x="171060" y="715663"/>
                  </a:lnTo>
                  <a:lnTo>
                    <a:pt x="166064" y="711127"/>
                  </a:lnTo>
                  <a:lnTo>
                    <a:pt x="171060" y="701639"/>
                  </a:lnTo>
                  <a:lnTo>
                    <a:pt x="166064" y="696626"/>
                  </a:lnTo>
                  <a:lnTo>
                    <a:pt x="171060" y="686600"/>
                  </a:lnTo>
                  <a:lnTo>
                    <a:pt x="171060" y="682124"/>
                  </a:lnTo>
                  <a:lnTo>
                    <a:pt x="161536" y="682124"/>
                  </a:lnTo>
                  <a:lnTo>
                    <a:pt x="151545" y="657596"/>
                  </a:lnTo>
                  <a:lnTo>
                    <a:pt x="156027" y="653060"/>
                  </a:lnTo>
                  <a:lnTo>
                    <a:pt x="156027" y="638081"/>
                  </a:lnTo>
                  <a:lnTo>
                    <a:pt x="171060" y="638081"/>
                  </a:lnTo>
                  <a:lnTo>
                    <a:pt x="171060" y="628055"/>
                  </a:lnTo>
                  <a:lnTo>
                    <a:pt x="175542" y="623579"/>
                  </a:lnTo>
                  <a:lnTo>
                    <a:pt x="171060" y="614031"/>
                  </a:lnTo>
                  <a:lnTo>
                    <a:pt x="175542" y="608540"/>
                  </a:lnTo>
                  <a:lnTo>
                    <a:pt x="175542" y="604064"/>
                  </a:lnTo>
                  <a:lnTo>
                    <a:pt x="171060" y="604064"/>
                  </a:lnTo>
                  <a:lnTo>
                    <a:pt x="171060" y="594516"/>
                  </a:lnTo>
                  <a:lnTo>
                    <a:pt x="161536" y="585027"/>
                  </a:lnTo>
                  <a:lnTo>
                    <a:pt x="151545" y="569988"/>
                  </a:lnTo>
                  <a:lnTo>
                    <a:pt x="137025" y="565512"/>
                  </a:lnTo>
                  <a:lnTo>
                    <a:pt x="137025" y="555486"/>
                  </a:lnTo>
                  <a:lnTo>
                    <a:pt x="122552" y="530958"/>
                  </a:lnTo>
                  <a:lnTo>
                    <a:pt x="127034" y="526483"/>
                  </a:lnTo>
                  <a:lnTo>
                    <a:pt x="132030" y="530958"/>
                  </a:lnTo>
                  <a:lnTo>
                    <a:pt x="142021" y="526483"/>
                  </a:lnTo>
                  <a:lnTo>
                    <a:pt x="142021" y="520992"/>
                  </a:lnTo>
                  <a:lnTo>
                    <a:pt x="146549" y="520992"/>
                  </a:lnTo>
                  <a:lnTo>
                    <a:pt x="142021" y="511444"/>
                  </a:lnTo>
                  <a:lnTo>
                    <a:pt x="151545" y="511444"/>
                  </a:lnTo>
                  <a:lnTo>
                    <a:pt x="161536" y="511444"/>
                  </a:lnTo>
                  <a:lnTo>
                    <a:pt x="166064" y="506968"/>
                  </a:lnTo>
                  <a:lnTo>
                    <a:pt x="186046" y="487453"/>
                  </a:lnTo>
                  <a:lnTo>
                    <a:pt x="181051" y="482440"/>
                  </a:lnTo>
                  <a:lnTo>
                    <a:pt x="186046" y="472414"/>
                  </a:lnTo>
                  <a:lnTo>
                    <a:pt x="190528" y="467938"/>
                  </a:lnTo>
                  <a:lnTo>
                    <a:pt x="190528" y="462925"/>
                  </a:lnTo>
                  <a:lnTo>
                    <a:pt x="205561" y="458390"/>
                  </a:lnTo>
                  <a:lnTo>
                    <a:pt x="205561" y="452899"/>
                  </a:lnTo>
                  <a:lnTo>
                    <a:pt x="200566" y="443410"/>
                  </a:lnTo>
                  <a:lnTo>
                    <a:pt x="205561" y="428908"/>
                  </a:lnTo>
                  <a:lnTo>
                    <a:pt x="205561" y="419360"/>
                  </a:lnTo>
                  <a:lnTo>
                    <a:pt x="196037" y="413869"/>
                  </a:lnTo>
                  <a:lnTo>
                    <a:pt x="186046" y="389819"/>
                  </a:lnTo>
                  <a:lnTo>
                    <a:pt x="186046" y="384866"/>
                  </a:lnTo>
                  <a:lnTo>
                    <a:pt x="186046" y="375317"/>
                  </a:lnTo>
                  <a:lnTo>
                    <a:pt x="190528" y="360815"/>
                  </a:lnTo>
                  <a:lnTo>
                    <a:pt x="186046" y="345836"/>
                  </a:lnTo>
                  <a:lnTo>
                    <a:pt x="175542" y="336288"/>
                  </a:lnTo>
                  <a:lnTo>
                    <a:pt x="175542" y="326321"/>
                  </a:lnTo>
                  <a:lnTo>
                    <a:pt x="171060" y="312297"/>
                  </a:lnTo>
                  <a:lnTo>
                    <a:pt x="171060" y="306747"/>
                  </a:lnTo>
                  <a:lnTo>
                    <a:pt x="161536" y="302271"/>
                  </a:lnTo>
                  <a:lnTo>
                    <a:pt x="156027" y="287769"/>
                  </a:lnTo>
                  <a:lnTo>
                    <a:pt x="142021" y="277743"/>
                  </a:lnTo>
                  <a:lnTo>
                    <a:pt x="137025" y="277743"/>
                  </a:lnTo>
                  <a:lnTo>
                    <a:pt x="137025" y="282756"/>
                  </a:lnTo>
                  <a:lnTo>
                    <a:pt x="132030" y="282756"/>
                  </a:lnTo>
                  <a:lnTo>
                    <a:pt x="132030" y="273267"/>
                  </a:lnTo>
                  <a:lnTo>
                    <a:pt x="122552" y="258228"/>
                  </a:lnTo>
                  <a:lnTo>
                    <a:pt x="117510" y="268254"/>
                  </a:lnTo>
                  <a:lnTo>
                    <a:pt x="113028" y="268254"/>
                  </a:lnTo>
                  <a:lnTo>
                    <a:pt x="107519" y="258228"/>
                  </a:lnTo>
                  <a:lnTo>
                    <a:pt x="102524" y="262764"/>
                  </a:lnTo>
                  <a:lnTo>
                    <a:pt x="92533" y="253215"/>
                  </a:lnTo>
                  <a:lnTo>
                    <a:pt x="92533" y="243189"/>
                  </a:lnTo>
                  <a:lnTo>
                    <a:pt x="102524" y="238714"/>
                  </a:lnTo>
                  <a:lnTo>
                    <a:pt x="98042" y="233701"/>
                  </a:lnTo>
                  <a:lnTo>
                    <a:pt x="92533" y="233701"/>
                  </a:lnTo>
                  <a:lnTo>
                    <a:pt x="88004" y="233701"/>
                  </a:lnTo>
                  <a:lnTo>
                    <a:pt x="83009" y="229225"/>
                  </a:lnTo>
                  <a:lnTo>
                    <a:pt x="83009" y="214186"/>
                  </a:lnTo>
                  <a:lnTo>
                    <a:pt x="78527" y="209710"/>
                  </a:lnTo>
                  <a:lnTo>
                    <a:pt x="88004" y="180646"/>
                  </a:lnTo>
                  <a:lnTo>
                    <a:pt x="98042" y="185182"/>
                  </a:lnTo>
                  <a:lnTo>
                    <a:pt x="98042" y="175156"/>
                  </a:lnTo>
                  <a:lnTo>
                    <a:pt x="98042" y="170680"/>
                  </a:lnTo>
                  <a:lnTo>
                    <a:pt x="113028" y="155641"/>
                  </a:lnTo>
                  <a:lnTo>
                    <a:pt x="117510" y="155641"/>
                  </a:lnTo>
                  <a:lnTo>
                    <a:pt x="146549" y="155641"/>
                  </a:lnTo>
                  <a:lnTo>
                    <a:pt x="161536" y="146152"/>
                  </a:lnTo>
                  <a:lnTo>
                    <a:pt x="161536" y="155641"/>
                  </a:lnTo>
                  <a:lnTo>
                    <a:pt x="171060" y="155641"/>
                  </a:lnTo>
                  <a:lnTo>
                    <a:pt x="171060" y="151106"/>
                  </a:lnTo>
                  <a:lnTo>
                    <a:pt x="175542" y="151106"/>
                  </a:lnTo>
                  <a:lnTo>
                    <a:pt x="175542" y="155641"/>
                  </a:lnTo>
                  <a:lnTo>
                    <a:pt x="181051" y="155641"/>
                  </a:lnTo>
                  <a:lnTo>
                    <a:pt x="190528" y="146152"/>
                  </a:lnTo>
                  <a:lnTo>
                    <a:pt x="210043" y="136126"/>
                  </a:lnTo>
                  <a:lnTo>
                    <a:pt x="205561" y="126637"/>
                  </a:lnTo>
                  <a:lnTo>
                    <a:pt x="200566" y="112076"/>
                  </a:lnTo>
                  <a:lnTo>
                    <a:pt x="196037" y="116611"/>
                  </a:lnTo>
                  <a:lnTo>
                    <a:pt x="190528" y="107123"/>
                  </a:lnTo>
                  <a:lnTo>
                    <a:pt x="200566" y="102587"/>
                  </a:lnTo>
                  <a:lnTo>
                    <a:pt x="200566" y="87608"/>
                  </a:lnTo>
                  <a:lnTo>
                    <a:pt x="190528" y="83072"/>
                  </a:lnTo>
                  <a:lnTo>
                    <a:pt x="190528" y="78059"/>
                  </a:lnTo>
                  <a:lnTo>
                    <a:pt x="205561" y="73583"/>
                  </a:lnTo>
                  <a:lnTo>
                    <a:pt x="205561" y="78059"/>
                  </a:lnTo>
                  <a:lnTo>
                    <a:pt x="210043" y="78059"/>
                  </a:lnTo>
                  <a:lnTo>
                    <a:pt x="215039" y="73583"/>
                  </a:lnTo>
                  <a:lnTo>
                    <a:pt x="210043" y="68033"/>
                  </a:lnTo>
                  <a:lnTo>
                    <a:pt x="215039" y="58544"/>
                  </a:lnTo>
                  <a:lnTo>
                    <a:pt x="220034" y="63557"/>
                  </a:lnTo>
                  <a:lnTo>
                    <a:pt x="229558" y="54068"/>
                  </a:lnTo>
                  <a:lnTo>
                    <a:pt x="234554" y="48518"/>
                  </a:lnTo>
                  <a:lnTo>
                    <a:pt x="234554" y="44042"/>
                  </a:lnTo>
                  <a:lnTo>
                    <a:pt x="239082" y="44042"/>
                  </a:lnTo>
                  <a:lnTo>
                    <a:pt x="239082" y="34554"/>
                  </a:lnTo>
                  <a:lnTo>
                    <a:pt x="254069" y="29004"/>
                  </a:lnTo>
                  <a:lnTo>
                    <a:pt x="264060" y="48518"/>
                  </a:lnTo>
                  <a:lnTo>
                    <a:pt x="269055" y="44042"/>
                  </a:lnTo>
                  <a:lnTo>
                    <a:pt x="273584" y="39030"/>
                  </a:lnTo>
                  <a:lnTo>
                    <a:pt x="288570" y="34554"/>
                  </a:lnTo>
                  <a:lnTo>
                    <a:pt x="293052" y="44042"/>
                  </a:lnTo>
                  <a:lnTo>
                    <a:pt x="298094" y="44042"/>
                  </a:lnTo>
                  <a:lnTo>
                    <a:pt x="298094" y="29004"/>
                  </a:lnTo>
                  <a:lnTo>
                    <a:pt x="308085" y="24528"/>
                  </a:lnTo>
                  <a:lnTo>
                    <a:pt x="308085" y="19515"/>
                  </a:lnTo>
                  <a:lnTo>
                    <a:pt x="312567" y="15039"/>
                  </a:lnTo>
                  <a:lnTo>
                    <a:pt x="317563" y="15039"/>
                  </a:lnTo>
                  <a:lnTo>
                    <a:pt x="317563" y="5013"/>
                  </a:lnTo>
                  <a:lnTo>
                    <a:pt x="327600" y="5013"/>
                  </a:lnTo>
                  <a:lnTo>
                    <a:pt x="332596" y="5013"/>
                  </a:lnTo>
                  <a:close/>
                </a:path>
              </a:pathLst>
            </a:custGeom>
            <a:solidFill>
              <a:srgbClr val="E11A81">
                <a:lumMod val="20000"/>
                <a:lumOff val="80000"/>
              </a:srgbClr>
            </a:solidFill>
            <a:ln w="6350" cap="flat" cmpd="sng" algn="ctr">
              <a:solidFill>
                <a:sysClr val="window" lastClr="FFFFFF"/>
              </a:solidFill>
              <a:prstDash val="solid"/>
              <a:miter lim="800000"/>
            </a:ln>
            <a:effectLst/>
          </p:spPr>
          <p:txBody>
            <a:bodyPr rot="0" spcFirstLastPara="0" vert="horz" wrap="square" lIns="58652" tIns="29326" rIns="58652" bIns="2932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586496">
                <a:defRPr/>
              </a:pPr>
              <a:endParaRPr lang="fr-FR" sz="1400">
                <a:solidFill>
                  <a:srgbClr val="FFFFFF"/>
                </a:solidFill>
                <a:latin typeface="Helvetica Neue"/>
              </a:endParaRPr>
            </a:p>
          </p:txBody>
        </p:sp>
        <p:sp>
          <p:nvSpPr>
            <p:cNvPr id="56" name="Forme libre 16">
              <a:extLst>
                <a:ext uri="{FF2B5EF4-FFF2-40B4-BE49-F238E27FC236}">
                  <a16:creationId xmlns:a16="http://schemas.microsoft.com/office/drawing/2014/main" id="{4C884E87-718C-4D84-BA13-35CDBA8F9D33}"/>
                </a:ext>
              </a:extLst>
            </p:cNvPr>
            <p:cNvSpPr/>
            <p:nvPr/>
          </p:nvSpPr>
          <p:spPr>
            <a:xfrm>
              <a:off x="3571033" y="4107340"/>
              <a:ext cx="221356" cy="166204"/>
            </a:xfrm>
            <a:custGeom>
              <a:avLst/>
              <a:gdLst>
                <a:gd name="connsiteX0" fmla="*/ 190867 w 1594610"/>
                <a:gd name="connsiteY0" fmla="*/ 0 h 1215313"/>
                <a:gd name="connsiteX1" fmla="*/ 200907 w 1594610"/>
                <a:gd name="connsiteY1" fmla="*/ 4499 h 1215313"/>
                <a:gd name="connsiteX2" fmla="*/ 205902 w 1594610"/>
                <a:gd name="connsiteY2" fmla="*/ 14468 h 1215313"/>
                <a:gd name="connsiteX3" fmla="*/ 210448 w 1594610"/>
                <a:gd name="connsiteY3" fmla="*/ 19514 h 1215313"/>
                <a:gd name="connsiteX4" fmla="*/ 225484 w 1594610"/>
                <a:gd name="connsiteY4" fmla="*/ 9483 h 1215313"/>
                <a:gd name="connsiteX5" fmla="*/ 225484 w 1594610"/>
                <a:gd name="connsiteY5" fmla="*/ 14468 h 1215313"/>
                <a:gd name="connsiteX6" fmla="*/ 234974 w 1594610"/>
                <a:gd name="connsiteY6" fmla="*/ 14468 h 1215313"/>
                <a:gd name="connsiteX7" fmla="*/ 249510 w 1594610"/>
                <a:gd name="connsiteY7" fmla="*/ 33495 h 1215313"/>
                <a:gd name="connsiteX8" fmla="*/ 249510 w 1594610"/>
                <a:gd name="connsiteY8" fmla="*/ 43465 h 1215313"/>
                <a:gd name="connsiteX9" fmla="*/ 260050 w 1594610"/>
                <a:gd name="connsiteY9" fmla="*/ 38966 h 1215313"/>
                <a:gd name="connsiteX10" fmla="*/ 260050 w 1594610"/>
                <a:gd name="connsiteY10" fmla="*/ 43465 h 1215313"/>
                <a:gd name="connsiteX11" fmla="*/ 264546 w 1594610"/>
                <a:gd name="connsiteY11" fmla="*/ 52948 h 1215313"/>
                <a:gd name="connsiteX12" fmla="*/ 264546 w 1594610"/>
                <a:gd name="connsiteY12" fmla="*/ 58480 h 1215313"/>
                <a:gd name="connsiteX13" fmla="*/ 274037 w 1594610"/>
                <a:gd name="connsiteY13" fmla="*/ 62979 h 1215313"/>
                <a:gd name="connsiteX14" fmla="*/ 279082 w 1594610"/>
                <a:gd name="connsiteY14" fmla="*/ 67963 h 1215313"/>
                <a:gd name="connsiteX15" fmla="*/ 279082 w 1594610"/>
                <a:gd name="connsiteY15" fmla="*/ 72462 h 1215313"/>
                <a:gd name="connsiteX16" fmla="*/ 274037 w 1594610"/>
                <a:gd name="connsiteY16" fmla="*/ 87477 h 1215313"/>
                <a:gd name="connsiteX17" fmla="*/ 279082 w 1594610"/>
                <a:gd name="connsiteY17" fmla="*/ 87477 h 1215313"/>
                <a:gd name="connsiteX18" fmla="*/ 284077 w 1594610"/>
                <a:gd name="connsiteY18" fmla="*/ 91975 h 1215313"/>
                <a:gd name="connsiteX19" fmla="*/ 264546 w 1594610"/>
                <a:gd name="connsiteY19" fmla="*/ 111428 h 1215313"/>
                <a:gd name="connsiteX20" fmla="*/ 274037 w 1594610"/>
                <a:gd name="connsiteY20" fmla="*/ 116413 h 1215313"/>
                <a:gd name="connsiteX21" fmla="*/ 279082 w 1594610"/>
                <a:gd name="connsiteY21" fmla="*/ 111428 h 1215313"/>
                <a:gd name="connsiteX22" fmla="*/ 284077 w 1594610"/>
                <a:gd name="connsiteY22" fmla="*/ 111428 h 1215313"/>
                <a:gd name="connsiteX23" fmla="*/ 289072 w 1594610"/>
                <a:gd name="connsiteY23" fmla="*/ 111428 h 1215313"/>
                <a:gd name="connsiteX24" fmla="*/ 293618 w 1594610"/>
                <a:gd name="connsiteY24" fmla="*/ 121458 h 1215313"/>
                <a:gd name="connsiteX25" fmla="*/ 298613 w 1594610"/>
                <a:gd name="connsiteY25" fmla="*/ 135926 h 1215313"/>
                <a:gd name="connsiteX26" fmla="*/ 308654 w 1594610"/>
                <a:gd name="connsiteY26" fmla="*/ 135926 h 1215313"/>
                <a:gd name="connsiteX27" fmla="*/ 308654 w 1594610"/>
                <a:gd name="connsiteY27" fmla="*/ 130942 h 1215313"/>
                <a:gd name="connsiteX28" fmla="*/ 313149 w 1594610"/>
                <a:gd name="connsiteY28" fmla="*/ 135926 h 1215313"/>
                <a:gd name="connsiteX29" fmla="*/ 318145 w 1594610"/>
                <a:gd name="connsiteY29" fmla="*/ 126443 h 1215313"/>
                <a:gd name="connsiteX30" fmla="*/ 318145 w 1594610"/>
                <a:gd name="connsiteY30" fmla="*/ 121458 h 1215313"/>
                <a:gd name="connsiteX31" fmla="*/ 328185 w 1594610"/>
                <a:gd name="connsiteY31" fmla="*/ 121458 h 1215313"/>
                <a:gd name="connsiteX32" fmla="*/ 333180 w 1594610"/>
                <a:gd name="connsiteY32" fmla="*/ 130942 h 1215313"/>
                <a:gd name="connsiteX33" fmla="*/ 322640 w 1594610"/>
                <a:gd name="connsiteY33" fmla="*/ 135926 h 1215313"/>
                <a:gd name="connsiteX34" fmla="*/ 328185 w 1594610"/>
                <a:gd name="connsiteY34" fmla="*/ 145896 h 1215313"/>
                <a:gd name="connsiteX35" fmla="*/ 337676 w 1594610"/>
                <a:gd name="connsiteY35" fmla="*/ 145896 h 1215313"/>
                <a:gd name="connsiteX36" fmla="*/ 347716 w 1594610"/>
                <a:gd name="connsiteY36" fmla="*/ 155440 h 1215313"/>
                <a:gd name="connsiteX37" fmla="*/ 352711 w 1594610"/>
                <a:gd name="connsiteY37" fmla="*/ 159878 h 1215313"/>
                <a:gd name="connsiteX38" fmla="*/ 347716 w 1594610"/>
                <a:gd name="connsiteY38" fmla="*/ 165410 h 1215313"/>
                <a:gd name="connsiteX39" fmla="*/ 352711 w 1594610"/>
                <a:gd name="connsiteY39" fmla="*/ 169908 h 1215313"/>
                <a:gd name="connsiteX40" fmla="*/ 357207 w 1594610"/>
                <a:gd name="connsiteY40" fmla="*/ 179391 h 1215313"/>
                <a:gd name="connsiteX41" fmla="*/ 357207 w 1594610"/>
                <a:gd name="connsiteY41" fmla="*/ 189361 h 1215313"/>
                <a:gd name="connsiteX42" fmla="*/ 362252 w 1594610"/>
                <a:gd name="connsiteY42" fmla="*/ 194406 h 1215313"/>
                <a:gd name="connsiteX43" fmla="*/ 367247 w 1594610"/>
                <a:gd name="connsiteY43" fmla="*/ 194406 h 1215313"/>
                <a:gd name="connsiteX44" fmla="*/ 376788 w 1594610"/>
                <a:gd name="connsiteY44" fmla="*/ 204376 h 1215313"/>
                <a:gd name="connsiteX45" fmla="*/ 376788 w 1594610"/>
                <a:gd name="connsiteY45" fmla="*/ 208874 h 1215313"/>
                <a:gd name="connsiteX46" fmla="*/ 362252 w 1594610"/>
                <a:gd name="connsiteY46" fmla="*/ 213859 h 1215313"/>
                <a:gd name="connsiteX47" fmla="*/ 367247 w 1594610"/>
                <a:gd name="connsiteY47" fmla="*/ 223342 h 1215313"/>
                <a:gd name="connsiteX48" fmla="*/ 372243 w 1594610"/>
                <a:gd name="connsiteY48" fmla="*/ 223342 h 1215313"/>
                <a:gd name="connsiteX49" fmla="*/ 376788 w 1594610"/>
                <a:gd name="connsiteY49" fmla="*/ 223342 h 1215313"/>
                <a:gd name="connsiteX50" fmla="*/ 381783 w 1594610"/>
                <a:gd name="connsiteY50" fmla="*/ 213859 h 1215313"/>
                <a:gd name="connsiteX51" fmla="*/ 386279 w 1594610"/>
                <a:gd name="connsiteY51" fmla="*/ 213859 h 1215313"/>
                <a:gd name="connsiteX52" fmla="*/ 386279 w 1594610"/>
                <a:gd name="connsiteY52" fmla="*/ 218358 h 1215313"/>
                <a:gd name="connsiteX53" fmla="*/ 391824 w 1594610"/>
                <a:gd name="connsiteY53" fmla="*/ 228388 h 1215313"/>
                <a:gd name="connsiteX54" fmla="*/ 386279 w 1594610"/>
                <a:gd name="connsiteY54" fmla="*/ 252826 h 1215313"/>
                <a:gd name="connsiteX55" fmla="*/ 396319 w 1594610"/>
                <a:gd name="connsiteY55" fmla="*/ 252826 h 1215313"/>
                <a:gd name="connsiteX56" fmla="*/ 396319 w 1594610"/>
                <a:gd name="connsiteY56" fmla="*/ 247354 h 1215313"/>
                <a:gd name="connsiteX57" fmla="*/ 416350 w 1594610"/>
                <a:gd name="connsiteY57" fmla="*/ 247354 h 1215313"/>
                <a:gd name="connsiteX58" fmla="*/ 425891 w 1594610"/>
                <a:gd name="connsiteY58" fmla="*/ 242856 h 1215313"/>
                <a:gd name="connsiteX59" fmla="*/ 430886 w 1594610"/>
                <a:gd name="connsiteY59" fmla="*/ 252826 h 1215313"/>
                <a:gd name="connsiteX60" fmla="*/ 435881 w 1594610"/>
                <a:gd name="connsiteY60" fmla="*/ 247354 h 1215313"/>
                <a:gd name="connsiteX61" fmla="*/ 440377 w 1594610"/>
                <a:gd name="connsiteY61" fmla="*/ 252826 h 1215313"/>
                <a:gd name="connsiteX62" fmla="*/ 445422 w 1594610"/>
                <a:gd name="connsiteY62" fmla="*/ 247354 h 1215313"/>
                <a:gd name="connsiteX63" fmla="*/ 445422 w 1594610"/>
                <a:gd name="connsiteY63" fmla="*/ 242856 h 1215313"/>
                <a:gd name="connsiteX64" fmla="*/ 455413 w 1594610"/>
                <a:gd name="connsiteY64" fmla="*/ 242856 h 1215313"/>
                <a:gd name="connsiteX65" fmla="*/ 459958 w 1594610"/>
                <a:gd name="connsiteY65" fmla="*/ 247354 h 1215313"/>
                <a:gd name="connsiteX66" fmla="*/ 469449 w 1594610"/>
                <a:gd name="connsiteY66" fmla="*/ 247354 h 1215313"/>
                <a:gd name="connsiteX67" fmla="*/ 474994 w 1594610"/>
                <a:gd name="connsiteY67" fmla="*/ 242856 h 1215313"/>
                <a:gd name="connsiteX68" fmla="*/ 484485 w 1594610"/>
                <a:gd name="connsiteY68" fmla="*/ 233373 h 1215313"/>
                <a:gd name="connsiteX69" fmla="*/ 489979 w 1594610"/>
                <a:gd name="connsiteY69" fmla="*/ 237871 h 1215313"/>
                <a:gd name="connsiteX70" fmla="*/ 494525 w 1594610"/>
                <a:gd name="connsiteY70" fmla="*/ 242856 h 1215313"/>
                <a:gd name="connsiteX71" fmla="*/ 499520 w 1594610"/>
                <a:gd name="connsiteY71" fmla="*/ 242856 h 1215313"/>
                <a:gd name="connsiteX72" fmla="*/ 494525 w 1594610"/>
                <a:gd name="connsiteY72" fmla="*/ 228388 h 1215313"/>
                <a:gd name="connsiteX73" fmla="*/ 504016 w 1594610"/>
                <a:gd name="connsiteY73" fmla="*/ 228388 h 1215313"/>
                <a:gd name="connsiteX74" fmla="*/ 504016 w 1594610"/>
                <a:gd name="connsiteY74" fmla="*/ 237871 h 1215313"/>
                <a:gd name="connsiteX75" fmla="*/ 519051 w 1594610"/>
                <a:gd name="connsiteY75" fmla="*/ 247354 h 1215313"/>
                <a:gd name="connsiteX76" fmla="*/ 528592 w 1594610"/>
                <a:gd name="connsiteY76" fmla="*/ 247354 h 1215313"/>
                <a:gd name="connsiteX77" fmla="*/ 533088 w 1594610"/>
                <a:gd name="connsiteY77" fmla="*/ 252826 h 1215313"/>
                <a:gd name="connsiteX78" fmla="*/ 533088 w 1594610"/>
                <a:gd name="connsiteY78" fmla="*/ 237871 h 1215313"/>
                <a:gd name="connsiteX79" fmla="*/ 538583 w 1594610"/>
                <a:gd name="connsiteY79" fmla="*/ 233373 h 1215313"/>
                <a:gd name="connsiteX80" fmla="*/ 538583 w 1594610"/>
                <a:gd name="connsiteY80" fmla="*/ 228388 h 1215313"/>
                <a:gd name="connsiteX81" fmla="*/ 553618 w 1594610"/>
                <a:gd name="connsiteY81" fmla="*/ 233373 h 1215313"/>
                <a:gd name="connsiteX82" fmla="*/ 573149 w 1594610"/>
                <a:gd name="connsiteY82" fmla="*/ 228388 h 1215313"/>
                <a:gd name="connsiteX83" fmla="*/ 582690 w 1594610"/>
                <a:gd name="connsiteY83" fmla="*/ 228388 h 1215313"/>
                <a:gd name="connsiteX84" fmla="*/ 587186 w 1594610"/>
                <a:gd name="connsiteY84" fmla="*/ 233373 h 1215313"/>
                <a:gd name="connsiteX85" fmla="*/ 606717 w 1594610"/>
                <a:gd name="connsiteY85" fmla="*/ 223342 h 1215313"/>
                <a:gd name="connsiteX86" fmla="*/ 626798 w 1594610"/>
                <a:gd name="connsiteY86" fmla="*/ 223342 h 1215313"/>
                <a:gd name="connsiteX87" fmla="*/ 631294 w 1594610"/>
                <a:gd name="connsiteY87" fmla="*/ 223342 h 1215313"/>
                <a:gd name="connsiteX88" fmla="*/ 621753 w 1594610"/>
                <a:gd name="connsiteY88" fmla="*/ 204376 h 1215313"/>
                <a:gd name="connsiteX89" fmla="*/ 626798 w 1594610"/>
                <a:gd name="connsiteY89" fmla="*/ 204376 h 1215313"/>
                <a:gd name="connsiteX90" fmla="*/ 626798 w 1594610"/>
                <a:gd name="connsiteY90" fmla="*/ 198905 h 1215313"/>
                <a:gd name="connsiteX91" fmla="*/ 636788 w 1594610"/>
                <a:gd name="connsiteY91" fmla="*/ 194406 h 1215313"/>
                <a:gd name="connsiteX92" fmla="*/ 650825 w 1594610"/>
                <a:gd name="connsiteY92" fmla="*/ 189361 h 1215313"/>
                <a:gd name="connsiteX93" fmla="*/ 650825 w 1594610"/>
                <a:gd name="connsiteY93" fmla="*/ 194406 h 1215313"/>
                <a:gd name="connsiteX94" fmla="*/ 670356 w 1594610"/>
                <a:gd name="connsiteY94" fmla="*/ 198905 h 1215313"/>
                <a:gd name="connsiteX95" fmla="*/ 679897 w 1594610"/>
                <a:gd name="connsiteY95" fmla="*/ 194406 h 1215313"/>
                <a:gd name="connsiteX96" fmla="*/ 689887 w 1594610"/>
                <a:gd name="connsiteY96" fmla="*/ 198905 h 1215313"/>
                <a:gd name="connsiteX97" fmla="*/ 714464 w 1594610"/>
                <a:gd name="connsiteY97" fmla="*/ 204376 h 1215313"/>
                <a:gd name="connsiteX98" fmla="*/ 719958 w 1594610"/>
                <a:gd name="connsiteY98" fmla="*/ 208874 h 1215313"/>
                <a:gd name="connsiteX99" fmla="*/ 719958 w 1594610"/>
                <a:gd name="connsiteY99" fmla="*/ 213859 h 1215313"/>
                <a:gd name="connsiteX100" fmla="*/ 714464 w 1594610"/>
                <a:gd name="connsiteY100" fmla="*/ 213859 h 1215313"/>
                <a:gd name="connsiteX101" fmla="*/ 714464 w 1594610"/>
                <a:gd name="connsiteY101" fmla="*/ 223342 h 1215313"/>
                <a:gd name="connsiteX102" fmla="*/ 719958 w 1594610"/>
                <a:gd name="connsiteY102" fmla="*/ 228388 h 1215313"/>
                <a:gd name="connsiteX103" fmla="*/ 733995 w 1594610"/>
                <a:gd name="connsiteY103" fmla="*/ 223342 h 1215313"/>
                <a:gd name="connsiteX104" fmla="*/ 738990 w 1594610"/>
                <a:gd name="connsiteY104" fmla="*/ 228388 h 1215313"/>
                <a:gd name="connsiteX105" fmla="*/ 738990 w 1594610"/>
                <a:gd name="connsiteY105" fmla="*/ 237871 h 1215313"/>
                <a:gd name="connsiteX106" fmla="*/ 729499 w 1594610"/>
                <a:gd name="connsiteY106" fmla="*/ 252826 h 1215313"/>
                <a:gd name="connsiteX107" fmla="*/ 738990 w 1594610"/>
                <a:gd name="connsiteY107" fmla="*/ 257324 h 1215313"/>
                <a:gd name="connsiteX108" fmla="*/ 743536 w 1594610"/>
                <a:gd name="connsiteY108" fmla="*/ 247354 h 1215313"/>
                <a:gd name="connsiteX109" fmla="*/ 758571 w 1594610"/>
                <a:gd name="connsiteY109" fmla="*/ 247354 h 1215313"/>
                <a:gd name="connsiteX110" fmla="*/ 764066 w 1594610"/>
                <a:gd name="connsiteY110" fmla="*/ 262370 h 1215313"/>
                <a:gd name="connsiteX111" fmla="*/ 768562 w 1594610"/>
                <a:gd name="connsiteY111" fmla="*/ 272339 h 1215313"/>
                <a:gd name="connsiteX112" fmla="*/ 778103 w 1594610"/>
                <a:gd name="connsiteY112" fmla="*/ 276838 h 1215313"/>
                <a:gd name="connsiteX113" fmla="*/ 783597 w 1594610"/>
                <a:gd name="connsiteY113" fmla="*/ 296351 h 1215313"/>
                <a:gd name="connsiteX114" fmla="*/ 788093 w 1594610"/>
                <a:gd name="connsiteY114" fmla="*/ 296351 h 1215313"/>
                <a:gd name="connsiteX115" fmla="*/ 788093 w 1594610"/>
                <a:gd name="connsiteY115" fmla="*/ 301336 h 1215313"/>
                <a:gd name="connsiteX116" fmla="*/ 793138 w 1594610"/>
                <a:gd name="connsiteY116" fmla="*/ 301336 h 1215313"/>
                <a:gd name="connsiteX117" fmla="*/ 788093 w 1594610"/>
                <a:gd name="connsiteY117" fmla="*/ 311305 h 1215313"/>
                <a:gd name="connsiteX118" fmla="*/ 778103 w 1594610"/>
                <a:gd name="connsiteY118" fmla="*/ 315804 h 1215313"/>
                <a:gd name="connsiteX119" fmla="*/ 773557 w 1594610"/>
                <a:gd name="connsiteY119" fmla="*/ 320789 h 1215313"/>
                <a:gd name="connsiteX120" fmla="*/ 764066 w 1594610"/>
                <a:gd name="connsiteY120" fmla="*/ 325287 h 1215313"/>
                <a:gd name="connsiteX121" fmla="*/ 768562 w 1594610"/>
                <a:gd name="connsiteY121" fmla="*/ 330333 h 1215313"/>
                <a:gd name="connsiteX122" fmla="*/ 773557 w 1594610"/>
                <a:gd name="connsiteY122" fmla="*/ 330333 h 1215313"/>
                <a:gd name="connsiteX123" fmla="*/ 778103 w 1594610"/>
                <a:gd name="connsiteY123" fmla="*/ 335318 h 1215313"/>
                <a:gd name="connsiteX124" fmla="*/ 783597 w 1594610"/>
                <a:gd name="connsiteY124" fmla="*/ 349786 h 1215313"/>
                <a:gd name="connsiteX125" fmla="*/ 783597 w 1594610"/>
                <a:gd name="connsiteY125" fmla="*/ 359816 h 1215313"/>
                <a:gd name="connsiteX126" fmla="*/ 778103 w 1594610"/>
                <a:gd name="connsiteY126" fmla="*/ 364314 h 1215313"/>
                <a:gd name="connsiteX127" fmla="*/ 783597 w 1594610"/>
                <a:gd name="connsiteY127" fmla="*/ 369299 h 1215313"/>
                <a:gd name="connsiteX128" fmla="*/ 797634 w 1594610"/>
                <a:gd name="connsiteY128" fmla="*/ 369299 h 1215313"/>
                <a:gd name="connsiteX129" fmla="*/ 797634 w 1594610"/>
                <a:gd name="connsiteY129" fmla="*/ 364314 h 1215313"/>
                <a:gd name="connsiteX130" fmla="*/ 807674 w 1594610"/>
                <a:gd name="connsiteY130" fmla="*/ 359816 h 1215313"/>
                <a:gd name="connsiteX131" fmla="*/ 807674 w 1594610"/>
                <a:gd name="connsiteY131" fmla="*/ 369299 h 1215313"/>
                <a:gd name="connsiteX132" fmla="*/ 817165 w 1594610"/>
                <a:gd name="connsiteY132" fmla="*/ 369299 h 1215313"/>
                <a:gd name="connsiteX133" fmla="*/ 817165 w 1594610"/>
                <a:gd name="connsiteY133" fmla="*/ 373798 h 1215313"/>
                <a:gd name="connsiteX134" fmla="*/ 812669 w 1594610"/>
                <a:gd name="connsiteY134" fmla="*/ 379269 h 1215313"/>
                <a:gd name="connsiteX135" fmla="*/ 817165 w 1594610"/>
                <a:gd name="connsiteY135" fmla="*/ 383767 h 1215313"/>
                <a:gd name="connsiteX136" fmla="*/ 841741 w 1594610"/>
                <a:gd name="connsiteY136" fmla="*/ 388752 h 1215313"/>
                <a:gd name="connsiteX137" fmla="*/ 851732 w 1594610"/>
                <a:gd name="connsiteY137" fmla="*/ 388752 h 1215313"/>
                <a:gd name="connsiteX138" fmla="*/ 856727 w 1594610"/>
                <a:gd name="connsiteY138" fmla="*/ 373798 h 1215313"/>
                <a:gd name="connsiteX139" fmla="*/ 861273 w 1594610"/>
                <a:gd name="connsiteY139" fmla="*/ 373798 h 1215313"/>
                <a:gd name="connsiteX140" fmla="*/ 861273 w 1594610"/>
                <a:gd name="connsiteY140" fmla="*/ 388752 h 1215313"/>
                <a:gd name="connsiteX141" fmla="*/ 866767 w 1594610"/>
                <a:gd name="connsiteY141" fmla="*/ 388752 h 1215313"/>
                <a:gd name="connsiteX142" fmla="*/ 866767 w 1594610"/>
                <a:gd name="connsiteY142" fmla="*/ 393250 h 1215313"/>
                <a:gd name="connsiteX143" fmla="*/ 876308 w 1594610"/>
                <a:gd name="connsiteY143" fmla="*/ 398782 h 1215313"/>
                <a:gd name="connsiteX144" fmla="*/ 885799 w 1594610"/>
                <a:gd name="connsiteY144" fmla="*/ 408265 h 1215313"/>
                <a:gd name="connsiteX145" fmla="*/ 890295 w 1594610"/>
                <a:gd name="connsiteY145" fmla="*/ 408265 h 1215313"/>
                <a:gd name="connsiteX146" fmla="*/ 895839 w 1594610"/>
                <a:gd name="connsiteY146" fmla="*/ 408265 h 1215313"/>
                <a:gd name="connsiteX147" fmla="*/ 890295 w 1594610"/>
                <a:gd name="connsiteY147" fmla="*/ 418235 h 1215313"/>
                <a:gd name="connsiteX148" fmla="*/ 890295 w 1594610"/>
                <a:gd name="connsiteY148" fmla="*/ 427779 h 1215313"/>
                <a:gd name="connsiteX149" fmla="*/ 895839 w 1594610"/>
                <a:gd name="connsiteY149" fmla="*/ 427779 h 1215313"/>
                <a:gd name="connsiteX150" fmla="*/ 905330 w 1594610"/>
                <a:gd name="connsiteY150" fmla="*/ 427779 h 1215313"/>
                <a:gd name="connsiteX151" fmla="*/ 910875 w 1594610"/>
                <a:gd name="connsiteY151" fmla="*/ 412764 h 1215313"/>
                <a:gd name="connsiteX152" fmla="*/ 924911 w 1594610"/>
                <a:gd name="connsiteY152" fmla="*/ 408265 h 1215313"/>
                <a:gd name="connsiteX153" fmla="*/ 924911 w 1594610"/>
                <a:gd name="connsiteY153" fmla="*/ 418235 h 1215313"/>
                <a:gd name="connsiteX154" fmla="*/ 930406 w 1594610"/>
                <a:gd name="connsiteY154" fmla="*/ 418235 h 1215313"/>
                <a:gd name="connsiteX155" fmla="*/ 934902 w 1594610"/>
                <a:gd name="connsiteY155" fmla="*/ 412764 h 1215313"/>
                <a:gd name="connsiteX156" fmla="*/ 939303 w 1594610"/>
                <a:gd name="connsiteY156" fmla="*/ 412764 h 1215313"/>
                <a:gd name="connsiteX157" fmla="*/ 939117 w 1594610"/>
                <a:gd name="connsiteY157" fmla="*/ 412537 h 1215313"/>
                <a:gd name="connsiteX158" fmla="*/ 933627 w 1594610"/>
                <a:gd name="connsiteY158" fmla="*/ 412537 h 1215313"/>
                <a:gd name="connsiteX159" fmla="*/ 933627 w 1594610"/>
                <a:gd name="connsiteY159" fmla="*/ 403041 h 1215313"/>
                <a:gd name="connsiteX160" fmla="*/ 943641 w 1594610"/>
                <a:gd name="connsiteY160" fmla="*/ 388528 h 1215313"/>
                <a:gd name="connsiteX161" fmla="*/ 943641 w 1594610"/>
                <a:gd name="connsiteY161" fmla="*/ 383511 h 1215313"/>
                <a:gd name="connsiteX162" fmla="*/ 948647 w 1594610"/>
                <a:gd name="connsiteY162" fmla="*/ 374015 h 1215313"/>
                <a:gd name="connsiteX163" fmla="*/ 953171 w 1594610"/>
                <a:gd name="connsiteY163" fmla="*/ 374015 h 1215313"/>
                <a:gd name="connsiteX164" fmla="*/ 958661 w 1594610"/>
                <a:gd name="connsiteY164" fmla="*/ 374015 h 1215313"/>
                <a:gd name="connsiteX165" fmla="*/ 972714 w 1594610"/>
                <a:gd name="connsiteY165" fmla="*/ 364031 h 1215313"/>
                <a:gd name="connsiteX166" fmla="*/ 983245 w 1594610"/>
                <a:gd name="connsiteY166" fmla="*/ 369047 h 1215313"/>
                <a:gd name="connsiteX167" fmla="*/ 987734 w 1594610"/>
                <a:gd name="connsiteY167" fmla="*/ 369047 h 1215313"/>
                <a:gd name="connsiteX168" fmla="*/ 992741 w 1594610"/>
                <a:gd name="connsiteY168" fmla="*/ 374015 h 1215313"/>
                <a:gd name="connsiteX169" fmla="*/ 1002788 w 1594610"/>
                <a:gd name="connsiteY169" fmla="*/ 354534 h 1215313"/>
                <a:gd name="connsiteX170" fmla="*/ 1007277 w 1594610"/>
                <a:gd name="connsiteY170" fmla="*/ 354534 h 1215313"/>
                <a:gd name="connsiteX171" fmla="*/ 1016807 w 1594610"/>
                <a:gd name="connsiteY171" fmla="*/ 369047 h 1215313"/>
                <a:gd name="connsiteX172" fmla="*/ 1022332 w 1594610"/>
                <a:gd name="connsiteY172" fmla="*/ 369047 h 1215313"/>
                <a:gd name="connsiteX173" fmla="*/ 1036350 w 1594610"/>
                <a:gd name="connsiteY173" fmla="*/ 369047 h 1215313"/>
                <a:gd name="connsiteX174" fmla="*/ 1041875 w 1594610"/>
                <a:gd name="connsiteY174" fmla="*/ 364031 h 1215313"/>
                <a:gd name="connsiteX175" fmla="*/ 1051405 w 1594610"/>
                <a:gd name="connsiteY175" fmla="*/ 359501 h 1215313"/>
                <a:gd name="connsiteX176" fmla="*/ 1046364 w 1594610"/>
                <a:gd name="connsiteY176" fmla="*/ 350005 h 1215313"/>
                <a:gd name="connsiteX177" fmla="*/ 1051405 w 1594610"/>
                <a:gd name="connsiteY177" fmla="*/ 340021 h 1215313"/>
                <a:gd name="connsiteX178" fmla="*/ 1051405 w 1594610"/>
                <a:gd name="connsiteY178" fmla="*/ 335005 h 1215313"/>
                <a:gd name="connsiteX179" fmla="*/ 1056411 w 1594610"/>
                <a:gd name="connsiteY179" fmla="*/ 330524 h 1215313"/>
                <a:gd name="connsiteX180" fmla="*/ 1056411 w 1594610"/>
                <a:gd name="connsiteY180" fmla="*/ 320540 h 1215313"/>
                <a:gd name="connsiteX181" fmla="*/ 1046364 w 1594610"/>
                <a:gd name="connsiteY181" fmla="*/ 320540 h 1215313"/>
                <a:gd name="connsiteX182" fmla="*/ 1046364 w 1594610"/>
                <a:gd name="connsiteY182" fmla="*/ 315524 h 1215313"/>
                <a:gd name="connsiteX183" fmla="*/ 1046364 w 1594610"/>
                <a:gd name="connsiteY183" fmla="*/ 311044 h 1215313"/>
                <a:gd name="connsiteX184" fmla="*/ 1046364 w 1594610"/>
                <a:gd name="connsiteY184" fmla="*/ 291514 h 1215313"/>
                <a:gd name="connsiteX185" fmla="*/ 1051405 w 1594610"/>
                <a:gd name="connsiteY185" fmla="*/ 291514 h 1215313"/>
                <a:gd name="connsiteX186" fmla="*/ 1056411 w 1594610"/>
                <a:gd name="connsiteY186" fmla="*/ 291514 h 1215313"/>
                <a:gd name="connsiteX187" fmla="*/ 1060900 w 1594610"/>
                <a:gd name="connsiteY187" fmla="*/ 291514 h 1215313"/>
                <a:gd name="connsiteX188" fmla="*/ 1070948 w 1594610"/>
                <a:gd name="connsiteY188" fmla="*/ 286011 h 1215313"/>
                <a:gd name="connsiteX189" fmla="*/ 1066425 w 1594610"/>
                <a:gd name="connsiteY189" fmla="*/ 276514 h 1215313"/>
                <a:gd name="connsiteX190" fmla="*/ 1070948 w 1594610"/>
                <a:gd name="connsiteY190" fmla="*/ 272034 h 1215313"/>
                <a:gd name="connsiteX191" fmla="*/ 1075955 w 1594610"/>
                <a:gd name="connsiteY191" fmla="*/ 267017 h 1215313"/>
                <a:gd name="connsiteX192" fmla="*/ 1085968 w 1594610"/>
                <a:gd name="connsiteY192" fmla="*/ 272034 h 1215313"/>
                <a:gd name="connsiteX193" fmla="*/ 1090491 w 1594610"/>
                <a:gd name="connsiteY193" fmla="*/ 272034 h 1215313"/>
                <a:gd name="connsiteX194" fmla="*/ 1099987 w 1594610"/>
                <a:gd name="connsiteY194" fmla="*/ 272034 h 1215313"/>
                <a:gd name="connsiteX195" fmla="*/ 1095498 w 1594610"/>
                <a:gd name="connsiteY195" fmla="*/ 267017 h 1215313"/>
                <a:gd name="connsiteX196" fmla="*/ 1095498 w 1594610"/>
                <a:gd name="connsiteY196" fmla="*/ 257034 h 1215313"/>
                <a:gd name="connsiteX197" fmla="*/ 1099987 w 1594610"/>
                <a:gd name="connsiteY197" fmla="*/ 252504 h 1215313"/>
                <a:gd name="connsiteX198" fmla="*/ 1099987 w 1594610"/>
                <a:gd name="connsiteY198" fmla="*/ 247537 h 1215313"/>
                <a:gd name="connsiteX199" fmla="*/ 1105511 w 1594610"/>
                <a:gd name="connsiteY199" fmla="*/ 247537 h 1215313"/>
                <a:gd name="connsiteX200" fmla="*/ 1105511 w 1594610"/>
                <a:gd name="connsiteY200" fmla="*/ 243008 h 1215313"/>
                <a:gd name="connsiteX201" fmla="*/ 1119530 w 1594610"/>
                <a:gd name="connsiteY201" fmla="*/ 243008 h 1215313"/>
                <a:gd name="connsiteX202" fmla="*/ 1119530 w 1594610"/>
                <a:gd name="connsiteY202" fmla="*/ 237504 h 1215313"/>
                <a:gd name="connsiteX203" fmla="*/ 1119530 w 1594610"/>
                <a:gd name="connsiteY203" fmla="*/ 228008 h 1215313"/>
                <a:gd name="connsiteX204" fmla="*/ 1124571 w 1594610"/>
                <a:gd name="connsiteY204" fmla="*/ 218024 h 1215313"/>
                <a:gd name="connsiteX205" fmla="*/ 1130061 w 1594610"/>
                <a:gd name="connsiteY205" fmla="*/ 218024 h 1215313"/>
                <a:gd name="connsiteX206" fmla="*/ 1130061 w 1594610"/>
                <a:gd name="connsiteY206" fmla="*/ 203998 h 1215313"/>
                <a:gd name="connsiteX207" fmla="*/ 1134584 w 1594610"/>
                <a:gd name="connsiteY207" fmla="*/ 198494 h 1215313"/>
                <a:gd name="connsiteX208" fmla="*/ 1139591 w 1594610"/>
                <a:gd name="connsiteY208" fmla="*/ 198494 h 1215313"/>
                <a:gd name="connsiteX209" fmla="*/ 1144114 w 1594610"/>
                <a:gd name="connsiteY209" fmla="*/ 208527 h 1215313"/>
                <a:gd name="connsiteX210" fmla="*/ 1134584 w 1594610"/>
                <a:gd name="connsiteY210" fmla="*/ 218024 h 1215313"/>
                <a:gd name="connsiteX211" fmla="*/ 1134584 w 1594610"/>
                <a:gd name="connsiteY211" fmla="*/ 223527 h 1215313"/>
                <a:gd name="connsiteX212" fmla="*/ 1139591 w 1594610"/>
                <a:gd name="connsiteY212" fmla="*/ 223527 h 1215313"/>
                <a:gd name="connsiteX213" fmla="*/ 1149604 w 1594610"/>
                <a:gd name="connsiteY213" fmla="*/ 218024 h 1215313"/>
                <a:gd name="connsiteX214" fmla="*/ 1149604 w 1594610"/>
                <a:gd name="connsiteY214" fmla="*/ 213495 h 1215313"/>
                <a:gd name="connsiteX215" fmla="*/ 1159134 w 1594610"/>
                <a:gd name="connsiteY215" fmla="*/ 213495 h 1215313"/>
                <a:gd name="connsiteX216" fmla="*/ 1169148 w 1594610"/>
                <a:gd name="connsiteY216" fmla="*/ 198494 h 1215313"/>
                <a:gd name="connsiteX217" fmla="*/ 1163658 w 1594610"/>
                <a:gd name="connsiteY217" fmla="*/ 194014 h 1215313"/>
                <a:gd name="connsiteX218" fmla="*/ 1183201 w 1594610"/>
                <a:gd name="connsiteY218" fmla="*/ 179014 h 1215313"/>
                <a:gd name="connsiteX219" fmla="*/ 1188208 w 1594610"/>
                <a:gd name="connsiteY219" fmla="*/ 179014 h 1215313"/>
                <a:gd name="connsiteX220" fmla="*/ 1198221 w 1594610"/>
                <a:gd name="connsiteY220" fmla="*/ 179014 h 1215313"/>
                <a:gd name="connsiteX221" fmla="*/ 1207751 w 1594610"/>
                <a:gd name="connsiteY221" fmla="*/ 169517 h 1215313"/>
                <a:gd name="connsiteX222" fmla="*/ 1217764 w 1594610"/>
                <a:gd name="connsiteY222" fmla="*/ 179014 h 1215313"/>
                <a:gd name="connsiteX223" fmla="*/ 1217764 w 1594610"/>
                <a:gd name="connsiteY223" fmla="*/ 188998 h 1215313"/>
                <a:gd name="connsiteX224" fmla="*/ 1217764 w 1594610"/>
                <a:gd name="connsiteY224" fmla="*/ 198494 h 1215313"/>
                <a:gd name="connsiteX225" fmla="*/ 1217764 w 1594610"/>
                <a:gd name="connsiteY225" fmla="*/ 203998 h 1215313"/>
                <a:gd name="connsiteX226" fmla="*/ 1217764 w 1594610"/>
                <a:gd name="connsiteY226" fmla="*/ 208527 h 1215313"/>
                <a:gd name="connsiteX227" fmla="*/ 1227294 w 1594610"/>
                <a:gd name="connsiteY227" fmla="*/ 208527 h 1215313"/>
                <a:gd name="connsiteX228" fmla="*/ 1237307 w 1594610"/>
                <a:gd name="connsiteY228" fmla="*/ 213495 h 1215313"/>
                <a:gd name="connsiteX229" fmla="*/ 1237307 w 1594610"/>
                <a:gd name="connsiteY229" fmla="*/ 223527 h 1215313"/>
                <a:gd name="connsiteX230" fmla="*/ 1242314 w 1594610"/>
                <a:gd name="connsiteY230" fmla="*/ 218024 h 1215313"/>
                <a:gd name="connsiteX231" fmla="*/ 1246837 w 1594610"/>
                <a:gd name="connsiteY231" fmla="*/ 218024 h 1215313"/>
                <a:gd name="connsiteX232" fmla="*/ 1252362 w 1594610"/>
                <a:gd name="connsiteY232" fmla="*/ 213495 h 1215313"/>
                <a:gd name="connsiteX233" fmla="*/ 1256851 w 1594610"/>
                <a:gd name="connsiteY233" fmla="*/ 213495 h 1215313"/>
                <a:gd name="connsiteX234" fmla="*/ 1261857 w 1594610"/>
                <a:gd name="connsiteY234" fmla="*/ 208527 h 1215313"/>
                <a:gd name="connsiteX235" fmla="*/ 1271387 w 1594610"/>
                <a:gd name="connsiteY235" fmla="*/ 203998 h 1215313"/>
                <a:gd name="connsiteX236" fmla="*/ 1271387 w 1594610"/>
                <a:gd name="connsiteY236" fmla="*/ 208527 h 1215313"/>
                <a:gd name="connsiteX237" fmla="*/ 1296455 w 1594610"/>
                <a:gd name="connsiteY237" fmla="*/ 203998 h 1215313"/>
                <a:gd name="connsiteX238" fmla="*/ 1310474 w 1594610"/>
                <a:gd name="connsiteY238" fmla="*/ 203998 h 1215313"/>
                <a:gd name="connsiteX239" fmla="*/ 1310474 w 1594610"/>
                <a:gd name="connsiteY239" fmla="*/ 208527 h 1215313"/>
                <a:gd name="connsiteX240" fmla="*/ 1320487 w 1594610"/>
                <a:gd name="connsiteY240" fmla="*/ 208527 h 1215313"/>
                <a:gd name="connsiteX241" fmla="*/ 1335024 w 1594610"/>
                <a:gd name="connsiteY241" fmla="*/ 237504 h 1215313"/>
                <a:gd name="connsiteX242" fmla="*/ 1360091 w 1594610"/>
                <a:gd name="connsiteY242" fmla="*/ 228008 h 1215313"/>
                <a:gd name="connsiteX243" fmla="*/ 1364615 w 1594610"/>
                <a:gd name="connsiteY243" fmla="*/ 218024 h 1215313"/>
                <a:gd name="connsiteX244" fmla="*/ 1369621 w 1594610"/>
                <a:gd name="connsiteY244" fmla="*/ 213495 h 1215313"/>
                <a:gd name="connsiteX245" fmla="*/ 1379635 w 1594610"/>
                <a:gd name="connsiteY245" fmla="*/ 203998 h 1215313"/>
                <a:gd name="connsiteX246" fmla="*/ 1384158 w 1594610"/>
                <a:gd name="connsiteY246" fmla="*/ 208527 h 1215313"/>
                <a:gd name="connsiteX247" fmla="*/ 1393653 w 1594610"/>
                <a:gd name="connsiteY247" fmla="*/ 218024 h 1215313"/>
                <a:gd name="connsiteX248" fmla="*/ 1399178 w 1594610"/>
                <a:gd name="connsiteY248" fmla="*/ 228008 h 1215313"/>
                <a:gd name="connsiteX249" fmla="*/ 1413197 w 1594610"/>
                <a:gd name="connsiteY249" fmla="*/ 233024 h 1215313"/>
                <a:gd name="connsiteX250" fmla="*/ 1413197 w 1594610"/>
                <a:gd name="connsiteY250" fmla="*/ 237504 h 1215313"/>
                <a:gd name="connsiteX251" fmla="*/ 1423728 w 1594610"/>
                <a:gd name="connsiteY251" fmla="*/ 237504 h 1215313"/>
                <a:gd name="connsiteX252" fmla="*/ 1423728 w 1594610"/>
                <a:gd name="connsiteY252" fmla="*/ 243008 h 1215313"/>
                <a:gd name="connsiteX253" fmla="*/ 1433258 w 1594610"/>
                <a:gd name="connsiteY253" fmla="*/ 247537 h 1215313"/>
                <a:gd name="connsiteX254" fmla="*/ 1452801 w 1594610"/>
                <a:gd name="connsiteY254" fmla="*/ 252504 h 1215313"/>
                <a:gd name="connsiteX255" fmla="*/ 1452801 w 1594610"/>
                <a:gd name="connsiteY255" fmla="*/ 267017 h 1215313"/>
                <a:gd name="connsiteX256" fmla="*/ 1457324 w 1594610"/>
                <a:gd name="connsiteY256" fmla="*/ 267017 h 1215313"/>
                <a:gd name="connsiteX257" fmla="*/ 1467338 w 1594610"/>
                <a:gd name="connsiteY257" fmla="*/ 272034 h 1215313"/>
                <a:gd name="connsiteX258" fmla="*/ 1472344 w 1594610"/>
                <a:gd name="connsiteY258" fmla="*/ 267017 h 1215313"/>
                <a:gd name="connsiteX259" fmla="*/ 1481874 w 1594610"/>
                <a:gd name="connsiteY259" fmla="*/ 291514 h 1215313"/>
                <a:gd name="connsiteX260" fmla="*/ 1491887 w 1594610"/>
                <a:gd name="connsiteY260" fmla="*/ 291514 h 1215313"/>
                <a:gd name="connsiteX261" fmla="*/ 1496894 w 1594610"/>
                <a:gd name="connsiteY261" fmla="*/ 291514 h 1215313"/>
                <a:gd name="connsiteX262" fmla="*/ 1501417 w 1594610"/>
                <a:gd name="connsiteY262" fmla="*/ 291514 h 1215313"/>
                <a:gd name="connsiteX263" fmla="*/ 1506942 w 1594610"/>
                <a:gd name="connsiteY263" fmla="*/ 296043 h 1215313"/>
                <a:gd name="connsiteX264" fmla="*/ 1511431 w 1594610"/>
                <a:gd name="connsiteY264" fmla="*/ 296043 h 1215313"/>
                <a:gd name="connsiteX265" fmla="*/ 1530974 w 1594610"/>
                <a:gd name="connsiteY265" fmla="*/ 305540 h 1215313"/>
                <a:gd name="connsiteX266" fmla="*/ 1540504 w 1594610"/>
                <a:gd name="connsiteY266" fmla="*/ 311044 h 1215313"/>
                <a:gd name="connsiteX267" fmla="*/ 1540504 w 1594610"/>
                <a:gd name="connsiteY267" fmla="*/ 315524 h 1215313"/>
                <a:gd name="connsiteX268" fmla="*/ 1545510 w 1594610"/>
                <a:gd name="connsiteY268" fmla="*/ 315524 h 1215313"/>
                <a:gd name="connsiteX269" fmla="*/ 1545510 w 1594610"/>
                <a:gd name="connsiteY269" fmla="*/ 320540 h 1215313"/>
                <a:gd name="connsiteX270" fmla="*/ 1545510 w 1594610"/>
                <a:gd name="connsiteY270" fmla="*/ 330524 h 1215313"/>
                <a:gd name="connsiteX271" fmla="*/ 1545510 w 1594610"/>
                <a:gd name="connsiteY271" fmla="*/ 335005 h 1215313"/>
                <a:gd name="connsiteX272" fmla="*/ 1550517 w 1594610"/>
                <a:gd name="connsiteY272" fmla="*/ 335005 h 1215313"/>
                <a:gd name="connsiteX273" fmla="*/ 1550517 w 1594610"/>
                <a:gd name="connsiteY273" fmla="*/ 340021 h 1215313"/>
                <a:gd name="connsiteX274" fmla="*/ 1550517 w 1594610"/>
                <a:gd name="connsiteY274" fmla="*/ 344501 h 1215313"/>
                <a:gd name="connsiteX275" fmla="*/ 1550517 w 1594610"/>
                <a:gd name="connsiteY275" fmla="*/ 350005 h 1215313"/>
                <a:gd name="connsiteX276" fmla="*/ 1550517 w 1594610"/>
                <a:gd name="connsiteY276" fmla="*/ 359501 h 1215313"/>
                <a:gd name="connsiteX277" fmla="*/ 1545510 w 1594610"/>
                <a:gd name="connsiteY277" fmla="*/ 359501 h 1215313"/>
                <a:gd name="connsiteX278" fmla="*/ 1540504 w 1594610"/>
                <a:gd name="connsiteY278" fmla="*/ 364031 h 1215313"/>
                <a:gd name="connsiteX279" fmla="*/ 1540504 w 1594610"/>
                <a:gd name="connsiteY279" fmla="*/ 369047 h 1215313"/>
                <a:gd name="connsiteX280" fmla="*/ 1540504 w 1594610"/>
                <a:gd name="connsiteY280" fmla="*/ 374015 h 1215313"/>
                <a:gd name="connsiteX281" fmla="*/ 1540504 w 1594610"/>
                <a:gd name="connsiteY281" fmla="*/ 383511 h 1215313"/>
                <a:gd name="connsiteX282" fmla="*/ 1540504 w 1594610"/>
                <a:gd name="connsiteY282" fmla="*/ 388528 h 1215313"/>
                <a:gd name="connsiteX283" fmla="*/ 1545510 w 1594610"/>
                <a:gd name="connsiteY283" fmla="*/ 388528 h 1215313"/>
                <a:gd name="connsiteX284" fmla="*/ 1550517 w 1594610"/>
                <a:gd name="connsiteY284" fmla="*/ 388528 h 1215313"/>
                <a:gd name="connsiteX285" fmla="*/ 1565054 w 1594610"/>
                <a:gd name="connsiteY285" fmla="*/ 383511 h 1215313"/>
                <a:gd name="connsiteX286" fmla="*/ 1570578 w 1594610"/>
                <a:gd name="connsiteY286" fmla="*/ 383511 h 1215313"/>
                <a:gd name="connsiteX287" fmla="*/ 1570578 w 1594610"/>
                <a:gd name="connsiteY287" fmla="*/ 388528 h 1215313"/>
                <a:gd name="connsiteX288" fmla="*/ 1570578 w 1594610"/>
                <a:gd name="connsiteY288" fmla="*/ 393008 h 1215313"/>
                <a:gd name="connsiteX289" fmla="*/ 1575067 w 1594610"/>
                <a:gd name="connsiteY289" fmla="*/ 398511 h 1215313"/>
                <a:gd name="connsiteX290" fmla="*/ 1580108 w 1594610"/>
                <a:gd name="connsiteY290" fmla="*/ 403041 h 1215313"/>
                <a:gd name="connsiteX291" fmla="*/ 1580108 w 1594610"/>
                <a:gd name="connsiteY291" fmla="*/ 408008 h 1215313"/>
                <a:gd name="connsiteX292" fmla="*/ 1584597 w 1594610"/>
                <a:gd name="connsiteY292" fmla="*/ 412537 h 1215313"/>
                <a:gd name="connsiteX293" fmla="*/ 1590122 w 1594610"/>
                <a:gd name="connsiteY293" fmla="*/ 412537 h 1215313"/>
                <a:gd name="connsiteX294" fmla="*/ 1590122 w 1594610"/>
                <a:gd name="connsiteY294" fmla="*/ 418041 h 1215313"/>
                <a:gd name="connsiteX295" fmla="*/ 1594610 w 1594610"/>
                <a:gd name="connsiteY295" fmla="*/ 422521 h 1215313"/>
                <a:gd name="connsiteX296" fmla="*/ 1594610 w 1594610"/>
                <a:gd name="connsiteY296" fmla="*/ 437521 h 1215313"/>
                <a:gd name="connsiteX297" fmla="*/ 1580108 w 1594610"/>
                <a:gd name="connsiteY297" fmla="*/ 442002 h 1215313"/>
                <a:gd name="connsiteX298" fmla="*/ 1570578 w 1594610"/>
                <a:gd name="connsiteY298" fmla="*/ 447018 h 1215313"/>
                <a:gd name="connsiteX299" fmla="*/ 1555524 w 1594610"/>
                <a:gd name="connsiteY299" fmla="*/ 442002 h 1215313"/>
                <a:gd name="connsiteX300" fmla="*/ 1550517 w 1594610"/>
                <a:gd name="connsiteY300" fmla="*/ 437521 h 1215313"/>
                <a:gd name="connsiteX301" fmla="*/ 1535981 w 1594610"/>
                <a:gd name="connsiteY301" fmla="*/ 442002 h 1215313"/>
                <a:gd name="connsiteX302" fmla="*/ 1535981 w 1594610"/>
                <a:gd name="connsiteY302" fmla="*/ 457002 h 1215313"/>
                <a:gd name="connsiteX303" fmla="*/ 1540504 w 1594610"/>
                <a:gd name="connsiteY303" fmla="*/ 457002 h 1215313"/>
                <a:gd name="connsiteX304" fmla="*/ 1545510 w 1594610"/>
                <a:gd name="connsiteY304" fmla="*/ 461531 h 1215313"/>
                <a:gd name="connsiteX305" fmla="*/ 1545510 w 1594610"/>
                <a:gd name="connsiteY305" fmla="*/ 466547 h 1215313"/>
                <a:gd name="connsiteX306" fmla="*/ 1535981 w 1594610"/>
                <a:gd name="connsiteY306" fmla="*/ 471028 h 1215313"/>
                <a:gd name="connsiteX307" fmla="*/ 1530974 w 1594610"/>
                <a:gd name="connsiteY307" fmla="*/ 476044 h 1215313"/>
                <a:gd name="connsiteX308" fmla="*/ 1520961 w 1594610"/>
                <a:gd name="connsiteY308" fmla="*/ 476044 h 1215313"/>
                <a:gd name="connsiteX309" fmla="*/ 1520961 w 1594610"/>
                <a:gd name="connsiteY309" fmla="*/ 490508 h 1215313"/>
                <a:gd name="connsiteX310" fmla="*/ 1516437 w 1594610"/>
                <a:gd name="connsiteY310" fmla="*/ 495525 h 1215313"/>
                <a:gd name="connsiteX311" fmla="*/ 1511431 w 1594610"/>
                <a:gd name="connsiteY311" fmla="*/ 500005 h 1215313"/>
                <a:gd name="connsiteX312" fmla="*/ 1511431 w 1594610"/>
                <a:gd name="connsiteY312" fmla="*/ 505508 h 1215313"/>
                <a:gd name="connsiteX313" fmla="*/ 1506942 w 1594610"/>
                <a:gd name="connsiteY313" fmla="*/ 510038 h 1215313"/>
                <a:gd name="connsiteX314" fmla="*/ 1501417 w 1594610"/>
                <a:gd name="connsiteY314" fmla="*/ 515005 h 1215313"/>
                <a:gd name="connsiteX315" fmla="*/ 1501417 w 1594610"/>
                <a:gd name="connsiteY315" fmla="*/ 525038 h 1215313"/>
                <a:gd name="connsiteX316" fmla="*/ 1511431 w 1594610"/>
                <a:gd name="connsiteY316" fmla="*/ 519534 h 1215313"/>
                <a:gd name="connsiteX317" fmla="*/ 1520961 w 1594610"/>
                <a:gd name="connsiteY317" fmla="*/ 519534 h 1215313"/>
                <a:gd name="connsiteX318" fmla="*/ 1545510 w 1594610"/>
                <a:gd name="connsiteY318" fmla="*/ 515005 h 1215313"/>
                <a:gd name="connsiteX319" fmla="*/ 1550517 w 1594610"/>
                <a:gd name="connsiteY319" fmla="*/ 510038 h 1215313"/>
                <a:gd name="connsiteX320" fmla="*/ 1560047 w 1594610"/>
                <a:gd name="connsiteY320" fmla="*/ 515005 h 1215313"/>
                <a:gd name="connsiteX321" fmla="*/ 1570578 w 1594610"/>
                <a:gd name="connsiteY321" fmla="*/ 525038 h 1215313"/>
                <a:gd name="connsiteX322" fmla="*/ 1565054 w 1594610"/>
                <a:gd name="connsiteY322" fmla="*/ 529518 h 1215313"/>
                <a:gd name="connsiteX323" fmla="*/ 1565054 w 1594610"/>
                <a:gd name="connsiteY323" fmla="*/ 534535 h 1215313"/>
                <a:gd name="connsiteX324" fmla="*/ 1555524 w 1594610"/>
                <a:gd name="connsiteY324" fmla="*/ 534535 h 1215313"/>
                <a:gd name="connsiteX325" fmla="*/ 1550517 w 1594610"/>
                <a:gd name="connsiteY325" fmla="*/ 549048 h 1215313"/>
                <a:gd name="connsiteX326" fmla="*/ 1530974 w 1594610"/>
                <a:gd name="connsiteY326" fmla="*/ 558544 h 1215313"/>
                <a:gd name="connsiteX327" fmla="*/ 1535981 w 1594610"/>
                <a:gd name="connsiteY327" fmla="*/ 578025 h 1215313"/>
                <a:gd name="connsiteX328" fmla="*/ 1530974 w 1594610"/>
                <a:gd name="connsiteY328" fmla="*/ 578025 h 1215313"/>
                <a:gd name="connsiteX329" fmla="*/ 1511431 w 1594610"/>
                <a:gd name="connsiteY329" fmla="*/ 602522 h 1215313"/>
                <a:gd name="connsiteX330" fmla="*/ 1501417 w 1594610"/>
                <a:gd name="connsiteY330" fmla="*/ 617035 h 1215313"/>
                <a:gd name="connsiteX331" fmla="*/ 1496894 w 1594610"/>
                <a:gd name="connsiteY331" fmla="*/ 622051 h 1215313"/>
                <a:gd name="connsiteX332" fmla="*/ 1496894 w 1594610"/>
                <a:gd name="connsiteY332" fmla="*/ 626532 h 1215313"/>
                <a:gd name="connsiteX333" fmla="*/ 1491887 w 1594610"/>
                <a:gd name="connsiteY333" fmla="*/ 636515 h 1215313"/>
                <a:gd name="connsiteX334" fmla="*/ 1486881 w 1594610"/>
                <a:gd name="connsiteY334" fmla="*/ 641532 h 1215313"/>
                <a:gd name="connsiteX335" fmla="*/ 1462814 w 1594610"/>
                <a:gd name="connsiteY335" fmla="*/ 656045 h 1215313"/>
                <a:gd name="connsiteX336" fmla="*/ 1462814 w 1594610"/>
                <a:gd name="connsiteY336" fmla="*/ 671045 h 1215313"/>
                <a:gd name="connsiteX337" fmla="*/ 1457324 w 1594610"/>
                <a:gd name="connsiteY337" fmla="*/ 671045 h 1215313"/>
                <a:gd name="connsiteX338" fmla="*/ 1452801 w 1594610"/>
                <a:gd name="connsiteY338" fmla="*/ 671045 h 1215313"/>
                <a:gd name="connsiteX339" fmla="*/ 1443271 w 1594610"/>
                <a:gd name="connsiteY339" fmla="*/ 680541 h 1215313"/>
                <a:gd name="connsiteX340" fmla="*/ 1443271 w 1594610"/>
                <a:gd name="connsiteY340" fmla="*/ 685022 h 1215313"/>
                <a:gd name="connsiteX341" fmla="*/ 1452801 w 1594610"/>
                <a:gd name="connsiteY341" fmla="*/ 690038 h 1215313"/>
                <a:gd name="connsiteX342" fmla="*/ 1443271 w 1594610"/>
                <a:gd name="connsiteY342" fmla="*/ 700022 h 1215313"/>
                <a:gd name="connsiteX343" fmla="*/ 1437781 w 1594610"/>
                <a:gd name="connsiteY343" fmla="*/ 700022 h 1215313"/>
                <a:gd name="connsiteX344" fmla="*/ 1428251 w 1594610"/>
                <a:gd name="connsiteY344" fmla="*/ 709519 h 1215313"/>
                <a:gd name="connsiteX345" fmla="*/ 1423728 w 1594610"/>
                <a:gd name="connsiteY345" fmla="*/ 719551 h 1215313"/>
                <a:gd name="connsiteX346" fmla="*/ 1418238 w 1594610"/>
                <a:gd name="connsiteY346" fmla="*/ 724032 h 1215313"/>
                <a:gd name="connsiteX347" fmla="*/ 1408708 w 1594610"/>
                <a:gd name="connsiteY347" fmla="*/ 724032 h 1215313"/>
                <a:gd name="connsiteX348" fmla="*/ 1403701 w 1594610"/>
                <a:gd name="connsiteY348" fmla="*/ 729048 h 1215313"/>
                <a:gd name="connsiteX349" fmla="*/ 1374110 w 1594610"/>
                <a:gd name="connsiteY349" fmla="*/ 743512 h 1215313"/>
                <a:gd name="connsiteX350" fmla="*/ 1369621 w 1594610"/>
                <a:gd name="connsiteY350" fmla="*/ 739032 h 1215313"/>
                <a:gd name="connsiteX351" fmla="*/ 1364615 w 1594610"/>
                <a:gd name="connsiteY351" fmla="*/ 743512 h 1215313"/>
                <a:gd name="connsiteX352" fmla="*/ 1360091 w 1594610"/>
                <a:gd name="connsiteY352" fmla="*/ 748529 h 1215313"/>
                <a:gd name="connsiteX353" fmla="*/ 1354567 w 1594610"/>
                <a:gd name="connsiteY353" fmla="*/ 758512 h 1215313"/>
                <a:gd name="connsiteX354" fmla="*/ 1350078 w 1594610"/>
                <a:gd name="connsiteY354" fmla="*/ 758512 h 1215313"/>
                <a:gd name="connsiteX355" fmla="*/ 1350078 w 1594610"/>
                <a:gd name="connsiteY355" fmla="*/ 763042 h 1215313"/>
                <a:gd name="connsiteX356" fmla="*/ 1354567 w 1594610"/>
                <a:gd name="connsiteY356" fmla="*/ 772539 h 1215313"/>
                <a:gd name="connsiteX357" fmla="*/ 1360091 w 1594610"/>
                <a:gd name="connsiteY357" fmla="*/ 778042 h 1215313"/>
                <a:gd name="connsiteX358" fmla="*/ 1360091 w 1594610"/>
                <a:gd name="connsiteY358" fmla="*/ 782522 h 1215313"/>
                <a:gd name="connsiteX359" fmla="*/ 1360091 w 1594610"/>
                <a:gd name="connsiteY359" fmla="*/ 797035 h 1215313"/>
                <a:gd name="connsiteX360" fmla="*/ 1354567 w 1594610"/>
                <a:gd name="connsiteY360" fmla="*/ 826548 h 1215313"/>
                <a:gd name="connsiteX361" fmla="*/ 1354567 w 1594610"/>
                <a:gd name="connsiteY361" fmla="*/ 836045 h 1215313"/>
                <a:gd name="connsiteX362" fmla="*/ 1360091 w 1594610"/>
                <a:gd name="connsiteY362" fmla="*/ 836045 h 1215313"/>
                <a:gd name="connsiteX363" fmla="*/ 1354567 w 1594610"/>
                <a:gd name="connsiteY363" fmla="*/ 855526 h 1215313"/>
                <a:gd name="connsiteX364" fmla="*/ 1340030 w 1594610"/>
                <a:gd name="connsiteY364" fmla="*/ 865558 h 1215313"/>
                <a:gd name="connsiteX365" fmla="*/ 1325528 w 1594610"/>
                <a:gd name="connsiteY365" fmla="*/ 875055 h 1215313"/>
                <a:gd name="connsiteX366" fmla="*/ 1325528 w 1594610"/>
                <a:gd name="connsiteY366" fmla="*/ 879536 h 1215313"/>
                <a:gd name="connsiteX367" fmla="*/ 1315998 w 1594610"/>
                <a:gd name="connsiteY367" fmla="*/ 885039 h 1215313"/>
                <a:gd name="connsiteX368" fmla="*/ 1305985 w 1594610"/>
                <a:gd name="connsiteY368" fmla="*/ 889519 h 1215313"/>
                <a:gd name="connsiteX369" fmla="*/ 1296455 w 1594610"/>
                <a:gd name="connsiteY369" fmla="*/ 899016 h 1215313"/>
                <a:gd name="connsiteX370" fmla="*/ 1286442 w 1594610"/>
                <a:gd name="connsiteY370" fmla="*/ 904032 h 1215313"/>
                <a:gd name="connsiteX371" fmla="*/ 1271387 w 1594610"/>
                <a:gd name="connsiteY371" fmla="*/ 923562 h 1215313"/>
                <a:gd name="connsiteX372" fmla="*/ 1266380 w 1594610"/>
                <a:gd name="connsiteY372" fmla="*/ 928042 h 1215313"/>
                <a:gd name="connsiteX373" fmla="*/ 1256851 w 1594610"/>
                <a:gd name="connsiteY373" fmla="*/ 938026 h 1215313"/>
                <a:gd name="connsiteX374" fmla="*/ 1237307 w 1594610"/>
                <a:gd name="connsiteY374" fmla="*/ 962523 h 1215313"/>
                <a:gd name="connsiteX375" fmla="*/ 1246837 w 1594610"/>
                <a:gd name="connsiteY375" fmla="*/ 972555 h 1215313"/>
                <a:gd name="connsiteX376" fmla="*/ 1256851 w 1594610"/>
                <a:gd name="connsiteY376" fmla="*/ 977036 h 1215313"/>
                <a:gd name="connsiteX377" fmla="*/ 1242314 w 1594610"/>
                <a:gd name="connsiteY377" fmla="*/ 992036 h 1215313"/>
                <a:gd name="connsiteX378" fmla="*/ 1232819 w 1594610"/>
                <a:gd name="connsiteY378" fmla="*/ 1016046 h 1215313"/>
                <a:gd name="connsiteX379" fmla="*/ 1227294 w 1594610"/>
                <a:gd name="connsiteY379" fmla="*/ 1021062 h 1215313"/>
                <a:gd name="connsiteX380" fmla="*/ 1227294 w 1594610"/>
                <a:gd name="connsiteY380" fmla="*/ 1030559 h 1215313"/>
                <a:gd name="connsiteX381" fmla="*/ 1227294 w 1594610"/>
                <a:gd name="connsiteY381" fmla="*/ 1035039 h 1215313"/>
                <a:gd name="connsiteX382" fmla="*/ 1222771 w 1594610"/>
                <a:gd name="connsiteY382" fmla="*/ 1045023 h 1215313"/>
                <a:gd name="connsiteX383" fmla="*/ 1222771 w 1594610"/>
                <a:gd name="connsiteY383" fmla="*/ 1050039 h 1215313"/>
                <a:gd name="connsiteX384" fmla="*/ 1217764 w 1594610"/>
                <a:gd name="connsiteY384" fmla="*/ 1054520 h 1215313"/>
                <a:gd name="connsiteX385" fmla="*/ 1213241 w 1594610"/>
                <a:gd name="connsiteY385" fmla="*/ 1060023 h 1215313"/>
                <a:gd name="connsiteX386" fmla="*/ 1203227 w 1594610"/>
                <a:gd name="connsiteY386" fmla="*/ 1074049 h 1215313"/>
                <a:gd name="connsiteX387" fmla="*/ 1198221 w 1594610"/>
                <a:gd name="connsiteY387" fmla="*/ 1074049 h 1215313"/>
                <a:gd name="connsiteX388" fmla="*/ 1193214 w 1594610"/>
                <a:gd name="connsiteY388" fmla="*/ 1089049 h 1215313"/>
                <a:gd name="connsiteX389" fmla="*/ 1178678 w 1594610"/>
                <a:gd name="connsiteY389" fmla="*/ 1108530 h 1215313"/>
                <a:gd name="connsiteX390" fmla="*/ 1173671 w 1594610"/>
                <a:gd name="connsiteY390" fmla="*/ 1108530 h 1215313"/>
                <a:gd name="connsiteX391" fmla="*/ 1163658 w 1594610"/>
                <a:gd name="connsiteY391" fmla="*/ 1122556 h 1215313"/>
                <a:gd name="connsiteX392" fmla="*/ 1154128 w 1594610"/>
                <a:gd name="connsiteY392" fmla="*/ 1132540 h 1215313"/>
                <a:gd name="connsiteX393" fmla="*/ 1149604 w 1594610"/>
                <a:gd name="connsiteY393" fmla="*/ 1132540 h 1215313"/>
                <a:gd name="connsiteX394" fmla="*/ 1144114 w 1594610"/>
                <a:gd name="connsiteY394" fmla="*/ 1137556 h 1215313"/>
                <a:gd name="connsiteX395" fmla="*/ 1134584 w 1594610"/>
                <a:gd name="connsiteY395" fmla="*/ 1137556 h 1215313"/>
                <a:gd name="connsiteX396" fmla="*/ 1115041 w 1594610"/>
                <a:gd name="connsiteY396" fmla="*/ 1137556 h 1215313"/>
                <a:gd name="connsiteX397" fmla="*/ 1105511 w 1594610"/>
                <a:gd name="connsiteY397" fmla="*/ 1137556 h 1215313"/>
                <a:gd name="connsiteX398" fmla="*/ 1099987 w 1594610"/>
                <a:gd name="connsiteY398" fmla="*/ 1137556 h 1215313"/>
                <a:gd name="connsiteX399" fmla="*/ 1095498 w 1594610"/>
                <a:gd name="connsiteY399" fmla="*/ 1128059 h 1215313"/>
                <a:gd name="connsiteX400" fmla="*/ 1095498 w 1594610"/>
                <a:gd name="connsiteY400" fmla="*/ 1113059 h 1215313"/>
                <a:gd name="connsiteX401" fmla="*/ 1080443 w 1594610"/>
                <a:gd name="connsiteY401" fmla="*/ 1113059 h 1215313"/>
                <a:gd name="connsiteX402" fmla="*/ 1080443 w 1594610"/>
                <a:gd name="connsiteY402" fmla="*/ 1108530 h 1215313"/>
                <a:gd name="connsiteX403" fmla="*/ 1075955 w 1594610"/>
                <a:gd name="connsiteY403" fmla="*/ 1108530 h 1215313"/>
                <a:gd name="connsiteX404" fmla="*/ 1066425 w 1594610"/>
                <a:gd name="connsiteY404" fmla="*/ 1108530 h 1215313"/>
                <a:gd name="connsiteX405" fmla="*/ 1066425 w 1594610"/>
                <a:gd name="connsiteY405" fmla="*/ 1103562 h 1215313"/>
                <a:gd name="connsiteX406" fmla="*/ 1066425 w 1594610"/>
                <a:gd name="connsiteY406" fmla="*/ 1099033 h 1215313"/>
                <a:gd name="connsiteX407" fmla="*/ 1060900 w 1594610"/>
                <a:gd name="connsiteY407" fmla="*/ 1099033 h 1215313"/>
                <a:gd name="connsiteX408" fmla="*/ 1060900 w 1594610"/>
                <a:gd name="connsiteY408" fmla="*/ 1103562 h 1215313"/>
                <a:gd name="connsiteX409" fmla="*/ 1056411 w 1594610"/>
                <a:gd name="connsiteY409" fmla="*/ 1103562 h 1215313"/>
                <a:gd name="connsiteX410" fmla="*/ 1051405 w 1594610"/>
                <a:gd name="connsiteY410" fmla="*/ 1113059 h 1215313"/>
                <a:gd name="connsiteX411" fmla="*/ 1051405 w 1594610"/>
                <a:gd name="connsiteY411" fmla="*/ 1118027 h 1215313"/>
                <a:gd name="connsiteX412" fmla="*/ 1046364 w 1594610"/>
                <a:gd name="connsiteY412" fmla="*/ 1122556 h 1215313"/>
                <a:gd name="connsiteX413" fmla="*/ 1036350 w 1594610"/>
                <a:gd name="connsiteY413" fmla="*/ 1122556 h 1215313"/>
                <a:gd name="connsiteX414" fmla="*/ 1036350 w 1594610"/>
                <a:gd name="connsiteY414" fmla="*/ 1128059 h 1215313"/>
                <a:gd name="connsiteX415" fmla="*/ 1031862 w 1594610"/>
                <a:gd name="connsiteY415" fmla="*/ 1128059 h 1215313"/>
                <a:gd name="connsiteX416" fmla="*/ 1026820 w 1594610"/>
                <a:gd name="connsiteY416" fmla="*/ 1137556 h 1215313"/>
                <a:gd name="connsiteX417" fmla="*/ 1016807 w 1594610"/>
                <a:gd name="connsiteY417" fmla="*/ 1143059 h 1215313"/>
                <a:gd name="connsiteX418" fmla="*/ 1012284 w 1594610"/>
                <a:gd name="connsiteY418" fmla="*/ 1137556 h 1215313"/>
                <a:gd name="connsiteX419" fmla="*/ 1002788 w 1594610"/>
                <a:gd name="connsiteY419" fmla="*/ 1143059 h 1215313"/>
                <a:gd name="connsiteX420" fmla="*/ 997264 w 1594610"/>
                <a:gd name="connsiteY420" fmla="*/ 1132540 h 1215313"/>
                <a:gd name="connsiteX421" fmla="*/ 997264 w 1594610"/>
                <a:gd name="connsiteY421" fmla="*/ 1128059 h 1215313"/>
                <a:gd name="connsiteX422" fmla="*/ 1002788 w 1594610"/>
                <a:gd name="connsiteY422" fmla="*/ 1113059 h 1215313"/>
                <a:gd name="connsiteX423" fmla="*/ 997264 w 1594610"/>
                <a:gd name="connsiteY423" fmla="*/ 1108530 h 1215313"/>
                <a:gd name="connsiteX424" fmla="*/ 987734 w 1594610"/>
                <a:gd name="connsiteY424" fmla="*/ 1113059 h 1215313"/>
                <a:gd name="connsiteX425" fmla="*/ 983245 w 1594610"/>
                <a:gd name="connsiteY425" fmla="*/ 1099033 h 1215313"/>
                <a:gd name="connsiteX426" fmla="*/ 977721 w 1594610"/>
                <a:gd name="connsiteY426" fmla="*/ 1099033 h 1215313"/>
                <a:gd name="connsiteX427" fmla="*/ 977721 w 1594610"/>
                <a:gd name="connsiteY427" fmla="*/ 1118027 h 1215313"/>
                <a:gd name="connsiteX428" fmla="*/ 972714 w 1594610"/>
                <a:gd name="connsiteY428" fmla="*/ 1118027 h 1215313"/>
                <a:gd name="connsiteX429" fmla="*/ 972714 w 1594610"/>
                <a:gd name="connsiteY429" fmla="*/ 1113059 h 1215313"/>
                <a:gd name="connsiteX430" fmla="*/ 972714 w 1594610"/>
                <a:gd name="connsiteY430" fmla="*/ 1103562 h 1215313"/>
                <a:gd name="connsiteX431" fmla="*/ 963184 w 1594610"/>
                <a:gd name="connsiteY431" fmla="*/ 1093530 h 1215313"/>
                <a:gd name="connsiteX432" fmla="*/ 963184 w 1594610"/>
                <a:gd name="connsiteY432" fmla="*/ 1089049 h 1215313"/>
                <a:gd name="connsiteX433" fmla="*/ 958661 w 1594610"/>
                <a:gd name="connsiteY433" fmla="*/ 1084033 h 1215313"/>
                <a:gd name="connsiteX434" fmla="*/ 963184 w 1594610"/>
                <a:gd name="connsiteY434" fmla="*/ 1079552 h 1215313"/>
                <a:gd name="connsiteX435" fmla="*/ 958661 w 1594610"/>
                <a:gd name="connsiteY435" fmla="*/ 1074049 h 1215313"/>
                <a:gd name="connsiteX436" fmla="*/ 953171 w 1594610"/>
                <a:gd name="connsiteY436" fmla="*/ 1069520 h 1215313"/>
                <a:gd name="connsiteX437" fmla="*/ 939117 w 1594610"/>
                <a:gd name="connsiteY437" fmla="*/ 1064552 h 1215313"/>
                <a:gd name="connsiteX438" fmla="*/ 933627 w 1594610"/>
                <a:gd name="connsiteY438" fmla="*/ 1064552 h 1215313"/>
                <a:gd name="connsiteX439" fmla="*/ 933627 w 1594610"/>
                <a:gd name="connsiteY439" fmla="*/ 1060023 h 1215313"/>
                <a:gd name="connsiteX440" fmla="*/ 939117 w 1594610"/>
                <a:gd name="connsiteY440" fmla="*/ 1060023 h 1215313"/>
                <a:gd name="connsiteX441" fmla="*/ 939117 w 1594610"/>
                <a:gd name="connsiteY441" fmla="*/ 1054520 h 1215313"/>
                <a:gd name="connsiteX442" fmla="*/ 943641 w 1594610"/>
                <a:gd name="connsiteY442" fmla="*/ 1054520 h 1215313"/>
                <a:gd name="connsiteX443" fmla="*/ 939117 w 1594610"/>
                <a:gd name="connsiteY443" fmla="*/ 1045023 h 1215313"/>
                <a:gd name="connsiteX444" fmla="*/ 939544 w 1594610"/>
                <a:gd name="connsiteY444" fmla="*/ 1044600 h 1215313"/>
                <a:gd name="connsiteX445" fmla="*/ 934902 w 1594610"/>
                <a:gd name="connsiteY445" fmla="*/ 1040420 h 1215313"/>
                <a:gd name="connsiteX446" fmla="*/ 924911 w 1594610"/>
                <a:gd name="connsiteY446" fmla="*/ 1044919 h 1215313"/>
                <a:gd name="connsiteX447" fmla="*/ 915371 w 1594610"/>
                <a:gd name="connsiteY447" fmla="*/ 1040420 h 1215313"/>
                <a:gd name="connsiteX448" fmla="*/ 910875 w 1594610"/>
                <a:gd name="connsiteY448" fmla="*/ 1040420 h 1215313"/>
                <a:gd name="connsiteX449" fmla="*/ 905330 w 1594610"/>
                <a:gd name="connsiteY449" fmla="*/ 1034888 h 1215313"/>
                <a:gd name="connsiteX450" fmla="*/ 900335 w 1594610"/>
                <a:gd name="connsiteY450" fmla="*/ 1034888 h 1215313"/>
                <a:gd name="connsiteX451" fmla="*/ 895839 w 1594610"/>
                <a:gd name="connsiteY451" fmla="*/ 1025405 h 1215313"/>
                <a:gd name="connsiteX452" fmla="*/ 895839 w 1594610"/>
                <a:gd name="connsiteY452" fmla="*/ 1010937 h 1215313"/>
                <a:gd name="connsiteX453" fmla="*/ 880804 w 1594610"/>
                <a:gd name="connsiteY453" fmla="*/ 1005891 h 1215313"/>
                <a:gd name="connsiteX454" fmla="*/ 880804 w 1594610"/>
                <a:gd name="connsiteY454" fmla="*/ 1010937 h 1215313"/>
                <a:gd name="connsiteX455" fmla="*/ 871263 w 1594610"/>
                <a:gd name="connsiteY455" fmla="*/ 1010937 h 1215313"/>
                <a:gd name="connsiteX456" fmla="*/ 871263 w 1594610"/>
                <a:gd name="connsiteY456" fmla="*/ 1015435 h 1215313"/>
                <a:gd name="connsiteX457" fmla="*/ 861273 w 1594610"/>
                <a:gd name="connsiteY457" fmla="*/ 1020907 h 1215313"/>
                <a:gd name="connsiteX458" fmla="*/ 856727 w 1594610"/>
                <a:gd name="connsiteY458" fmla="*/ 1020907 h 1215313"/>
                <a:gd name="connsiteX459" fmla="*/ 847236 w 1594610"/>
                <a:gd name="connsiteY459" fmla="*/ 1025405 h 1215313"/>
                <a:gd name="connsiteX460" fmla="*/ 841741 w 1594610"/>
                <a:gd name="connsiteY460" fmla="*/ 1025405 h 1215313"/>
                <a:gd name="connsiteX461" fmla="*/ 826706 w 1594610"/>
                <a:gd name="connsiteY461" fmla="*/ 1020907 h 1215313"/>
                <a:gd name="connsiteX462" fmla="*/ 822160 w 1594610"/>
                <a:gd name="connsiteY462" fmla="*/ 1015435 h 1215313"/>
                <a:gd name="connsiteX463" fmla="*/ 812669 w 1594610"/>
                <a:gd name="connsiteY463" fmla="*/ 1010937 h 1215313"/>
                <a:gd name="connsiteX464" fmla="*/ 802629 w 1594610"/>
                <a:gd name="connsiteY464" fmla="*/ 1015435 h 1215313"/>
                <a:gd name="connsiteX465" fmla="*/ 797634 w 1594610"/>
                <a:gd name="connsiteY465" fmla="*/ 1015435 h 1215313"/>
                <a:gd name="connsiteX466" fmla="*/ 797634 w 1594610"/>
                <a:gd name="connsiteY466" fmla="*/ 1010937 h 1215313"/>
                <a:gd name="connsiteX467" fmla="*/ 793138 w 1594610"/>
                <a:gd name="connsiteY467" fmla="*/ 1010937 h 1215313"/>
                <a:gd name="connsiteX468" fmla="*/ 793138 w 1594610"/>
                <a:gd name="connsiteY468" fmla="*/ 1015435 h 1215313"/>
                <a:gd name="connsiteX469" fmla="*/ 793138 w 1594610"/>
                <a:gd name="connsiteY469" fmla="*/ 1020907 h 1215313"/>
                <a:gd name="connsiteX470" fmla="*/ 788093 w 1594610"/>
                <a:gd name="connsiteY470" fmla="*/ 1025405 h 1215313"/>
                <a:gd name="connsiteX471" fmla="*/ 788093 w 1594610"/>
                <a:gd name="connsiteY471" fmla="*/ 1030390 h 1215313"/>
                <a:gd name="connsiteX472" fmla="*/ 788093 w 1594610"/>
                <a:gd name="connsiteY472" fmla="*/ 1040420 h 1215313"/>
                <a:gd name="connsiteX473" fmla="*/ 783597 w 1594610"/>
                <a:gd name="connsiteY473" fmla="*/ 1049903 h 1215313"/>
                <a:gd name="connsiteX474" fmla="*/ 778103 w 1594610"/>
                <a:gd name="connsiteY474" fmla="*/ 1049903 h 1215313"/>
                <a:gd name="connsiteX475" fmla="*/ 778103 w 1594610"/>
                <a:gd name="connsiteY475" fmla="*/ 1059387 h 1215313"/>
                <a:gd name="connsiteX476" fmla="*/ 778103 w 1594610"/>
                <a:gd name="connsiteY476" fmla="*/ 1064371 h 1215313"/>
                <a:gd name="connsiteX477" fmla="*/ 778103 w 1594610"/>
                <a:gd name="connsiteY477" fmla="*/ 1073855 h 1215313"/>
                <a:gd name="connsiteX478" fmla="*/ 773557 w 1594610"/>
                <a:gd name="connsiteY478" fmla="*/ 1083399 h 1215313"/>
                <a:gd name="connsiteX479" fmla="*/ 773557 w 1594610"/>
                <a:gd name="connsiteY479" fmla="*/ 1088870 h 1215313"/>
                <a:gd name="connsiteX480" fmla="*/ 768562 w 1594610"/>
                <a:gd name="connsiteY480" fmla="*/ 1093368 h 1215313"/>
                <a:gd name="connsiteX481" fmla="*/ 764066 w 1594610"/>
                <a:gd name="connsiteY481" fmla="*/ 1102851 h 1215313"/>
                <a:gd name="connsiteX482" fmla="*/ 768562 w 1594610"/>
                <a:gd name="connsiteY482" fmla="*/ 1108383 h 1215313"/>
                <a:gd name="connsiteX483" fmla="*/ 768562 w 1594610"/>
                <a:gd name="connsiteY483" fmla="*/ 1117867 h 1215313"/>
                <a:gd name="connsiteX484" fmla="*/ 764066 w 1594610"/>
                <a:gd name="connsiteY484" fmla="*/ 1117867 h 1215313"/>
                <a:gd name="connsiteX485" fmla="*/ 764066 w 1594610"/>
                <a:gd name="connsiteY485" fmla="*/ 1122365 h 1215313"/>
                <a:gd name="connsiteX486" fmla="*/ 758571 w 1594610"/>
                <a:gd name="connsiteY486" fmla="*/ 1132335 h 1215313"/>
                <a:gd name="connsiteX487" fmla="*/ 758571 w 1594610"/>
                <a:gd name="connsiteY487" fmla="*/ 1142365 h 1215313"/>
                <a:gd name="connsiteX488" fmla="*/ 753526 w 1594610"/>
                <a:gd name="connsiteY488" fmla="*/ 1152334 h 1215313"/>
                <a:gd name="connsiteX489" fmla="*/ 753526 w 1594610"/>
                <a:gd name="connsiteY489" fmla="*/ 1156833 h 1215313"/>
                <a:gd name="connsiteX490" fmla="*/ 749030 w 1594610"/>
                <a:gd name="connsiteY490" fmla="*/ 1171848 h 1215313"/>
                <a:gd name="connsiteX491" fmla="*/ 749030 w 1594610"/>
                <a:gd name="connsiteY491" fmla="*/ 1176347 h 1215313"/>
                <a:gd name="connsiteX492" fmla="*/ 749030 w 1594610"/>
                <a:gd name="connsiteY492" fmla="*/ 1181331 h 1215313"/>
                <a:gd name="connsiteX493" fmla="*/ 738990 w 1594610"/>
                <a:gd name="connsiteY493" fmla="*/ 1195799 h 1215313"/>
                <a:gd name="connsiteX494" fmla="*/ 738990 w 1594610"/>
                <a:gd name="connsiteY494" fmla="*/ 1200784 h 1215313"/>
                <a:gd name="connsiteX495" fmla="*/ 733995 w 1594610"/>
                <a:gd name="connsiteY495" fmla="*/ 1200784 h 1215313"/>
                <a:gd name="connsiteX496" fmla="*/ 719958 w 1594610"/>
                <a:gd name="connsiteY496" fmla="*/ 1195799 h 1215313"/>
                <a:gd name="connsiteX497" fmla="*/ 719958 w 1594610"/>
                <a:gd name="connsiteY497" fmla="*/ 1185830 h 1215313"/>
                <a:gd name="connsiteX498" fmla="*/ 724504 w 1594610"/>
                <a:gd name="connsiteY498" fmla="*/ 1181331 h 1215313"/>
                <a:gd name="connsiteX499" fmla="*/ 719958 w 1594610"/>
                <a:gd name="connsiteY499" fmla="*/ 1171848 h 1215313"/>
                <a:gd name="connsiteX500" fmla="*/ 724504 w 1594610"/>
                <a:gd name="connsiteY500" fmla="*/ 1171848 h 1215313"/>
                <a:gd name="connsiteX501" fmla="*/ 724504 w 1594610"/>
                <a:gd name="connsiteY501" fmla="*/ 1166316 h 1215313"/>
                <a:gd name="connsiteX502" fmla="*/ 714464 w 1594610"/>
                <a:gd name="connsiteY502" fmla="*/ 1156833 h 1215313"/>
                <a:gd name="connsiteX503" fmla="*/ 704923 w 1594610"/>
                <a:gd name="connsiteY503" fmla="*/ 1161818 h 1215313"/>
                <a:gd name="connsiteX504" fmla="*/ 704923 w 1594610"/>
                <a:gd name="connsiteY504" fmla="*/ 1152334 h 1215313"/>
                <a:gd name="connsiteX505" fmla="*/ 709968 w 1594610"/>
                <a:gd name="connsiteY505" fmla="*/ 1147350 h 1215313"/>
                <a:gd name="connsiteX506" fmla="*/ 714464 w 1594610"/>
                <a:gd name="connsiteY506" fmla="*/ 1147350 h 1215313"/>
                <a:gd name="connsiteX507" fmla="*/ 709968 w 1594610"/>
                <a:gd name="connsiteY507" fmla="*/ 1142365 h 1215313"/>
                <a:gd name="connsiteX508" fmla="*/ 709968 w 1594610"/>
                <a:gd name="connsiteY508" fmla="*/ 1132335 h 1215313"/>
                <a:gd name="connsiteX509" fmla="*/ 704923 w 1594610"/>
                <a:gd name="connsiteY509" fmla="*/ 1127836 h 1215313"/>
                <a:gd name="connsiteX510" fmla="*/ 700427 w 1594610"/>
                <a:gd name="connsiteY510" fmla="*/ 1127836 h 1215313"/>
                <a:gd name="connsiteX511" fmla="*/ 700427 w 1594610"/>
                <a:gd name="connsiteY511" fmla="*/ 1132335 h 1215313"/>
                <a:gd name="connsiteX512" fmla="*/ 685392 w 1594610"/>
                <a:gd name="connsiteY512" fmla="*/ 1132335 h 1215313"/>
                <a:gd name="connsiteX513" fmla="*/ 685392 w 1594610"/>
                <a:gd name="connsiteY513" fmla="*/ 1137319 h 1215313"/>
                <a:gd name="connsiteX514" fmla="*/ 679897 w 1594610"/>
                <a:gd name="connsiteY514" fmla="*/ 1142365 h 1215313"/>
                <a:gd name="connsiteX515" fmla="*/ 679897 w 1594610"/>
                <a:gd name="connsiteY515" fmla="*/ 1152334 h 1215313"/>
                <a:gd name="connsiteX516" fmla="*/ 665860 w 1594610"/>
                <a:gd name="connsiteY516" fmla="*/ 1152334 h 1215313"/>
                <a:gd name="connsiteX517" fmla="*/ 660865 w 1594610"/>
                <a:gd name="connsiteY517" fmla="*/ 1147350 h 1215313"/>
                <a:gd name="connsiteX518" fmla="*/ 660865 w 1594610"/>
                <a:gd name="connsiteY518" fmla="*/ 1137319 h 1215313"/>
                <a:gd name="connsiteX519" fmla="*/ 655820 w 1594610"/>
                <a:gd name="connsiteY519" fmla="*/ 1137319 h 1215313"/>
                <a:gd name="connsiteX520" fmla="*/ 650825 w 1594610"/>
                <a:gd name="connsiteY520" fmla="*/ 1147350 h 1215313"/>
                <a:gd name="connsiteX521" fmla="*/ 636788 w 1594610"/>
                <a:gd name="connsiteY521" fmla="*/ 1152334 h 1215313"/>
                <a:gd name="connsiteX522" fmla="*/ 631294 w 1594610"/>
                <a:gd name="connsiteY522" fmla="*/ 1142365 h 1215313"/>
                <a:gd name="connsiteX523" fmla="*/ 616258 w 1594610"/>
                <a:gd name="connsiteY523" fmla="*/ 1137319 h 1215313"/>
                <a:gd name="connsiteX524" fmla="*/ 611762 w 1594610"/>
                <a:gd name="connsiteY524" fmla="*/ 1137319 h 1215313"/>
                <a:gd name="connsiteX525" fmla="*/ 606717 w 1594610"/>
                <a:gd name="connsiteY525" fmla="*/ 1132335 h 1215313"/>
                <a:gd name="connsiteX526" fmla="*/ 596727 w 1594610"/>
                <a:gd name="connsiteY526" fmla="*/ 1137319 h 1215313"/>
                <a:gd name="connsiteX527" fmla="*/ 592231 w 1594610"/>
                <a:gd name="connsiteY527" fmla="*/ 1147350 h 1215313"/>
                <a:gd name="connsiteX528" fmla="*/ 592231 w 1594610"/>
                <a:gd name="connsiteY528" fmla="*/ 1152334 h 1215313"/>
                <a:gd name="connsiteX529" fmla="*/ 592231 w 1594610"/>
                <a:gd name="connsiteY529" fmla="*/ 1161818 h 1215313"/>
                <a:gd name="connsiteX530" fmla="*/ 592231 w 1594610"/>
                <a:gd name="connsiteY530" fmla="*/ 1176347 h 1215313"/>
                <a:gd name="connsiteX531" fmla="*/ 587186 w 1594610"/>
                <a:gd name="connsiteY531" fmla="*/ 1176347 h 1215313"/>
                <a:gd name="connsiteX532" fmla="*/ 587186 w 1594610"/>
                <a:gd name="connsiteY532" fmla="*/ 1181331 h 1215313"/>
                <a:gd name="connsiteX533" fmla="*/ 582690 w 1594610"/>
                <a:gd name="connsiteY533" fmla="*/ 1191301 h 1215313"/>
                <a:gd name="connsiteX534" fmla="*/ 587186 w 1594610"/>
                <a:gd name="connsiteY534" fmla="*/ 1195799 h 1215313"/>
                <a:gd name="connsiteX535" fmla="*/ 582690 w 1594610"/>
                <a:gd name="connsiteY535" fmla="*/ 1200784 h 1215313"/>
                <a:gd name="connsiteX536" fmla="*/ 577695 w 1594610"/>
                <a:gd name="connsiteY536" fmla="*/ 1195799 h 1215313"/>
                <a:gd name="connsiteX537" fmla="*/ 567655 w 1594610"/>
                <a:gd name="connsiteY537" fmla="*/ 1195799 h 1215313"/>
                <a:gd name="connsiteX538" fmla="*/ 563159 w 1594610"/>
                <a:gd name="connsiteY538" fmla="*/ 1205283 h 1215313"/>
                <a:gd name="connsiteX539" fmla="*/ 558164 w 1594610"/>
                <a:gd name="connsiteY539" fmla="*/ 1205283 h 1215313"/>
                <a:gd name="connsiteX540" fmla="*/ 553618 w 1594610"/>
                <a:gd name="connsiteY540" fmla="*/ 1215313 h 1215313"/>
                <a:gd name="connsiteX541" fmla="*/ 538583 w 1594610"/>
                <a:gd name="connsiteY541" fmla="*/ 1215313 h 1215313"/>
                <a:gd name="connsiteX542" fmla="*/ 538583 w 1594610"/>
                <a:gd name="connsiteY542" fmla="*/ 1210814 h 1215313"/>
                <a:gd name="connsiteX543" fmla="*/ 543128 w 1594610"/>
                <a:gd name="connsiteY543" fmla="*/ 1200784 h 1215313"/>
                <a:gd name="connsiteX544" fmla="*/ 538583 w 1594610"/>
                <a:gd name="connsiteY544" fmla="*/ 1195799 h 1215313"/>
                <a:gd name="connsiteX545" fmla="*/ 533088 w 1594610"/>
                <a:gd name="connsiteY545" fmla="*/ 1200784 h 1215313"/>
                <a:gd name="connsiteX546" fmla="*/ 528592 w 1594610"/>
                <a:gd name="connsiteY546" fmla="*/ 1205283 h 1215313"/>
                <a:gd name="connsiteX547" fmla="*/ 528592 w 1594610"/>
                <a:gd name="connsiteY547" fmla="*/ 1200784 h 1215313"/>
                <a:gd name="connsiteX548" fmla="*/ 523547 w 1594610"/>
                <a:gd name="connsiteY548" fmla="*/ 1195799 h 1215313"/>
                <a:gd name="connsiteX549" fmla="*/ 514056 w 1594610"/>
                <a:gd name="connsiteY549" fmla="*/ 1195799 h 1215313"/>
                <a:gd name="connsiteX550" fmla="*/ 514056 w 1594610"/>
                <a:gd name="connsiteY550" fmla="*/ 1200784 h 1215313"/>
                <a:gd name="connsiteX551" fmla="*/ 514056 w 1594610"/>
                <a:gd name="connsiteY551" fmla="*/ 1205283 h 1215313"/>
                <a:gd name="connsiteX552" fmla="*/ 499520 w 1594610"/>
                <a:gd name="connsiteY552" fmla="*/ 1205283 h 1215313"/>
                <a:gd name="connsiteX553" fmla="*/ 494525 w 1594610"/>
                <a:gd name="connsiteY553" fmla="*/ 1205283 h 1215313"/>
                <a:gd name="connsiteX554" fmla="*/ 484485 w 1594610"/>
                <a:gd name="connsiteY554" fmla="*/ 1195799 h 1215313"/>
                <a:gd name="connsiteX555" fmla="*/ 474994 w 1594610"/>
                <a:gd name="connsiteY555" fmla="*/ 1200784 h 1215313"/>
                <a:gd name="connsiteX556" fmla="*/ 464953 w 1594610"/>
                <a:gd name="connsiteY556" fmla="*/ 1200784 h 1215313"/>
                <a:gd name="connsiteX557" fmla="*/ 464953 w 1594610"/>
                <a:gd name="connsiteY557" fmla="*/ 1205283 h 1215313"/>
                <a:gd name="connsiteX558" fmla="*/ 455413 w 1594610"/>
                <a:gd name="connsiteY558" fmla="*/ 1210814 h 1215313"/>
                <a:gd name="connsiteX559" fmla="*/ 435881 w 1594610"/>
                <a:gd name="connsiteY559" fmla="*/ 1210814 h 1215313"/>
                <a:gd name="connsiteX560" fmla="*/ 435881 w 1594610"/>
                <a:gd name="connsiteY560" fmla="*/ 1191301 h 1215313"/>
                <a:gd name="connsiteX561" fmla="*/ 430886 w 1594610"/>
                <a:gd name="connsiteY561" fmla="*/ 1191301 h 1215313"/>
                <a:gd name="connsiteX562" fmla="*/ 416350 w 1594610"/>
                <a:gd name="connsiteY562" fmla="*/ 1191301 h 1215313"/>
                <a:gd name="connsiteX563" fmla="*/ 411355 w 1594610"/>
                <a:gd name="connsiteY563" fmla="*/ 1191301 h 1215313"/>
                <a:gd name="connsiteX564" fmla="*/ 401315 w 1594610"/>
                <a:gd name="connsiteY564" fmla="*/ 1185830 h 1215313"/>
                <a:gd name="connsiteX565" fmla="*/ 406809 w 1594610"/>
                <a:gd name="connsiteY565" fmla="*/ 1176347 h 1215313"/>
                <a:gd name="connsiteX566" fmla="*/ 406809 w 1594610"/>
                <a:gd name="connsiteY566" fmla="*/ 1171848 h 1215313"/>
                <a:gd name="connsiteX567" fmla="*/ 406809 w 1594610"/>
                <a:gd name="connsiteY567" fmla="*/ 1161818 h 1215313"/>
                <a:gd name="connsiteX568" fmla="*/ 406809 w 1594610"/>
                <a:gd name="connsiteY568" fmla="*/ 1152334 h 1215313"/>
                <a:gd name="connsiteX569" fmla="*/ 401315 w 1594610"/>
                <a:gd name="connsiteY569" fmla="*/ 1147350 h 1215313"/>
                <a:gd name="connsiteX570" fmla="*/ 420846 w 1594610"/>
                <a:gd name="connsiteY570" fmla="*/ 1137319 h 1215313"/>
                <a:gd name="connsiteX571" fmla="*/ 425891 w 1594610"/>
                <a:gd name="connsiteY571" fmla="*/ 1137319 h 1215313"/>
                <a:gd name="connsiteX572" fmla="*/ 420846 w 1594610"/>
                <a:gd name="connsiteY572" fmla="*/ 1127836 h 1215313"/>
                <a:gd name="connsiteX573" fmla="*/ 435881 w 1594610"/>
                <a:gd name="connsiteY573" fmla="*/ 1127836 h 1215313"/>
                <a:gd name="connsiteX574" fmla="*/ 440377 w 1594610"/>
                <a:gd name="connsiteY574" fmla="*/ 1127836 h 1215313"/>
                <a:gd name="connsiteX575" fmla="*/ 440377 w 1594610"/>
                <a:gd name="connsiteY575" fmla="*/ 1122365 h 1215313"/>
                <a:gd name="connsiteX576" fmla="*/ 435881 w 1594610"/>
                <a:gd name="connsiteY576" fmla="*/ 1122365 h 1215313"/>
                <a:gd name="connsiteX577" fmla="*/ 435881 w 1594610"/>
                <a:gd name="connsiteY577" fmla="*/ 1112882 h 1215313"/>
                <a:gd name="connsiteX578" fmla="*/ 440377 w 1594610"/>
                <a:gd name="connsiteY578" fmla="*/ 1098353 h 1215313"/>
                <a:gd name="connsiteX579" fmla="*/ 435881 w 1594610"/>
                <a:gd name="connsiteY579" fmla="*/ 1098353 h 1215313"/>
                <a:gd name="connsiteX580" fmla="*/ 435881 w 1594610"/>
                <a:gd name="connsiteY580" fmla="*/ 1093368 h 1215313"/>
                <a:gd name="connsiteX581" fmla="*/ 430886 w 1594610"/>
                <a:gd name="connsiteY581" fmla="*/ 1083399 h 1215313"/>
                <a:gd name="connsiteX582" fmla="*/ 435881 w 1594610"/>
                <a:gd name="connsiteY582" fmla="*/ 1073855 h 1215313"/>
                <a:gd name="connsiteX583" fmla="*/ 435881 w 1594610"/>
                <a:gd name="connsiteY583" fmla="*/ 1069356 h 1215313"/>
                <a:gd name="connsiteX584" fmla="*/ 435881 w 1594610"/>
                <a:gd name="connsiteY584" fmla="*/ 1064371 h 1215313"/>
                <a:gd name="connsiteX585" fmla="*/ 440377 w 1594610"/>
                <a:gd name="connsiteY585" fmla="*/ 1059387 h 1215313"/>
                <a:gd name="connsiteX586" fmla="*/ 435881 w 1594610"/>
                <a:gd name="connsiteY586" fmla="*/ 1054402 h 1215313"/>
                <a:gd name="connsiteX587" fmla="*/ 435881 w 1594610"/>
                <a:gd name="connsiteY587" fmla="*/ 1044919 h 1215313"/>
                <a:gd name="connsiteX588" fmla="*/ 425891 w 1594610"/>
                <a:gd name="connsiteY588" fmla="*/ 1040420 h 1215313"/>
                <a:gd name="connsiteX589" fmla="*/ 420846 w 1594610"/>
                <a:gd name="connsiteY589" fmla="*/ 1040420 h 1215313"/>
                <a:gd name="connsiteX590" fmla="*/ 425891 w 1594610"/>
                <a:gd name="connsiteY590" fmla="*/ 1034888 h 1215313"/>
                <a:gd name="connsiteX591" fmla="*/ 406809 w 1594610"/>
                <a:gd name="connsiteY591" fmla="*/ 1030390 h 1215313"/>
                <a:gd name="connsiteX592" fmla="*/ 401315 w 1594610"/>
                <a:gd name="connsiteY592" fmla="*/ 1040420 h 1215313"/>
                <a:gd name="connsiteX593" fmla="*/ 386279 w 1594610"/>
                <a:gd name="connsiteY593" fmla="*/ 1034888 h 1215313"/>
                <a:gd name="connsiteX594" fmla="*/ 386279 w 1594610"/>
                <a:gd name="connsiteY594" fmla="*/ 1025405 h 1215313"/>
                <a:gd name="connsiteX595" fmla="*/ 381783 w 1594610"/>
                <a:gd name="connsiteY595" fmla="*/ 1020907 h 1215313"/>
                <a:gd name="connsiteX596" fmla="*/ 376788 w 1594610"/>
                <a:gd name="connsiteY596" fmla="*/ 1015435 h 1215313"/>
                <a:gd name="connsiteX597" fmla="*/ 367247 w 1594610"/>
                <a:gd name="connsiteY597" fmla="*/ 1020907 h 1215313"/>
                <a:gd name="connsiteX598" fmla="*/ 362252 w 1594610"/>
                <a:gd name="connsiteY598" fmla="*/ 1020907 h 1215313"/>
                <a:gd name="connsiteX599" fmla="*/ 357207 w 1594610"/>
                <a:gd name="connsiteY599" fmla="*/ 1015435 h 1215313"/>
                <a:gd name="connsiteX600" fmla="*/ 352711 w 1594610"/>
                <a:gd name="connsiteY600" fmla="*/ 1010937 h 1215313"/>
                <a:gd name="connsiteX601" fmla="*/ 337676 w 1594610"/>
                <a:gd name="connsiteY601" fmla="*/ 1005891 h 1215313"/>
                <a:gd name="connsiteX602" fmla="*/ 337676 w 1594610"/>
                <a:gd name="connsiteY602" fmla="*/ 1001393 h 1215313"/>
                <a:gd name="connsiteX603" fmla="*/ 337676 w 1594610"/>
                <a:gd name="connsiteY603" fmla="*/ 991423 h 1215313"/>
                <a:gd name="connsiteX604" fmla="*/ 337676 w 1594610"/>
                <a:gd name="connsiteY604" fmla="*/ 986439 h 1215313"/>
                <a:gd name="connsiteX605" fmla="*/ 337676 w 1594610"/>
                <a:gd name="connsiteY605" fmla="*/ 976408 h 1215313"/>
                <a:gd name="connsiteX606" fmla="*/ 333180 w 1594610"/>
                <a:gd name="connsiteY606" fmla="*/ 976408 h 1215313"/>
                <a:gd name="connsiteX607" fmla="*/ 328185 w 1594610"/>
                <a:gd name="connsiteY607" fmla="*/ 971910 h 1215313"/>
                <a:gd name="connsiteX608" fmla="*/ 333180 w 1594610"/>
                <a:gd name="connsiteY608" fmla="*/ 962427 h 1215313"/>
                <a:gd name="connsiteX609" fmla="*/ 328185 w 1594610"/>
                <a:gd name="connsiteY609" fmla="*/ 962427 h 1215313"/>
                <a:gd name="connsiteX610" fmla="*/ 328185 w 1594610"/>
                <a:gd name="connsiteY610" fmla="*/ 957442 h 1215313"/>
                <a:gd name="connsiteX611" fmla="*/ 328185 w 1594610"/>
                <a:gd name="connsiteY611" fmla="*/ 952457 h 1215313"/>
                <a:gd name="connsiteX612" fmla="*/ 322640 w 1594610"/>
                <a:gd name="connsiteY612" fmla="*/ 947472 h 1215313"/>
                <a:gd name="connsiteX613" fmla="*/ 322640 w 1594610"/>
                <a:gd name="connsiteY613" fmla="*/ 942974 h 1215313"/>
                <a:gd name="connsiteX614" fmla="*/ 313149 w 1594610"/>
                <a:gd name="connsiteY614" fmla="*/ 937989 h 1215313"/>
                <a:gd name="connsiteX615" fmla="*/ 313149 w 1594610"/>
                <a:gd name="connsiteY615" fmla="*/ 933491 h 1215313"/>
                <a:gd name="connsiteX616" fmla="*/ 308654 w 1594610"/>
                <a:gd name="connsiteY616" fmla="*/ 927959 h 1215313"/>
                <a:gd name="connsiteX617" fmla="*/ 303109 w 1594610"/>
                <a:gd name="connsiteY617" fmla="*/ 918476 h 1215313"/>
                <a:gd name="connsiteX618" fmla="*/ 298613 w 1594610"/>
                <a:gd name="connsiteY618" fmla="*/ 918476 h 1215313"/>
                <a:gd name="connsiteX619" fmla="*/ 298613 w 1594610"/>
                <a:gd name="connsiteY619" fmla="*/ 904008 h 1215313"/>
                <a:gd name="connsiteX620" fmla="*/ 293618 w 1594610"/>
                <a:gd name="connsiteY620" fmla="*/ 898962 h 1215313"/>
                <a:gd name="connsiteX621" fmla="*/ 298613 w 1594610"/>
                <a:gd name="connsiteY621" fmla="*/ 894463 h 1215313"/>
                <a:gd name="connsiteX622" fmla="*/ 293618 w 1594610"/>
                <a:gd name="connsiteY622" fmla="*/ 894463 h 1215313"/>
                <a:gd name="connsiteX623" fmla="*/ 289072 w 1594610"/>
                <a:gd name="connsiteY623" fmla="*/ 894463 h 1215313"/>
                <a:gd name="connsiteX624" fmla="*/ 279082 w 1594610"/>
                <a:gd name="connsiteY624" fmla="*/ 888992 h 1215313"/>
                <a:gd name="connsiteX625" fmla="*/ 279082 w 1594610"/>
                <a:gd name="connsiteY625" fmla="*/ 894463 h 1215313"/>
                <a:gd name="connsiteX626" fmla="*/ 284077 w 1594610"/>
                <a:gd name="connsiteY626" fmla="*/ 908506 h 1215313"/>
                <a:gd name="connsiteX627" fmla="*/ 279082 w 1594610"/>
                <a:gd name="connsiteY627" fmla="*/ 913977 h 1215313"/>
                <a:gd name="connsiteX628" fmla="*/ 264546 w 1594610"/>
                <a:gd name="connsiteY628" fmla="*/ 913977 h 1215313"/>
                <a:gd name="connsiteX629" fmla="*/ 269541 w 1594610"/>
                <a:gd name="connsiteY629" fmla="*/ 933491 h 1215313"/>
                <a:gd name="connsiteX630" fmla="*/ 264546 w 1594610"/>
                <a:gd name="connsiteY630" fmla="*/ 933491 h 1215313"/>
                <a:gd name="connsiteX631" fmla="*/ 260050 w 1594610"/>
                <a:gd name="connsiteY631" fmla="*/ 927959 h 1215313"/>
                <a:gd name="connsiteX632" fmla="*/ 249510 w 1594610"/>
                <a:gd name="connsiteY632" fmla="*/ 942974 h 1215313"/>
                <a:gd name="connsiteX633" fmla="*/ 245015 w 1594610"/>
                <a:gd name="connsiteY633" fmla="*/ 947472 h 1215313"/>
                <a:gd name="connsiteX634" fmla="*/ 234974 w 1594610"/>
                <a:gd name="connsiteY634" fmla="*/ 952457 h 1215313"/>
                <a:gd name="connsiteX635" fmla="*/ 225484 w 1594610"/>
                <a:gd name="connsiteY635" fmla="*/ 947472 h 1215313"/>
                <a:gd name="connsiteX636" fmla="*/ 229979 w 1594610"/>
                <a:gd name="connsiteY636" fmla="*/ 927959 h 1215313"/>
                <a:gd name="connsiteX637" fmla="*/ 220438 w 1594610"/>
                <a:gd name="connsiteY637" fmla="*/ 927959 h 1215313"/>
                <a:gd name="connsiteX638" fmla="*/ 220438 w 1594610"/>
                <a:gd name="connsiteY638" fmla="*/ 918476 h 1215313"/>
                <a:gd name="connsiteX639" fmla="*/ 205902 w 1594610"/>
                <a:gd name="connsiteY639" fmla="*/ 913977 h 1215313"/>
                <a:gd name="connsiteX640" fmla="*/ 190867 w 1594610"/>
                <a:gd name="connsiteY640" fmla="*/ 933491 h 1215313"/>
                <a:gd name="connsiteX641" fmla="*/ 175881 w 1594610"/>
                <a:gd name="connsiteY641" fmla="*/ 933491 h 1215313"/>
                <a:gd name="connsiteX642" fmla="*/ 171336 w 1594610"/>
                <a:gd name="connsiteY642" fmla="*/ 918476 h 1215313"/>
                <a:gd name="connsiteX643" fmla="*/ 166340 w 1594610"/>
                <a:gd name="connsiteY643" fmla="*/ 918476 h 1215313"/>
                <a:gd name="connsiteX644" fmla="*/ 161845 w 1594610"/>
                <a:gd name="connsiteY644" fmla="*/ 918476 h 1215313"/>
                <a:gd name="connsiteX645" fmla="*/ 161845 w 1594610"/>
                <a:gd name="connsiteY645" fmla="*/ 913977 h 1215313"/>
                <a:gd name="connsiteX646" fmla="*/ 156300 w 1594610"/>
                <a:gd name="connsiteY646" fmla="*/ 923460 h 1215313"/>
                <a:gd name="connsiteX647" fmla="*/ 146809 w 1594610"/>
                <a:gd name="connsiteY647" fmla="*/ 927959 h 1215313"/>
                <a:gd name="connsiteX648" fmla="*/ 137268 w 1594610"/>
                <a:gd name="connsiteY648" fmla="*/ 933491 h 1215313"/>
                <a:gd name="connsiteX649" fmla="*/ 137268 w 1594610"/>
                <a:gd name="connsiteY649" fmla="*/ 937989 h 1215313"/>
                <a:gd name="connsiteX650" fmla="*/ 127278 w 1594610"/>
                <a:gd name="connsiteY650" fmla="*/ 933491 h 1215313"/>
                <a:gd name="connsiteX651" fmla="*/ 113241 w 1594610"/>
                <a:gd name="connsiteY651" fmla="*/ 923460 h 1215313"/>
                <a:gd name="connsiteX652" fmla="*/ 113241 w 1594610"/>
                <a:gd name="connsiteY652" fmla="*/ 918476 h 1215313"/>
                <a:gd name="connsiteX653" fmla="*/ 107697 w 1594610"/>
                <a:gd name="connsiteY653" fmla="*/ 908506 h 1215313"/>
                <a:gd name="connsiteX654" fmla="*/ 98206 w 1594610"/>
                <a:gd name="connsiteY654" fmla="*/ 908506 h 1215313"/>
                <a:gd name="connsiteX655" fmla="*/ 92711 w 1594610"/>
                <a:gd name="connsiteY655" fmla="*/ 908506 h 1215313"/>
                <a:gd name="connsiteX656" fmla="*/ 73629 w 1594610"/>
                <a:gd name="connsiteY656" fmla="*/ 888992 h 1215313"/>
                <a:gd name="connsiteX657" fmla="*/ 68634 w 1594610"/>
                <a:gd name="connsiteY657" fmla="*/ 875011 h 1215313"/>
                <a:gd name="connsiteX658" fmla="*/ 73629 w 1594610"/>
                <a:gd name="connsiteY658" fmla="*/ 864980 h 1215313"/>
                <a:gd name="connsiteX659" fmla="*/ 78675 w 1594610"/>
                <a:gd name="connsiteY659" fmla="*/ 859996 h 1215313"/>
                <a:gd name="connsiteX660" fmla="*/ 78675 w 1594610"/>
                <a:gd name="connsiteY660" fmla="*/ 850512 h 1215313"/>
                <a:gd name="connsiteX661" fmla="*/ 83170 w 1594610"/>
                <a:gd name="connsiteY661" fmla="*/ 845528 h 1215313"/>
                <a:gd name="connsiteX662" fmla="*/ 83170 w 1594610"/>
                <a:gd name="connsiteY662" fmla="*/ 821029 h 1215313"/>
                <a:gd name="connsiteX663" fmla="*/ 78675 w 1594610"/>
                <a:gd name="connsiteY663" fmla="*/ 811546 h 1215313"/>
                <a:gd name="connsiteX664" fmla="*/ 83170 w 1594610"/>
                <a:gd name="connsiteY664" fmla="*/ 797017 h 1215313"/>
                <a:gd name="connsiteX665" fmla="*/ 88166 w 1594610"/>
                <a:gd name="connsiteY665" fmla="*/ 782063 h 1215313"/>
                <a:gd name="connsiteX666" fmla="*/ 83170 w 1594610"/>
                <a:gd name="connsiteY666" fmla="*/ 772580 h 1215313"/>
                <a:gd name="connsiteX667" fmla="*/ 83170 w 1594610"/>
                <a:gd name="connsiteY667" fmla="*/ 762549 h 1215313"/>
                <a:gd name="connsiteX668" fmla="*/ 88166 w 1594610"/>
                <a:gd name="connsiteY668" fmla="*/ 753066 h 1215313"/>
                <a:gd name="connsiteX669" fmla="*/ 88166 w 1594610"/>
                <a:gd name="connsiteY669" fmla="*/ 743583 h 1215313"/>
                <a:gd name="connsiteX670" fmla="*/ 83170 w 1594610"/>
                <a:gd name="connsiteY670" fmla="*/ 733552 h 1215313"/>
                <a:gd name="connsiteX671" fmla="*/ 78675 w 1594610"/>
                <a:gd name="connsiteY671" fmla="*/ 733552 h 1215313"/>
                <a:gd name="connsiteX672" fmla="*/ 68634 w 1594610"/>
                <a:gd name="connsiteY672" fmla="*/ 729054 h 1215313"/>
                <a:gd name="connsiteX673" fmla="*/ 63639 w 1594610"/>
                <a:gd name="connsiteY673" fmla="*/ 719571 h 1215313"/>
                <a:gd name="connsiteX674" fmla="*/ 68634 w 1594610"/>
                <a:gd name="connsiteY674" fmla="*/ 714100 h 1215313"/>
                <a:gd name="connsiteX675" fmla="*/ 68634 w 1594610"/>
                <a:gd name="connsiteY675" fmla="*/ 704616 h 1215313"/>
                <a:gd name="connsiteX676" fmla="*/ 68634 w 1594610"/>
                <a:gd name="connsiteY676" fmla="*/ 694586 h 1215313"/>
                <a:gd name="connsiteX677" fmla="*/ 68634 w 1594610"/>
                <a:gd name="connsiteY677" fmla="*/ 690088 h 1215313"/>
                <a:gd name="connsiteX678" fmla="*/ 63639 w 1594610"/>
                <a:gd name="connsiteY678" fmla="*/ 685103 h 1215313"/>
                <a:gd name="connsiteX679" fmla="*/ 63639 w 1594610"/>
                <a:gd name="connsiteY679" fmla="*/ 675133 h 1215313"/>
                <a:gd name="connsiteX680" fmla="*/ 59143 w 1594610"/>
                <a:gd name="connsiteY680" fmla="*/ 651121 h 1215313"/>
                <a:gd name="connsiteX681" fmla="*/ 54098 w 1594610"/>
                <a:gd name="connsiteY681" fmla="*/ 651121 h 1215313"/>
                <a:gd name="connsiteX682" fmla="*/ 49603 w 1594610"/>
                <a:gd name="connsiteY682" fmla="*/ 631608 h 1215313"/>
                <a:gd name="connsiteX683" fmla="*/ 49603 w 1594610"/>
                <a:gd name="connsiteY683" fmla="*/ 622125 h 1215313"/>
                <a:gd name="connsiteX684" fmla="*/ 49603 w 1594610"/>
                <a:gd name="connsiteY684" fmla="*/ 617140 h 1215313"/>
                <a:gd name="connsiteX685" fmla="*/ 44108 w 1594610"/>
                <a:gd name="connsiteY685" fmla="*/ 617140 h 1215313"/>
                <a:gd name="connsiteX686" fmla="*/ 44108 w 1594610"/>
                <a:gd name="connsiteY686" fmla="*/ 612641 h 1215313"/>
                <a:gd name="connsiteX687" fmla="*/ 29072 w 1594610"/>
                <a:gd name="connsiteY687" fmla="*/ 597626 h 1215313"/>
                <a:gd name="connsiteX688" fmla="*/ 24527 w 1594610"/>
                <a:gd name="connsiteY688" fmla="*/ 593188 h 1215313"/>
                <a:gd name="connsiteX689" fmla="*/ 19531 w 1594610"/>
                <a:gd name="connsiteY689" fmla="*/ 593188 h 1215313"/>
                <a:gd name="connsiteX690" fmla="*/ 15036 w 1594610"/>
                <a:gd name="connsiteY690" fmla="*/ 587657 h 1215313"/>
                <a:gd name="connsiteX691" fmla="*/ 9541 w 1594610"/>
                <a:gd name="connsiteY691" fmla="*/ 583158 h 1215313"/>
                <a:gd name="connsiteX692" fmla="*/ 9541 w 1594610"/>
                <a:gd name="connsiteY692" fmla="*/ 568143 h 1215313"/>
                <a:gd name="connsiteX693" fmla="*/ 15036 w 1594610"/>
                <a:gd name="connsiteY693" fmla="*/ 563705 h 1215313"/>
                <a:gd name="connsiteX694" fmla="*/ 24527 w 1594610"/>
                <a:gd name="connsiteY694" fmla="*/ 539207 h 1215313"/>
                <a:gd name="connsiteX695" fmla="*/ 29072 w 1594610"/>
                <a:gd name="connsiteY695" fmla="*/ 524678 h 1215313"/>
                <a:gd name="connsiteX696" fmla="*/ 29072 w 1594610"/>
                <a:gd name="connsiteY696" fmla="*/ 515195 h 1215313"/>
                <a:gd name="connsiteX697" fmla="*/ 24527 w 1594610"/>
                <a:gd name="connsiteY697" fmla="*/ 515195 h 1215313"/>
                <a:gd name="connsiteX698" fmla="*/ 24527 w 1594610"/>
                <a:gd name="connsiteY698" fmla="*/ 505712 h 1215313"/>
                <a:gd name="connsiteX699" fmla="*/ 19531 w 1594610"/>
                <a:gd name="connsiteY699" fmla="*/ 500241 h 1215313"/>
                <a:gd name="connsiteX700" fmla="*/ 15036 w 1594610"/>
                <a:gd name="connsiteY700" fmla="*/ 490697 h 1215313"/>
                <a:gd name="connsiteX701" fmla="*/ 15036 w 1594610"/>
                <a:gd name="connsiteY701" fmla="*/ 486198 h 1215313"/>
                <a:gd name="connsiteX702" fmla="*/ 9541 w 1594610"/>
                <a:gd name="connsiteY702" fmla="*/ 480727 h 1215313"/>
                <a:gd name="connsiteX703" fmla="*/ 4995 w 1594610"/>
                <a:gd name="connsiteY703" fmla="*/ 476229 h 1215313"/>
                <a:gd name="connsiteX704" fmla="*/ 0 w 1594610"/>
                <a:gd name="connsiteY704" fmla="*/ 466745 h 1215313"/>
                <a:gd name="connsiteX705" fmla="*/ 0 w 1594610"/>
                <a:gd name="connsiteY705" fmla="*/ 461213 h 1215313"/>
                <a:gd name="connsiteX706" fmla="*/ 4995 w 1594610"/>
                <a:gd name="connsiteY706" fmla="*/ 461213 h 1215313"/>
                <a:gd name="connsiteX707" fmla="*/ 4995 w 1594610"/>
                <a:gd name="connsiteY707" fmla="*/ 466745 h 1215313"/>
                <a:gd name="connsiteX708" fmla="*/ 9541 w 1594610"/>
                <a:gd name="connsiteY708" fmla="*/ 466745 h 1215313"/>
                <a:gd name="connsiteX709" fmla="*/ 9541 w 1594610"/>
                <a:gd name="connsiteY709" fmla="*/ 461213 h 1215313"/>
                <a:gd name="connsiteX710" fmla="*/ 15036 w 1594610"/>
                <a:gd name="connsiteY710" fmla="*/ 461213 h 1215313"/>
                <a:gd name="connsiteX711" fmla="*/ 24527 w 1594610"/>
                <a:gd name="connsiteY711" fmla="*/ 456715 h 1215313"/>
                <a:gd name="connsiteX712" fmla="*/ 44108 w 1594610"/>
                <a:gd name="connsiteY712" fmla="*/ 456715 h 1215313"/>
                <a:gd name="connsiteX713" fmla="*/ 49603 w 1594610"/>
                <a:gd name="connsiteY713" fmla="*/ 451730 h 1215313"/>
                <a:gd name="connsiteX714" fmla="*/ 34567 w 1594610"/>
                <a:gd name="connsiteY714" fmla="*/ 432277 h 1215313"/>
                <a:gd name="connsiteX715" fmla="*/ 34567 w 1594610"/>
                <a:gd name="connsiteY715" fmla="*/ 422733 h 1215313"/>
                <a:gd name="connsiteX716" fmla="*/ 34567 w 1594610"/>
                <a:gd name="connsiteY716" fmla="*/ 418235 h 1215313"/>
                <a:gd name="connsiteX717" fmla="*/ 39562 w 1594610"/>
                <a:gd name="connsiteY717" fmla="*/ 408265 h 1215313"/>
                <a:gd name="connsiteX718" fmla="*/ 34567 w 1594610"/>
                <a:gd name="connsiteY718" fmla="*/ 403281 h 1215313"/>
                <a:gd name="connsiteX719" fmla="*/ 29072 w 1594610"/>
                <a:gd name="connsiteY719" fmla="*/ 403281 h 1215313"/>
                <a:gd name="connsiteX720" fmla="*/ 24527 w 1594610"/>
                <a:gd name="connsiteY720" fmla="*/ 398782 h 1215313"/>
                <a:gd name="connsiteX721" fmla="*/ 29072 w 1594610"/>
                <a:gd name="connsiteY721" fmla="*/ 393250 h 1215313"/>
                <a:gd name="connsiteX722" fmla="*/ 15036 w 1594610"/>
                <a:gd name="connsiteY722" fmla="*/ 383767 h 1215313"/>
                <a:gd name="connsiteX723" fmla="*/ 9541 w 1594610"/>
                <a:gd name="connsiteY723" fmla="*/ 379269 h 1215313"/>
                <a:gd name="connsiteX724" fmla="*/ 9541 w 1594610"/>
                <a:gd name="connsiteY724" fmla="*/ 369299 h 1215313"/>
                <a:gd name="connsiteX725" fmla="*/ 4995 w 1594610"/>
                <a:gd name="connsiteY725" fmla="*/ 369299 h 1215313"/>
                <a:gd name="connsiteX726" fmla="*/ 4995 w 1594610"/>
                <a:gd name="connsiteY726" fmla="*/ 373798 h 1215313"/>
                <a:gd name="connsiteX727" fmla="*/ 0 w 1594610"/>
                <a:gd name="connsiteY727" fmla="*/ 373798 h 1215313"/>
                <a:gd name="connsiteX728" fmla="*/ 0 w 1594610"/>
                <a:gd name="connsiteY728" fmla="*/ 369299 h 1215313"/>
                <a:gd name="connsiteX729" fmla="*/ 0 w 1594610"/>
                <a:gd name="connsiteY729" fmla="*/ 349786 h 1215313"/>
                <a:gd name="connsiteX730" fmla="*/ 24527 w 1594610"/>
                <a:gd name="connsiteY730" fmla="*/ 344801 h 1215313"/>
                <a:gd name="connsiteX731" fmla="*/ 29072 w 1594610"/>
                <a:gd name="connsiteY731" fmla="*/ 344801 h 1215313"/>
                <a:gd name="connsiteX732" fmla="*/ 44108 w 1594610"/>
                <a:gd name="connsiteY732" fmla="*/ 335318 h 1215313"/>
                <a:gd name="connsiteX733" fmla="*/ 63639 w 1594610"/>
                <a:gd name="connsiteY733" fmla="*/ 335318 h 1215313"/>
                <a:gd name="connsiteX734" fmla="*/ 63639 w 1594610"/>
                <a:gd name="connsiteY734" fmla="*/ 320789 h 1215313"/>
                <a:gd name="connsiteX735" fmla="*/ 59143 w 1594610"/>
                <a:gd name="connsiteY735" fmla="*/ 320789 h 1215313"/>
                <a:gd name="connsiteX736" fmla="*/ 59143 w 1594610"/>
                <a:gd name="connsiteY736" fmla="*/ 305834 h 1215313"/>
                <a:gd name="connsiteX737" fmla="*/ 63639 w 1594610"/>
                <a:gd name="connsiteY737" fmla="*/ 305834 h 1215313"/>
                <a:gd name="connsiteX738" fmla="*/ 68634 w 1594610"/>
                <a:gd name="connsiteY738" fmla="*/ 301336 h 1215313"/>
                <a:gd name="connsiteX739" fmla="*/ 63639 w 1594610"/>
                <a:gd name="connsiteY739" fmla="*/ 291853 h 1215313"/>
                <a:gd name="connsiteX740" fmla="*/ 54098 w 1594610"/>
                <a:gd name="connsiteY740" fmla="*/ 291853 h 1215313"/>
                <a:gd name="connsiteX741" fmla="*/ 59143 w 1594610"/>
                <a:gd name="connsiteY741" fmla="*/ 281822 h 1215313"/>
                <a:gd name="connsiteX742" fmla="*/ 59143 w 1594610"/>
                <a:gd name="connsiteY742" fmla="*/ 276838 h 1215313"/>
                <a:gd name="connsiteX743" fmla="*/ 59143 w 1594610"/>
                <a:gd name="connsiteY743" fmla="*/ 272339 h 1215313"/>
                <a:gd name="connsiteX744" fmla="*/ 59143 w 1594610"/>
                <a:gd name="connsiteY744" fmla="*/ 266868 h 1215313"/>
                <a:gd name="connsiteX745" fmla="*/ 63639 w 1594610"/>
                <a:gd name="connsiteY745" fmla="*/ 266868 h 1215313"/>
                <a:gd name="connsiteX746" fmla="*/ 68634 w 1594610"/>
                <a:gd name="connsiteY746" fmla="*/ 266868 h 1215313"/>
                <a:gd name="connsiteX747" fmla="*/ 73629 w 1594610"/>
                <a:gd name="connsiteY747" fmla="*/ 266868 h 1215313"/>
                <a:gd name="connsiteX748" fmla="*/ 73629 w 1594610"/>
                <a:gd name="connsiteY748" fmla="*/ 257324 h 1215313"/>
                <a:gd name="connsiteX749" fmla="*/ 78675 w 1594610"/>
                <a:gd name="connsiteY749" fmla="*/ 257324 h 1215313"/>
                <a:gd name="connsiteX750" fmla="*/ 88166 w 1594610"/>
                <a:gd name="connsiteY750" fmla="*/ 247354 h 1215313"/>
                <a:gd name="connsiteX751" fmla="*/ 92711 w 1594610"/>
                <a:gd name="connsiteY751" fmla="*/ 247354 h 1215313"/>
                <a:gd name="connsiteX752" fmla="*/ 92711 w 1594610"/>
                <a:gd name="connsiteY752" fmla="*/ 237871 h 1215313"/>
                <a:gd name="connsiteX753" fmla="*/ 98206 w 1594610"/>
                <a:gd name="connsiteY753" fmla="*/ 233373 h 1215313"/>
                <a:gd name="connsiteX754" fmla="*/ 98206 w 1594610"/>
                <a:gd name="connsiteY754" fmla="*/ 223342 h 1215313"/>
                <a:gd name="connsiteX755" fmla="*/ 98206 w 1594610"/>
                <a:gd name="connsiteY755" fmla="*/ 218358 h 1215313"/>
                <a:gd name="connsiteX756" fmla="*/ 98206 w 1594610"/>
                <a:gd name="connsiteY756" fmla="*/ 213859 h 1215313"/>
                <a:gd name="connsiteX757" fmla="*/ 98206 w 1594610"/>
                <a:gd name="connsiteY757" fmla="*/ 208874 h 1215313"/>
                <a:gd name="connsiteX758" fmla="*/ 92711 w 1594610"/>
                <a:gd name="connsiteY758" fmla="*/ 213859 h 1215313"/>
                <a:gd name="connsiteX759" fmla="*/ 92711 w 1594610"/>
                <a:gd name="connsiteY759" fmla="*/ 204376 h 1215313"/>
                <a:gd name="connsiteX760" fmla="*/ 98206 w 1594610"/>
                <a:gd name="connsiteY760" fmla="*/ 198905 h 1215313"/>
                <a:gd name="connsiteX761" fmla="*/ 88166 w 1594610"/>
                <a:gd name="connsiteY761" fmla="*/ 194406 h 1215313"/>
                <a:gd name="connsiteX762" fmla="*/ 88166 w 1594610"/>
                <a:gd name="connsiteY762" fmla="*/ 189361 h 1215313"/>
                <a:gd name="connsiteX763" fmla="*/ 73629 w 1594610"/>
                <a:gd name="connsiteY763" fmla="*/ 179391 h 1215313"/>
                <a:gd name="connsiteX764" fmla="*/ 73629 w 1594610"/>
                <a:gd name="connsiteY764" fmla="*/ 169908 h 1215313"/>
                <a:gd name="connsiteX765" fmla="*/ 68634 w 1594610"/>
                <a:gd name="connsiteY765" fmla="*/ 165410 h 1215313"/>
                <a:gd name="connsiteX766" fmla="*/ 68634 w 1594610"/>
                <a:gd name="connsiteY766" fmla="*/ 155440 h 1215313"/>
                <a:gd name="connsiteX767" fmla="*/ 63639 w 1594610"/>
                <a:gd name="connsiteY767" fmla="*/ 155440 h 1215313"/>
                <a:gd name="connsiteX768" fmla="*/ 63639 w 1594610"/>
                <a:gd name="connsiteY768" fmla="*/ 145896 h 1215313"/>
                <a:gd name="connsiteX769" fmla="*/ 59143 w 1594610"/>
                <a:gd name="connsiteY769" fmla="*/ 135926 h 1215313"/>
                <a:gd name="connsiteX770" fmla="*/ 54098 w 1594610"/>
                <a:gd name="connsiteY770" fmla="*/ 140425 h 1215313"/>
                <a:gd name="connsiteX771" fmla="*/ 49603 w 1594610"/>
                <a:gd name="connsiteY771" fmla="*/ 135926 h 1215313"/>
                <a:gd name="connsiteX772" fmla="*/ 39562 w 1594610"/>
                <a:gd name="connsiteY772" fmla="*/ 135926 h 1215313"/>
                <a:gd name="connsiteX773" fmla="*/ 39562 w 1594610"/>
                <a:gd name="connsiteY773" fmla="*/ 126443 h 1215313"/>
                <a:gd name="connsiteX774" fmla="*/ 29072 w 1594610"/>
                <a:gd name="connsiteY774" fmla="*/ 126443 h 1215313"/>
                <a:gd name="connsiteX775" fmla="*/ 29072 w 1594610"/>
                <a:gd name="connsiteY775" fmla="*/ 121458 h 1215313"/>
                <a:gd name="connsiteX776" fmla="*/ 39562 w 1594610"/>
                <a:gd name="connsiteY776" fmla="*/ 111428 h 1215313"/>
                <a:gd name="connsiteX777" fmla="*/ 44108 w 1594610"/>
                <a:gd name="connsiteY777" fmla="*/ 111428 h 1215313"/>
                <a:gd name="connsiteX778" fmla="*/ 44108 w 1594610"/>
                <a:gd name="connsiteY778" fmla="*/ 106930 h 1215313"/>
                <a:gd name="connsiteX779" fmla="*/ 49603 w 1594610"/>
                <a:gd name="connsiteY779" fmla="*/ 106930 h 1215313"/>
                <a:gd name="connsiteX780" fmla="*/ 54098 w 1594610"/>
                <a:gd name="connsiteY780" fmla="*/ 106930 h 1215313"/>
                <a:gd name="connsiteX781" fmla="*/ 59143 w 1594610"/>
                <a:gd name="connsiteY781" fmla="*/ 97446 h 1215313"/>
                <a:gd name="connsiteX782" fmla="*/ 68634 w 1594610"/>
                <a:gd name="connsiteY782" fmla="*/ 77933 h 1215313"/>
                <a:gd name="connsiteX783" fmla="*/ 68634 w 1594610"/>
                <a:gd name="connsiteY783" fmla="*/ 72462 h 1215313"/>
                <a:gd name="connsiteX784" fmla="*/ 59143 w 1594610"/>
                <a:gd name="connsiteY784" fmla="*/ 67963 h 1215313"/>
                <a:gd name="connsiteX785" fmla="*/ 63639 w 1594610"/>
                <a:gd name="connsiteY785" fmla="*/ 62979 h 1215313"/>
                <a:gd name="connsiteX786" fmla="*/ 59143 w 1594610"/>
                <a:gd name="connsiteY786" fmla="*/ 58480 h 1215313"/>
                <a:gd name="connsiteX787" fmla="*/ 59143 w 1594610"/>
                <a:gd name="connsiteY787" fmla="*/ 52948 h 1215313"/>
                <a:gd name="connsiteX788" fmla="*/ 59143 w 1594610"/>
                <a:gd name="connsiteY788" fmla="*/ 48450 h 1215313"/>
                <a:gd name="connsiteX789" fmla="*/ 68634 w 1594610"/>
                <a:gd name="connsiteY789" fmla="*/ 33495 h 1215313"/>
                <a:gd name="connsiteX790" fmla="*/ 63639 w 1594610"/>
                <a:gd name="connsiteY790" fmla="*/ 33495 h 1215313"/>
                <a:gd name="connsiteX791" fmla="*/ 68634 w 1594610"/>
                <a:gd name="connsiteY791" fmla="*/ 24012 h 1215313"/>
                <a:gd name="connsiteX792" fmla="*/ 78675 w 1594610"/>
                <a:gd name="connsiteY792" fmla="*/ 24012 h 1215313"/>
                <a:gd name="connsiteX793" fmla="*/ 88166 w 1594610"/>
                <a:gd name="connsiteY793" fmla="*/ 24012 h 1215313"/>
                <a:gd name="connsiteX794" fmla="*/ 88166 w 1594610"/>
                <a:gd name="connsiteY794" fmla="*/ 28997 h 1215313"/>
                <a:gd name="connsiteX795" fmla="*/ 92711 w 1594610"/>
                <a:gd name="connsiteY795" fmla="*/ 28997 h 1215313"/>
                <a:gd name="connsiteX796" fmla="*/ 98206 w 1594610"/>
                <a:gd name="connsiteY796" fmla="*/ 14468 h 1215313"/>
                <a:gd name="connsiteX797" fmla="*/ 102702 w 1594610"/>
                <a:gd name="connsiteY797" fmla="*/ 14468 h 1215313"/>
                <a:gd name="connsiteX798" fmla="*/ 113241 w 1594610"/>
                <a:gd name="connsiteY798" fmla="*/ 14468 h 1215313"/>
                <a:gd name="connsiteX799" fmla="*/ 117737 w 1594610"/>
                <a:gd name="connsiteY799" fmla="*/ 14468 h 1215313"/>
                <a:gd name="connsiteX800" fmla="*/ 127278 w 1594610"/>
                <a:gd name="connsiteY800" fmla="*/ 19514 h 1215313"/>
                <a:gd name="connsiteX801" fmla="*/ 132273 w 1594610"/>
                <a:gd name="connsiteY801" fmla="*/ 14468 h 1215313"/>
                <a:gd name="connsiteX802" fmla="*/ 137268 w 1594610"/>
                <a:gd name="connsiteY802" fmla="*/ 14468 h 1215313"/>
                <a:gd name="connsiteX803" fmla="*/ 142313 w 1594610"/>
                <a:gd name="connsiteY803" fmla="*/ 19514 h 1215313"/>
                <a:gd name="connsiteX804" fmla="*/ 151804 w 1594610"/>
                <a:gd name="connsiteY804" fmla="*/ 9483 h 1215313"/>
                <a:gd name="connsiteX805" fmla="*/ 156300 w 1594610"/>
                <a:gd name="connsiteY805" fmla="*/ 9483 h 1215313"/>
                <a:gd name="connsiteX806" fmla="*/ 166340 w 1594610"/>
                <a:gd name="connsiteY806" fmla="*/ 14468 h 1215313"/>
                <a:gd name="connsiteX807" fmla="*/ 171336 w 1594610"/>
                <a:gd name="connsiteY807" fmla="*/ 14468 h 1215313"/>
                <a:gd name="connsiteX808" fmla="*/ 175881 w 1594610"/>
                <a:gd name="connsiteY808" fmla="*/ 14468 h 1215313"/>
                <a:gd name="connsiteX809" fmla="*/ 181376 w 1594610"/>
                <a:gd name="connsiteY809" fmla="*/ 9483 h 1215313"/>
                <a:gd name="connsiteX810" fmla="*/ 186371 w 1594610"/>
                <a:gd name="connsiteY810" fmla="*/ 9483 h 121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1594610" h="1215313">
                  <a:moveTo>
                    <a:pt x="190867" y="0"/>
                  </a:moveTo>
                  <a:lnTo>
                    <a:pt x="200907" y="4499"/>
                  </a:lnTo>
                  <a:lnTo>
                    <a:pt x="205902" y="14468"/>
                  </a:lnTo>
                  <a:lnTo>
                    <a:pt x="210448" y="19514"/>
                  </a:lnTo>
                  <a:lnTo>
                    <a:pt x="225484" y="9483"/>
                  </a:lnTo>
                  <a:lnTo>
                    <a:pt x="225484" y="14468"/>
                  </a:lnTo>
                  <a:lnTo>
                    <a:pt x="234974" y="14468"/>
                  </a:lnTo>
                  <a:lnTo>
                    <a:pt x="249510" y="33495"/>
                  </a:lnTo>
                  <a:lnTo>
                    <a:pt x="249510" y="43465"/>
                  </a:lnTo>
                  <a:lnTo>
                    <a:pt x="260050" y="38966"/>
                  </a:lnTo>
                  <a:lnTo>
                    <a:pt x="260050" y="43465"/>
                  </a:lnTo>
                  <a:lnTo>
                    <a:pt x="264546" y="52948"/>
                  </a:lnTo>
                  <a:lnTo>
                    <a:pt x="264546" y="58480"/>
                  </a:lnTo>
                  <a:lnTo>
                    <a:pt x="274037" y="62979"/>
                  </a:lnTo>
                  <a:lnTo>
                    <a:pt x="279082" y="67963"/>
                  </a:lnTo>
                  <a:lnTo>
                    <a:pt x="279082" y="72462"/>
                  </a:lnTo>
                  <a:lnTo>
                    <a:pt x="274037" y="87477"/>
                  </a:lnTo>
                  <a:lnTo>
                    <a:pt x="279082" y="87477"/>
                  </a:lnTo>
                  <a:lnTo>
                    <a:pt x="284077" y="91975"/>
                  </a:lnTo>
                  <a:lnTo>
                    <a:pt x="264546" y="111428"/>
                  </a:lnTo>
                  <a:lnTo>
                    <a:pt x="274037" y="116413"/>
                  </a:lnTo>
                  <a:lnTo>
                    <a:pt x="279082" y="111428"/>
                  </a:lnTo>
                  <a:lnTo>
                    <a:pt x="284077" y="111428"/>
                  </a:lnTo>
                  <a:lnTo>
                    <a:pt x="289072" y="111428"/>
                  </a:lnTo>
                  <a:lnTo>
                    <a:pt x="293618" y="121458"/>
                  </a:lnTo>
                  <a:lnTo>
                    <a:pt x="298613" y="135926"/>
                  </a:lnTo>
                  <a:lnTo>
                    <a:pt x="308654" y="135926"/>
                  </a:lnTo>
                  <a:lnTo>
                    <a:pt x="308654" y="130942"/>
                  </a:lnTo>
                  <a:lnTo>
                    <a:pt x="313149" y="135926"/>
                  </a:lnTo>
                  <a:lnTo>
                    <a:pt x="318145" y="126443"/>
                  </a:lnTo>
                  <a:lnTo>
                    <a:pt x="318145" y="121458"/>
                  </a:lnTo>
                  <a:lnTo>
                    <a:pt x="328185" y="121458"/>
                  </a:lnTo>
                  <a:lnTo>
                    <a:pt x="333180" y="130942"/>
                  </a:lnTo>
                  <a:lnTo>
                    <a:pt x="322640" y="135926"/>
                  </a:lnTo>
                  <a:lnTo>
                    <a:pt x="328185" y="145896"/>
                  </a:lnTo>
                  <a:lnTo>
                    <a:pt x="337676" y="145896"/>
                  </a:lnTo>
                  <a:lnTo>
                    <a:pt x="347716" y="155440"/>
                  </a:lnTo>
                  <a:lnTo>
                    <a:pt x="352711" y="159878"/>
                  </a:lnTo>
                  <a:lnTo>
                    <a:pt x="347716" y="165410"/>
                  </a:lnTo>
                  <a:lnTo>
                    <a:pt x="352711" y="169908"/>
                  </a:lnTo>
                  <a:lnTo>
                    <a:pt x="357207" y="179391"/>
                  </a:lnTo>
                  <a:lnTo>
                    <a:pt x="357207" y="189361"/>
                  </a:lnTo>
                  <a:lnTo>
                    <a:pt x="362252" y="194406"/>
                  </a:lnTo>
                  <a:lnTo>
                    <a:pt x="367247" y="194406"/>
                  </a:lnTo>
                  <a:lnTo>
                    <a:pt x="376788" y="204376"/>
                  </a:lnTo>
                  <a:lnTo>
                    <a:pt x="376788" y="208874"/>
                  </a:lnTo>
                  <a:lnTo>
                    <a:pt x="362252" y="213859"/>
                  </a:lnTo>
                  <a:lnTo>
                    <a:pt x="367247" y="223342"/>
                  </a:lnTo>
                  <a:lnTo>
                    <a:pt x="372243" y="223342"/>
                  </a:lnTo>
                  <a:lnTo>
                    <a:pt x="376788" y="223342"/>
                  </a:lnTo>
                  <a:lnTo>
                    <a:pt x="381783" y="213859"/>
                  </a:lnTo>
                  <a:lnTo>
                    <a:pt x="386279" y="213859"/>
                  </a:lnTo>
                  <a:lnTo>
                    <a:pt x="386279" y="218358"/>
                  </a:lnTo>
                  <a:lnTo>
                    <a:pt x="391824" y="228388"/>
                  </a:lnTo>
                  <a:lnTo>
                    <a:pt x="386279" y="252826"/>
                  </a:lnTo>
                  <a:lnTo>
                    <a:pt x="396319" y="252826"/>
                  </a:lnTo>
                  <a:lnTo>
                    <a:pt x="396319" y="247354"/>
                  </a:lnTo>
                  <a:lnTo>
                    <a:pt x="416350" y="247354"/>
                  </a:lnTo>
                  <a:lnTo>
                    <a:pt x="425891" y="242856"/>
                  </a:lnTo>
                  <a:lnTo>
                    <a:pt x="430886" y="252826"/>
                  </a:lnTo>
                  <a:lnTo>
                    <a:pt x="435881" y="247354"/>
                  </a:lnTo>
                  <a:lnTo>
                    <a:pt x="440377" y="252826"/>
                  </a:lnTo>
                  <a:lnTo>
                    <a:pt x="445422" y="247354"/>
                  </a:lnTo>
                  <a:lnTo>
                    <a:pt x="445422" y="242856"/>
                  </a:lnTo>
                  <a:lnTo>
                    <a:pt x="455413" y="242856"/>
                  </a:lnTo>
                  <a:lnTo>
                    <a:pt x="459958" y="247354"/>
                  </a:lnTo>
                  <a:lnTo>
                    <a:pt x="469449" y="247354"/>
                  </a:lnTo>
                  <a:lnTo>
                    <a:pt x="474994" y="242856"/>
                  </a:lnTo>
                  <a:lnTo>
                    <a:pt x="484485" y="233373"/>
                  </a:lnTo>
                  <a:lnTo>
                    <a:pt x="489979" y="237871"/>
                  </a:lnTo>
                  <a:lnTo>
                    <a:pt x="494525" y="242856"/>
                  </a:lnTo>
                  <a:lnTo>
                    <a:pt x="499520" y="242856"/>
                  </a:lnTo>
                  <a:lnTo>
                    <a:pt x="494525" y="228388"/>
                  </a:lnTo>
                  <a:lnTo>
                    <a:pt x="504016" y="228388"/>
                  </a:lnTo>
                  <a:lnTo>
                    <a:pt x="504016" y="237871"/>
                  </a:lnTo>
                  <a:lnTo>
                    <a:pt x="519051" y="247354"/>
                  </a:lnTo>
                  <a:lnTo>
                    <a:pt x="528592" y="247354"/>
                  </a:lnTo>
                  <a:lnTo>
                    <a:pt x="533088" y="252826"/>
                  </a:lnTo>
                  <a:lnTo>
                    <a:pt x="533088" y="237871"/>
                  </a:lnTo>
                  <a:lnTo>
                    <a:pt x="538583" y="233373"/>
                  </a:lnTo>
                  <a:lnTo>
                    <a:pt x="538583" y="228388"/>
                  </a:lnTo>
                  <a:lnTo>
                    <a:pt x="553618" y="233373"/>
                  </a:lnTo>
                  <a:lnTo>
                    <a:pt x="573149" y="228388"/>
                  </a:lnTo>
                  <a:lnTo>
                    <a:pt x="582690" y="228388"/>
                  </a:lnTo>
                  <a:lnTo>
                    <a:pt x="587186" y="233373"/>
                  </a:lnTo>
                  <a:lnTo>
                    <a:pt x="606717" y="223342"/>
                  </a:lnTo>
                  <a:lnTo>
                    <a:pt x="626798" y="223342"/>
                  </a:lnTo>
                  <a:lnTo>
                    <a:pt x="631294" y="223342"/>
                  </a:lnTo>
                  <a:lnTo>
                    <a:pt x="621753" y="204376"/>
                  </a:lnTo>
                  <a:lnTo>
                    <a:pt x="626798" y="204376"/>
                  </a:lnTo>
                  <a:lnTo>
                    <a:pt x="626798" y="198905"/>
                  </a:lnTo>
                  <a:lnTo>
                    <a:pt x="636788" y="194406"/>
                  </a:lnTo>
                  <a:lnTo>
                    <a:pt x="650825" y="189361"/>
                  </a:lnTo>
                  <a:lnTo>
                    <a:pt x="650825" y="194406"/>
                  </a:lnTo>
                  <a:lnTo>
                    <a:pt x="670356" y="198905"/>
                  </a:lnTo>
                  <a:lnTo>
                    <a:pt x="679897" y="194406"/>
                  </a:lnTo>
                  <a:lnTo>
                    <a:pt x="689887" y="198905"/>
                  </a:lnTo>
                  <a:lnTo>
                    <a:pt x="714464" y="204376"/>
                  </a:lnTo>
                  <a:lnTo>
                    <a:pt x="719958" y="208874"/>
                  </a:lnTo>
                  <a:lnTo>
                    <a:pt x="719958" y="213859"/>
                  </a:lnTo>
                  <a:lnTo>
                    <a:pt x="714464" y="213859"/>
                  </a:lnTo>
                  <a:lnTo>
                    <a:pt x="714464" y="223342"/>
                  </a:lnTo>
                  <a:lnTo>
                    <a:pt x="719958" y="228388"/>
                  </a:lnTo>
                  <a:lnTo>
                    <a:pt x="733995" y="223342"/>
                  </a:lnTo>
                  <a:lnTo>
                    <a:pt x="738990" y="228388"/>
                  </a:lnTo>
                  <a:lnTo>
                    <a:pt x="738990" y="237871"/>
                  </a:lnTo>
                  <a:lnTo>
                    <a:pt x="729499" y="252826"/>
                  </a:lnTo>
                  <a:lnTo>
                    <a:pt x="738990" y="257324"/>
                  </a:lnTo>
                  <a:lnTo>
                    <a:pt x="743536" y="247354"/>
                  </a:lnTo>
                  <a:lnTo>
                    <a:pt x="758571" y="247354"/>
                  </a:lnTo>
                  <a:lnTo>
                    <a:pt x="764066" y="262370"/>
                  </a:lnTo>
                  <a:lnTo>
                    <a:pt x="768562" y="272339"/>
                  </a:lnTo>
                  <a:lnTo>
                    <a:pt x="778103" y="276838"/>
                  </a:lnTo>
                  <a:lnTo>
                    <a:pt x="783597" y="296351"/>
                  </a:lnTo>
                  <a:lnTo>
                    <a:pt x="788093" y="296351"/>
                  </a:lnTo>
                  <a:lnTo>
                    <a:pt x="788093" y="301336"/>
                  </a:lnTo>
                  <a:lnTo>
                    <a:pt x="793138" y="301336"/>
                  </a:lnTo>
                  <a:lnTo>
                    <a:pt x="788093" y="311305"/>
                  </a:lnTo>
                  <a:lnTo>
                    <a:pt x="778103" y="315804"/>
                  </a:lnTo>
                  <a:lnTo>
                    <a:pt x="773557" y="320789"/>
                  </a:lnTo>
                  <a:lnTo>
                    <a:pt x="764066" y="325287"/>
                  </a:lnTo>
                  <a:lnTo>
                    <a:pt x="768562" y="330333"/>
                  </a:lnTo>
                  <a:lnTo>
                    <a:pt x="773557" y="330333"/>
                  </a:lnTo>
                  <a:lnTo>
                    <a:pt x="778103" y="335318"/>
                  </a:lnTo>
                  <a:lnTo>
                    <a:pt x="783597" y="349786"/>
                  </a:lnTo>
                  <a:lnTo>
                    <a:pt x="783597" y="359816"/>
                  </a:lnTo>
                  <a:lnTo>
                    <a:pt x="778103" y="364314"/>
                  </a:lnTo>
                  <a:lnTo>
                    <a:pt x="783597" y="369299"/>
                  </a:lnTo>
                  <a:lnTo>
                    <a:pt x="797634" y="369299"/>
                  </a:lnTo>
                  <a:lnTo>
                    <a:pt x="797634" y="364314"/>
                  </a:lnTo>
                  <a:lnTo>
                    <a:pt x="807674" y="359816"/>
                  </a:lnTo>
                  <a:lnTo>
                    <a:pt x="807674" y="369299"/>
                  </a:lnTo>
                  <a:lnTo>
                    <a:pt x="817165" y="369299"/>
                  </a:lnTo>
                  <a:lnTo>
                    <a:pt x="817165" y="373798"/>
                  </a:lnTo>
                  <a:lnTo>
                    <a:pt x="812669" y="379269"/>
                  </a:lnTo>
                  <a:lnTo>
                    <a:pt x="817165" y="383767"/>
                  </a:lnTo>
                  <a:lnTo>
                    <a:pt x="841741" y="388752"/>
                  </a:lnTo>
                  <a:lnTo>
                    <a:pt x="851732" y="388752"/>
                  </a:lnTo>
                  <a:lnTo>
                    <a:pt x="856727" y="373798"/>
                  </a:lnTo>
                  <a:lnTo>
                    <a:pt x="861273" y="373798"/>
                  </a:lnTo>
                  <a:lnTo>
                    <a:pt x="861273" y="388752"/>
                  </a:lnTo>
                  <a:lnTo>
                    <a:pt x="866767" y="388752"/>
                  </a:lnTo>
                  <a:lnTo>
                    <a:pt x="866767" y="393250"/>
                  </a:lnTo>
                  <a:lnTo>
                    <a:pt x="876308" y="398782"/>
                  </a:lnTo>
                  <a:lnTo>
                    <a:pt x="885799" y="408265"/>
                  </a:lnTo>
                  <a:lnTo>
                    <a:pt x="890295" y="408265"/>
                  </a:lnTo>
                  <a:lnTo>
                    <a:pt x="895839" y="408265"/>
                  </a:lnTo>
                  <a:lnTo>
                    <a:pt x="890295" y="418235"/>
                  </a:lnTo>
                  <a:lnTo>
                    <a:pt x="890295" y="427779"/>
                  </a:lnTo>
                  <a:lnTo>
                    <a:pt x="895839" y="427779"/>
                  </a:lnTo>
                  <a:lnTo>
                    <a:pt x="905330" y="427779"/>
                  </a:lnTo>
                  <a:lnTo>
                    <a:pt x="910875" y="412764"/>
                  </a:lnTo>
                  <a:lnTo>
                    <a:pt x="924911" y="408265"/>
                  </a:lnTo>
                  <a:lnTo>
                    <a:pt x="924911" y="418235"/>
                  </a:lnTo>
                  <a:lnTo>
                    <a:pt x="930406" y="418235"/>
                  </a:lnTo>
                  <a:lnTo>
                    <a:pt x="934902" y="412764"/>
                  </a:lnTo>
                  <a:lnTo>
                    <a:pt x="939303" y="412764"/>
                  </a:lnTo>
                  <a:lnTo>
                    <a:pt x="939117" y="412537"/>
                  </a:lnTo>
                  <a:lnTo>
                    <a:pt x="933627" y="412537"/>
                  </a:lnTo>
                  <a:lnTo>
                    <a:pt x="933627" y="403041"/>
                  </a:lnTo>
                  <a:lnTo>
                    <a:pt x="943641" y="388528"/>
                  </a:lnTo>
                  <a:lnTo>
                    <a:pt x="943641" y="383511"/>
                  </a:lnTo>
                  <a:lnTo>
                    <a:pt x="948647" y="374015"/>
                  </a:lnTo>
                  <a:lnTo>
                    <a:pt x="953171" y="374015"/>
                  </a:lnTo>
                  <a:lnTo>
                    <a:pt x="958661" y="374015"/>
                  </a:lnTo>
                  <a:lnTo>
                    <a:pt x="972714" y="364031"/>
                  </a:lnTo>
                  <a:lnTo>
                    <a:pt x="983245" y="369047"/>
                  </a:lnTo>
                  <a:lnTo>
                    <a:pt x="987734" y="369047"/>
                  </a:lnTo>
                  <a:lnTo>
                    <a:pt x="992741" y="374015"/>
                  </a:lnTo>
                  <a:lnTo>
                    <a:pt x="1002788" y="354534"/>
                  </a:lnTo>
                  <a:lnTo>
                    <a:pt x="1007277" y="354534"/>
                  </a:lnTo>
                  <a:lnTo>
                    <a:pt x="1016807" y="369047"/>
                  </a:lnTo>
                  <a:lnTo>
                    <a:pt x="1022332" y="369047"/>
                  </a:lnTo>
                  <a:lnTo>
                    <a:pt x="1036350" y="369047"/>
                  </a:lnTo>
                  <a:lnTo>
                    <a:pt x="1041875" y="364031"/>
                  </a:lnTo>
                  <a:lnTo>
                    <a:pt x="1051405" y="359501"/>
                  </a:lnTo>
                  <a:lnTo>
                    <a:pt x="1046364" y="350005"/>
                  </a:lnTo>
                  <a:lnTo>
                    <a:pt x="1051405" y="340021"/>
                  </a:lnTo>
                  <a:lnTo>
                    <a:pt x="1051405" y="335005"/>
                  </a:lnTo>
                  <a:lnTo>
                    <a:pt x="1056411" y="330524"/>
                  </a:lnTo>
                  <a:lnTo>
                    <a:pt x="1056411" y="320540"/>
                  </a:lnTo>
                  <a:lnTo>
                    <a:pt x="1046364" y="320540"/>
                  </a:lnTo>
                  <a:lnTo>
                    <a:pt x="1046364" y="315524"/>
                  </a:lnTo>
                  <a:lnTo>
                    <a:pt x="1046364" y="311044"/>
                  </a:lnTo>
                  <a:lnTo>
                    <a:pt x="1046364" y="291514"/>
                  </a:lnTo>
                  <a:lnTo>
                    <a:pt x="1051405" y="291514"/>
                  </a:lnTo>
                  <a:lnTo>
                    <a:pt x="1056411" y="291514"/>
                  </a:lnTo>
                  <a:lnTo>
                    <a:pt x="1060900" y="291514"/>
                  </a:lnTo>
                  <a:lnTo>
                    <a:pt x="1070948" y="286011"/>
                  </a:lnTo>
                  <a:lnTo>
                    <a:pt x="1066425" y="276514"/>
                  </a:lnTo>
                  <a:lnTo>
                    <a:pt x="1070948" y="272034"/>
                  </a:lnTo>
                  <a:lnTo>
                    <a:pt x="1075955" y="267017"/>
                  </a:lnTo>
                  <a:lnTo>
                    <a:pt x="1085968" y="272034"/>
                  </a:lnTo>
                  <a:lnTo>
                    <a:pt x="1090491" y="272034"/>
                  </a:lnTo>
                  <a:lnTo>
                    <a:pt x="1099987" y="272034"/>
                  </a:lnTo>
                  <a:lnTo>
                    <a:pt x="1095498" y="267017"/>
                  </a:lnTo>
                  <a:lnTo>
                    <a:pt x="1095498" y="257034"/>
                  </a:lnTo>
                  <a:lnTo>
                    <a:pt x="1099987" y="252504"/>
                  </a:lnTo>
                  <a:lnTo>
                    <a:pt x="1099987" y="247537"/>
                  </a:lnTo>
                  <a:lnTo>
                    <a:pt x="1105511" y="247537"/>
                  </a:lnTo>
                  <a:lnTo>
                    <a:pt x="1105511" y="243008"/>
                  </a:lnTo>
                  <a:lnTo>
                    <a:pt x="1119530" y="243008"/>
                  </a:lnTo>
                  <a:lnTo>
                    <a:pt x="1119530" y="237504"/>
                  </a:lnTo>
                  <a:lnTo>
                    <a:pt x="1119530" y="228008"/>
                  </a:lnTo>
                  <a:lnTo>
                    <a:pt x="1124571" y="218024"/>
                  </a:lnTo>
                  <a:lnTo>
                    <a:pt x="1130061" y="218024"/>
                  </a:lnTo>
                  <a:lnTo>
                    <a:pt x="1130061" y="203998"/>
                  </a:lnTo>
                  <a:lnTo>
                    <a:pt x="1134584" y="198494"/>
                  </a:lnTo>
                  <a:lnTo>
                    <a:pt x="1139591" y="198494"/>
                  </a:lnTo>
                  <a:lnTo>
                    <a:pt x="1144114" y="208527"/>
                  </a:lnTo>
                  <a:lnTo>
                    <a:pt x="1134584" y="218024"/>
                  </a:lnTo>
                  <a:lnTo>
                    <a:pt x="1134584" y="223527"/>
                  </a:lnTo>
                  <a:lnTo>
                    <a:pt x="1139591" y="223527"/>
                  </a:lnTo>
                  <a:lnTo>
                    <a:pt x="1149604" y="218024"/>
                  </a:lnTo>
                  <a:lnTo>
                    <a:pt x="1149604" y="213495"/>
                  </a:lnTo>
                  <a:lnTo>
                    <a:pt x="1159134" y="213495"/>
                  </a:lnTo>
                  <a:lnTo>
                    <a:pt x="1169148" y="198494"/>
                  </a:lnTo>
                  <a:lnTo>
                    <a:pt x="1163658" y="194014"/>
                  </a:lnTo>
                  <a:lnTo>
                    <a:pt x="1183201" y="179014"/>
                  </a:lnTo>
                  <a:lnTo>
                    <a:pt x="1188208" y="179014"/>
                  </a:lnTo>
                  <a:lnTo>
                    <a:pt x="1198221" y="179014"/>
                  </a:lnTo>
                  <a:lnTo>
                    <a:pt x="1207751" y="169517"/>
                  </a:lnTo>
                  <a:lnTo>
                    <a:pt x="1217764" y="179014"/>
                  </a:lnTo>
                  <a:lnTo>
                    <a:pt x="1217764" y="188998"/>
                  </a:lnTo>
                  <a:lnTo>
                    <a:pt x="1217764" y="198494"/>
                  </a:lnTo>
                  <a:lnTo>
                    <a:pt x="1217764" y="203998"/>
                  </a:lnTo>
                  <a:lnTo>
                    <a:pt x="1217764" y="208527"/>
                  </a:lnTo>
                  <a:lnTo>
                    <a:pt x="1227294" y="208527"/>
                  </a:lnTo>
                  <a:lnTo>
                    <a:pt x="1237307" y="213495"/>
                  </a:lnTo>
                  <a:lnTo>
                    <a:pt x="1237307" y="223527"/>
                  </a:lnTo>
                  <a:lnTo>
                    <a:pt x="1242314" y="218024"/>
                  </a:lnTo>
                  <a:lnTo>
                    <a:pt x="1246837" y="218024"/>
                  </a:lnTo>
                  <a:lnTo>
                    <a:pt x="1252362" y="213495"/>
                  </a:lnTo>
                  <a:lnTo>
                    <a:pt x="1256851" y="213495"/>
                  </a:lnTo>
                  <a:lnTo>
                    <a:pt x="1261857" y="208527"/>
                  </a:lnTo>
                  <a:lnTo>
                    <a:pt x="1271387" y="203998"/>
                  </a:lnTo>
                  <a:lnTo>
                    <a:pt x="1271387" y="208527"/>
                  </a:lnTo>
                  <a:lnTo>
                    <a:pt x="1296455" y="203998"/>
                  </a:lnTo>
                  <a:lnTo>
                    <a:pt x="1310474" y="203998"/>
                  </a:lnTo>
                  <a:lnTo>
                    <a:pt x="1310474" y="208527"/>
                  </a:lnTo>
                  <a:lnTo>
                    <a:pt x="1320487" y="208527"/>
                  </a:lnTo>
                  <a:lnTo>
                    <a:pt x="1335024" y="237504"/>
                  </a:lnTo>
                  <a:lnTo>
                    <a:pt x="1360091" y="228008"/>
                  </a:lnTo>
                  <a:lnTo>
                    <a:pt x="1364615" y="218024"/>
                  </a:lnTo>
                  <a:lnTo>
                    <a:pt x="1369621" y="213495"/>
                  </a:lnTo>
                  <a:lnTo>
                    <a:pt x="1379635" y="203998"/>
                  </a:lnTo>
                  <a:lnTo>
                    <a:pt x="1384158" y="208527"/>
                  </a:lnTo>
                  <a:lnTo>
                    <a:pt x="1393653" y="218024"/>
                  </a:lnTo>
                  <a:lnTo>
                    <a:pt x="1399178" y="228008"/>
                  </a:lnTo>
                  <a:lnTo>
                    <a:pt x="1413197" y="233024"/>
                  </a:lnTo>
                  <a:lnTo>
                    <a:pt x="1413197" y="237504"/>
                  </a:lnTo>
                  <a:lnTo>
                    <a:pt x="1423728" y="237504"/>
                  </a:lnTo>
                  <a:lnTo>
                    <a:pt x="1423728" y="243008"/>
                  </a:lnTo>
                  <a:lnTo>
                    <a:pt x="1433258" y="247537"/>
                  </a:lnTo>
                  <a:lnTo>
                    <a:pt x="1452801" y="252504"/>
                  </a:lnTo>
                  <a:lnTo>
                    <a:pt x="1452801" y="267017"/>
                  </a:lnTo>
                  <a:lnTo>
                    <a:pt x="1457324" y="267017"/>
                  </a:lnTo>
                  <a:lnTo>
                    <a:pt x="1467338" y="272034"/>
                  </a:lnTo>
                  <a:lnTo>
                    <a:pt x="1472344" y="267017"/>
                  </a:lnTo>
                  <a:lnTo>
                    <a:pt x="1481874" y="291514"/>
                  </a:lnTo>
                  <a:lnTo>
                    <a:pt x="1491887" y="291514"/>
                  </a:lnTo>
                  <a:lnTo>
                    <a:pt x="1496894" y="291514"/>
                  </a:lnTo>
                  <a:lnTo>
                    <a:pt x="1501417" y="291514"/>
                  </a:lnTo>
                  <a:lnTo>
                    <a:pt x="1506942" y="296043"/>
                  </a:lnTo>
                  <a:lnTo>
                    <a:pt x="1511431" y="296043"/>
                  </a:lnTo>
                  <a:lnTo>
                    <a:pt x="1530974" y="305540"/>
                  </a:lnTo>
                  <a:lnTo>
                    <a:pt x="1540504" y="311044"/>
                  </a:lnTo>
                  <a:lnTo>
                    <a:pt x="1540504" y="315524"/>
                  </a:lnTo>
                  <a:lnTo>
                    <a:pt x="1545510" y="315524"/>
                  </a:lnTo>
                  <a:lnTo>
                    <a:pt x="1545510" y="320540"/>
                  </a:lnTo>
                  <a:lnTo>
                    <a:pt x="1545510" y="330524"/>
                  </a:lnTo>
                  <a:lnTo>
                    <a:pt x="1545510" y="335005"/>
                  </a:lnTo>
                  <a:lnTo>
                    <a:pt x="1550517" y="335005"/>
                  </a:lnTo>
                  <a:lnTo>
                    <a:pt x="1550517" y="340021"/>
                  </a:lnTo>
                  <a:lnTo>
                    <a:pt x="1550517" y="344501"/>
                  </a:lnTo>
                  <a:lnTo>
                    <a:pt x="1550517" y="350005"/>
                  </a:lnTo>
                  <a:lnTo>
                    <a:pt x="1550517" y="359501"/>
                  </a:lnTo>
                  <a:lnTo>
                    <a:pt x="1545510" y="359501"/>
                  </a:lnTo>
                  <a:lnTo>
                    <a:pt x="1540504" y="364031"/>
                  </a:lnTo>
                  <a:lnTo>
                    <a:pt x="1540504" y="369047"/>
                  </a:lnTo>
                  <a:lnTo>
                    <a:pt x="1540504" y="374015"/>
                  </a:lnTo>
                  <a:lnTo>
                    <a:pt x="1540504" y="383511"/>
                  </a:lnTo>
                  <a:lnTo>
                    <a:pt x="1540504" y="388528"/>
                  </a:lnTo>
                  <a:lnTo>
                    <a:pt x="1545510" y="388528"/>
                  </a:lnTo>
                  <a:lnTo>
                    <a:pt x="1550517" y="388528"/>
                  </a:lnTo>
                  <a:lnTo>
                    <a:pt x="1565054" y="383511"/>
                  </a:lnTo>
                  <a:lnTo>
                    <a:pt x="1570578" y="383511"/>
                  </a:lnTo>
                  <a:lnTo>
                    <a:pt x="1570578" y="388528"/>
                  </a:lnTo>
                  <a:lnTo>
                    <a:pt x="1570578" y="393008"/>
                  </a:lnTo>
                  <a:lnTo>
                    <a:pt x="1575067" y="398511"/>
                  </a:lnTo>
                  <a:lnTo>
                    <a:pt x="1580108" y="403041"/>
                  </a:lnTo>
                  <a:lnTo>
                    <a:pt x="1580108" y="408008"/>
                  </a:lnTo>
                  <a:lnTo>
                    <a:pt x="1584597" y="412537"/>
                  </a:lnTo>
                  <a:lnTo>
                    <a:pt x="1590122" y="412537"/>
                  </a:lnTo>
                  <a:lnTo>
                    <a:pt x="1590122" y="418041"/>
                  </a:lnTo>
                  <a:lnTo>
                    <a:pt x="1594610" y="422521"/>
                  </a:lnTo>
                  <a:lnTo>
                    <a:pt x="1594610" y="437521"/>
                  </a:lnTo>
                  <a:lnTo>
                    <a:pt x="1580108" y="442002"/>
                  </a:lnTo>
                  <a:lnTo>
                    <a:pt x="1570578" y="447018"/>
                  </a:lnTo>
                  <a:lnTo>
                    <a:pt x="1555524" y="442002"/>
                  </a:lnTo>
                  <a:lnTo>
                    <a:pt x="1550517" y="437521"/>
                  </a:lnTo>
                  <a:lnTo>
                    <a:pt x="1535981" y="442002"/>
                  </a:lnTo>
                  <a:lnTo>
                    <a:pt x="1535981" y="457002"/>
                  </a:lnTo>
                  <a:lnTo>
                    <a:pt x="1540504" y="457002"/>
                  </a:lnTo>
                  <a:lnTo>
                    <a:pt x="1545510" y="461531"/>
                  </a:lnTo>
                  <a:lnTo>
                    <a:pt x="1545510" y="466547"/>
                  </a:lnTo>
                  <a:lnTo>
                    <a:pt x="1535981" y="471028"/>
                  </a:lnTo>
                  <a:lnTo>
                    <a:pt x="1530974" y="476044"/>
                  </a:lnTo>
                  <a:lnTo>
                    <a:pt x="1520961" y="476044"/>
                  </a:lnTo>
                  <a:lnTo>
                    <a:pt x="1520961" y="490508"/>
                  </a:lnTo>
                  <a:lnTo>
                    <a:pt x="1516437" y="495525"/>
                  </a:lnTo>
                  <a:lnTo>
                    <a:pt x="1511431" y="500005"/>
                  </a:lnTo>
                  <a:lnTo>
                    <a:pt x="1511431" y="505508"/>
                  </a:lnTo>
                  <a:lnTo>
                    <a:pt x="1506942" y="510038"/>
                  </a:lnTo>
                  <a:lnTo>
                    <a:pt x="1501417" y="515005"/>
                  </a:lnTo>
                  <a:lnTo>
                    <a:pt x="1501417" y="525038"/>
                  </a:lnTo>
                  <a:lnTo>
                    <a:pt x="1511431" y="519534"/>
                  </a:lnTo>
                  <a:lnTo>
                    <a:pt x="1520961" y="519534"/>
                  </a:lnTo>
                  <a:lnTo>
                    <a:pt x="1545510" y="515005"/>
                  </a:lnTo>
                  <a:lnTo>
                    <a:pt x="1550517" y="510038"/>
                  </a:lnTo>
                  <a:lnTo>
                    <a:pt x="1560047" y="515005"/>
                  </a:lnTo>
                  <a:lnTo>
                    <a:pt x="1570578" y="525038"/>
                  </a:lnTo>
                  <a:lnTo>
                    <a:pt x="1565054" y="529518"/>
                  </a:lnTo>
                  <a:lnTo>
                    <a:pt x="1565054" y="534535"/>
                  </a:lnTo>
                  <a:lnTo>
                    <a:pt x="1555524" y="534535"/>
                  </a:lnTo>
                  <a:lnTo>
                    <a:pt x="1550517" y="549048"/>
                  </a:lnTo>
                  <a:lnTo>
                    <a:pt x="1530974" y="558544"/>
                  </a:lnTo>
                  <a:lnTo>
                    <a:pt x="1535981" y="578025"/>
                  </a:lnTo>
                  <a:lnTo>
                    <a:pt x="1530974" y="578025"/>
                  </a:lnTo>
                  <a:lnTo>
                    <a:pt x="1511431" y="602522"/>
                  </a:lnTo>
                  <a:lnTo>
                    <a:pt x="1501417" y="617035"/>
                  </a:lnTo>
                  <a:lnTo>
                    <a:pt x="1496894" y="622051"/>
                  </a:lnTo>
                  <a:lnTo>
                    <a:pt x="1496894" y="626532"/>
                  </a:lnTo>
                  <a:lnTo>
                    <a:pt x="1491887" y="636515"/>
                  </a:lnTo>
                  <a:lnTo>
                    <a:pt x="1486881" y="641532"/>
                  </a:lnTo>
                  <a:lnTo>
                    <a:pt x="1462814" y="656045"/>
                  </a:lnTo>
                  <a:lnTo>
                    <a:pt x="1462814" y="671045"/>
                  </a:lnTo>
                  <a:lnTo>
                    <a:pt x="1457324" y="671045"/>
                  </a:lnTo>
                  <a:lnTo>
                    <a:pt x="1452801" y="671045"/>
                  </a:lnTo>
                  <a:lnTo>
                    <a:pt x="1443271" y="680541"/>
                  </a:lnTo>
                  <a:lnTo>
                    <a:pt x="1443271" y="685022"/>
                  </a:lnTo>
                  <a:lnTo>
                    <a:pt x="1452801" y="690038"/>
                  </a:lnTo>
                  <a:lnTo>
                    <a:pt x="1443271" y="700022"/>
                  </a:lnTo>
                  <a:lnTo>
                    <a:pt x="1437781" y="700022"/>
                  </a:lnTo>
                  <a:lnTo>
                    <a:pt x="1428251" y="709519"/>
                  </a:lnTo>
                  <a:lnTo>
                    <a:pt x="1423728" y="719551"/>
                  </a:lnTo>
                  <a:lnTo>
                    <a:pt x="1418238" y="724032"/>
                  </a:lnTo>
                  <a:lnTo>
                    <a:pt x="1408708" y="724032"/>
                  </a:lnTo>
                  <a:lnTo>
                    <a:pt x="1403701" y="729048"/>
                  </a:lnTo>
                  <a:lnTo>
                    <a:pt x="1374110" y="743512"/>
                  </a:lnTo>
                  <a:lnTo>
                    <a:pt x="1369621" y="739032"/>
                  </a:lnTo>
                  <a:lnTo>
                    <a:pt x="1364615" y="743512"/>
                  </a:lnTo>
                  <a:lnTo>
                    <a:pt x="1360091" y="748529"/>
                  </a:lnTo>
                  <a:lnTo>
                    <a:pt x="1354567" y="758512"/>
                  </a:lnTo>
                  <a:lnTo>
                    <a:pt x="1350078" y="758512"/>
                  </a:lnTo>
                  <a:lnTo>
                    <a:pt x="1350078" y="763042"/>
                  </a:lnTo>
                  <a:lnTo>
                    <a:pt x="1354567" y="772539"/>
                  </a:lnTo>
                  <a:lnTo>
                    <a:pt x="1360091" y="778042"/>
                  </a:lnTo>
                  <a:lnTo>
                    <a:pt x="1360091" y="782522"/>
                  </a:lnTo>
                  <a:lnTo>
                    <a:pt x="1360091" y="797035"/>
                  </a:lnTo>
                  <a:lnTo>
                    <a:pt x="1354567" y="826548"/>
                  </a:lnTo>
                  <a:lnTo>
                    <a:pt x="1354567" y="836045"/>
                  </a:lnTo>
                  <a:lnTo>
                    <a:pt x="1360091" y="836045"/>
                  </a:lnTo>
                  <a:lnTo>
                    <a:pt x="1354567" y="855526"/>
                  </a:lnTo>
                  <a:lnTo>
                    <a:pt x="1340030" y="865558"/>
                  </a:lnTo>
                  <a:lnTo>
                    <a:pt x="1325528" y="875055"/>
                  </a:lnTo>
                  <a:lnTo>
                    <a:pt x="1325528" y="879536"/>
                  </a:lnTo>
                  <a:lnTo>
                    <a:pt x="1315998" y="885039"/>
                  </a:lnTo>
                  <a:lnTo>
                    <a:pt x="1305985" y="889519"/>
                  </a:lnTo>
                  <a:lnTo>
                    <a:pt x="1296455" y="899016"/>
                  </a:lnTo>
                  <a:lnTo>
                    <a:pt x="1286442" y="904032"/>
                  </a:lnTo>
                  <a:lnTo>
                    <a:pt x="1271387" y="923562"/>
                  </a:lnTo>
                  <a:lnTo>
                    <a:pt x="1266380" y="928042"/>
                  </a:lnTo>
                  <a:lnTo>
                    <a:pt x="1256851" y="938026"/>
                  </a:lnTo>
                  <a:lnTo>
                    <a:pt x="1237307" y="962523"/>
                  </a:lnTo>
                  <a:lnTo>
                    <a:pt x="1246837" y="972555"/>
                  </a:lnTo>
                  <a:lnTo>
                    <a:pt x="1256851" y="977036"/>
                  </a:lnTo>
                  <a:lnTo>
                    <a:pt x="1242314" y="992036"/>
                  </a:lnTo>
                  <a:lnTo>
                    <a:pt x="1232819" y="1016046"/>
                  </a:lnTo>
                  <a:lnTo>
                    <a:pt x="1227294" y="1021062"/>
                  </a:lnTo>
                  <a:lnTo>
                    <a:pt x="1227294" y="1030559"/>
                  </a:lnTo>
                  <a:lnTo>
                    <a:pt x="1227294" y="1035039"/>
                  </a:lnTo>
                  <a:lnTo>
                    <a:pt x="1222771" y="1045023"/>
                  </a:lnTo>
                  <a:lnTo>
                    <a:pt x="1222771" y="1050039"/>
                  </a:lnTo>
                  <a:lnTo>
                    <a:pt x="1217764" y="1054520"/>
                  </a:lnTo>
                  <a:lnTo>
                    <a:pt x="1213241" y="1060023"/>
                  </a:lnTo>
                  <a:lnTo>
                    <a:pt x="1203227" y="1074049"/>
                  </a:lnTo>
                  <a:lnTo>
                    <a:pt x="1198221" y="1074049"/>
                  </a:lnTo>
                  <a:lnTo>
                    <a:pt x="1193214" y="1089049"/>
                  </a:lnTo>
                  <a:lnTo>
                    <a:pt x="1178678" y="1108530"/>
                  </a:lnTo>
                  <a:lnTo>
                    <a:pt x="1173671" y="1108530"/>
                  </a:lnTo>
                  <a:lnTo>
                    <a:pt x="1163658" y="1122556"/>
                  </a:lnTo>
                  <a:lnTo>
                    <a:pt x="1154128" y="1132540"/>
                  </a:lnTo>
                  <a:lnTo>
                    <a:pt x="1149604" y="1132540"/>
                  </a:lnTo>
                  <a:lnTo>
                    <a:pt x="1144114" y="1137556"/>
                  </a:lnTo>
                  <a:lnTo>
                    <a:pt x="1134584" y="1137556"/>
                  </a:lnTo>
                  <a:lnTo>
                    <a:pt x="1115041" y="1137556"/>
                  </a:lnTo>
                  <a:lnTo>
                    <a:pt x="1105511" y="1137556"/>
                  </a:lnTo>
                  <a:lnTo>
                    <a:pt x="1099987" y="1137556"/>
                  </a:lnTo>
                  <a:lnTo>
                    <a:pt x="1095498" y="1128059"/>
                  </a:lnTo>
                  <a:lnTo>
                    <a:pt x="1095498" y="1113059"/>
                  </a:lnTo>
                  <a:lnTo>
                    <a:pt x="1080443" y="1113059"/>
                  </a:lnTo>
                  <a:lnTo>
                    <a:pt x="1080443" y="1108530"/>
                  </a:lnTo>
                  <a:lnTo>
                    <a:pt x="1075955" y="1108530"/>
                  </a:lnTo>
                  <a:lnTo>
                    <a:pt x="1066425" y="1108530"/>
                  </a:lnTo>
                  <a:lnTo>
                    <a:pt x="1066425" y="1103562"/>
                  </a:lnTo>
                  <a:lnTo>
                    <a:pt x="1066425" y="1099033"/>
                  </a:lnTo>
                  <a:lnTo>
                    <a:pt x="1060900" y="1099033"/>
                  </a:lnTo>
                  <a:lnTo>
                    <a:pt x="1060900" y="1103562"/>
                  </a:lnTo>
                  <a:lnTo>
                    <a:pt x="1056411" y="1103562"/>
                  </a:lnTo>
                  <a:lnTo>
                    <a:pt x="1051405" y="1113059"/>
                  </a:lnTo>
                  <a:lnTo>
                    <a:pt x="1051405" y="1118027"/>
                  </a:lnTo>
                  <a:lnTo>
                    <a:pt x="1046364" y="1122556"/>
                  </a:lnTo>
                  <a:lnTo>
                    <a:pt x="1036350" y="1122556"/>
                  </a:lnTo>
                  <a:lnTo>
                    <a:pt x="1036350" y="1128059"/>
                  </a:lnTo>
                  <a:lnTo>
                    <a:pt x="1031862" y="1128059"/>
                  </a:lnTo>
                  <a:lnTo>
                    <a:pt x="1026820" y="1137556"/>
                  </a:lnTo>
                  <a:lnTo>
                    <a:pt x="1016807" y="1143059"/>
                  </a:lnTo>
                  <a:lnTo>
                    <a:pt x="1012284" y="1137556"/>
                  </a:lnTo>
                  <a:lnTo>
                    <a:pt x="1002788" y="1143059"/>
                  </a:lnTo>
                  <a:lnTo>
                    <a:pt x="997264" y="1132540"/>
                  </a:lnTo>
                  <a:lnTo>
                    <a:pt x="997264" y="1128059"/>
                  </a:lnTo>
                  <a:lnTo>
                    <a:pt x="1002788" y="1113059"/>
                  </a:lnTo>
                  <a:lnTo>
                    <a:pt x="997264" y="1108530"/>
                  </a:lnTo>
                  <a:lnTo>
                    <a:pt x="987734" y="1113059"/>
                  </a:lnTo>
                  <a:lnTo>
                    <a:pt x="983245" y="1099033"/>
                  </a:lnTo>
                  <a:lnTo>
                    <a:pt x="977721" y="1099033"/>
                  </a:lnTo>
                  <a:lnTo>
                    <a:pt x="977721" y="1118027"/>
                  </a:lnTo>
                  <a:lnTo>
                    <a:pt x="972714" y="1118027"/>
                  </a:lnTo>
                  <a:lnTo>
                    <a:pt x="972714" y="1113059"/>
                  </a:lnTo>
                  <a:lnTo>
                    <a:pt x="972714" y="1103562"/>
                  </a:lnTo>
                  <a:lnTo>
                    <a:pt x="963184" y="1093530"/>
                  </a:lnTo>
                  <a:lnTo>
                    <a:pt x="963184" y="1089049"/>
                  </a:lnTo>
                  <a:lnTo>
                    <a:pt x="958661" y="1084033"/>
                  </a:lnTo>
                  <a:lnTo>
                    <a:pt x="963184" y="1079552"/>
                  </a:lnTo>
                  <a:lnTo>
                    <a:pt x="958661" y="1074049"/>
                  </a:lnTo>
                  <a:lnTo>
                    <a:pt x="953171" y="1069520"/>
                  </a:lnTo>
                  <a:lnTo>
                    <a:pt x="939117" y="1064552"/>
                  </a:lnTo>
                  <a:lnTo>
                    <a:pt x="933627" y="1064552"/>
                  </a:lnTo>
                  <a:lnTo>
                    <a:pt x="933627" y="1060023"/>
                  </a:lnTo>
                  <a:lnTo>
                    <a:pt x="939117" y="1060023"/>
                  </a:lnTo>
                  <a:lnTo>
                    <a:pt x="939117" y="1054520"/>
                  </a:lnTo>
                  <a:lnTo>
                    <a:pt x="943641" y="1054520"/>
                  </a:lnTo>
                  <a:lnTo>
                    <a:pt x="939117" y="1045023"/>
                  </a:lnTo>
                  <a:lnTo>
                    <a:pt x="939544" y="1044600"/>
                  </a:lnTo>
                  <a:lnTo>
                    <a:pt x="934902" y="1040420"/>
                  </a:lnTo>
                  <a:lnTo>
                    <a:pt x="924911" y="1044919"/>
                  </a:lnTo>
                  <a:lnTo>
                    <a:pt x="915371" y="1040420"/>
                  </a:lnTo>
                  <a:lnTo>
                    <a:pt x="910875" y="1040420"/>
                  </a:lnTo>
                  <a:lnTo>
                    <a:pt x="905330" y="1034888"/>
                  </a:lnTo>
                  <a:lnTo>
                    <a:pt x="900335" y="1034888"/>
                  </a:lnTo>
                  <a:lnTo>
                    <a:pt x="895839" y="1025405"/>
                  </a:lnTo>
                  <a:lnTo>
                    <a:pt x="895839" y="1010937"/>
                  </a:lnTo>
                  <a:lnTo>
                    <a:pt x="880804" y="1005891"/>
                  </a:lnTo>
                  <a:lnTo>
                    <a:pt x="880804" y="1010937"/>
                  </a:lnTo>
                  <a:lnTo>
                    <a:pt x="871263" y="1010937"/>
                  </a:lnTo>
                  <a:lnTo>
                    <a:pt x="871263" y="1015435"/>
                  </a:lnTo>
                  <a:lnTo>
                    <a:pt x="861273" y="1020907"/>
                  </a:lnTo>
                  <a:lnTo>
                    <a:pt x="856727" y="1020907"/>
                  </a:lnTo>
                  <a:lnTo>
                    <a:pt x="847236" y="1025405"/>
                  </a:lnTo>
                  <a:lnTo>
                    <a:pt x="841741" y="1025405"/>
                  </a:lnTo>
                  <a:lnTo>
                    <a:pt x="826706" y="1020907"/>
                  </a:lnTo>
                  <a:lnTo>
                    <a:pt x="822160" y="1015435"/>
                  </a:lnTo>
                  <a:lnTo>
                    <a:pt x="812669" y="1010937"/>
                  </a:lnTo>
                  <a:lnTo>
                    <a:pt x="802629" y="1015435"/>
                  </a:lnTo>
                  <a:lnTo>
                    <a:pt x="797634" y="1015435"/>
                  </a:lnTo>
                  <a:lnTo>
                    <a:pt x="797634" y="1010937"/>
                  </a:lnTo>
                  <a:lnTo>
                    <a:pt x="793138" y="1010937"/>
                  </a:lnTo>
                  <a:lnTo>
                    <a:pt x="793138" y="1015435"/>
                  </a:lnTo>
                  <a:lnTo>
                    <a:pt x="793138" y="1020907"/>
                  </a:lnTo>
                  <a:lnTo>
                    <a:pt x="788093" y="1025405"/>
                  </a:lnTo>
                  <a:lnTo>
                    <a:pt x="788093" y="1030390"/>
                  </a:lnTo>
                  <a:lnTo>
                    <a:pt x="788093" y="1040420"/>
                  </a:lnTo>
                  <a:lnTo>
                    <a:pt x="783597" y="1049903"/>
                  </a:lnTo>
                  <a:lnTo>
                    <a:pt x="778103" y="1049903"/>
                  </a:lnTo>
                  <a:lnTo>
                    <a:pt x="778103" y="1059387"/>
                  </a:lnTo>
                  <a:lnTo>
                    <a:pt x="778103" y="1064371"/>
                  </a:lnTo>
                  <a:lnTo>
                    <a:pt x="778103" y="1073855"/>
                  </a:lnTo>
                  <a:lnTo>
                    <a:pt x="773557" y="1083399"/>
                  </a:lnTo>
                  <a:lnTo>
                    <a:pt x="773557" y="1088870"/>
                  </a:lnTo>
                  <a:lnTo>
                    <a:pt x="768562" y="1093368"/>
                  </a:lnTo>
                  <a:lnTo>
                    <a:pt x="764066" y="1102851"/>
                  </a:lnTo>
                  <a:lnTo>
                    <a:pt x="768562" y="1108383"/>
                  </a:lnTo>
                  <a:lnTo>
                    <a:pt x="768562" y="1117867"/>
                  </a:lnTo>
                  <a:lnTo>
                    <a:pt x="764066" y="1117867"/>
                  </a:lnTo>
                  <a:lnTo>
                    <a:pt x="764066" y="1122365"/>
                  </a:lnTo>
                  <a:lnTo>
                    <a:pt x="758571" y="1132335"/>
                  </a:lnTo>
                  <a:lnTo>
                    <a:pt x="758571" y="1142365"/>
                  </a:lnTo>
                  <a:lnTo>
                    <a:pt x="753526" y="1152334"/>
                  </a:lnTo>
                  <a:lnTo>
                    <a:pt x="753526" y="1156833"/>
                  </a:lnTo>
                  <a:lnTo>
                    <a:pt x="749030" y="1171848"/>
                  </a:lnTo>
                  <a:lnTo>
                    <a:pt x="749030" y="1176347"/>
                  </a:lnTo>
                  <a:lnTo>
                    <a:pt x="749030" y="1181331"/>
                  </a:lnTo>
                  <a:lnTo>
                    <a:pt x="738990" y="1195799"/>
                  </a:lnTo>
                  <a:lnTo>
                    <a:pt x="738990" y="1200784"/>
                  </a:lnTo>
                  <a:lnTo>
                    <a:pt x="733995" y="1200784"/>
                  </a:lnTo>
                  <a:lnTo>
                    <a:pt x="719958" y="1195799"/>
                  </a:lnTo>
                  <a:lnTo>
                    <a:pt x="719958" y="1185830"/>
                  </a:lnTo>
                  <a:lnTo>
                    <a:pt x="724504" y="1181331"/>
                  </a:lnTo>
                  <a:lnTo>
                    <a:pt x="719958" y="1171848"/>
                  </a:lnTo>
                  <a:lnTo>
                    <a:pt x="724504" y="1171848"/>
                  </a:lnTo>
                  <a:lnTo>
                    <a:pt x="724504" y="1166316"/>
                  </a:lnTo>
                  <a:lnTo>
                    <a:pt x="714464" y="1156833"/>
                  </a:lnTo>
                  <a:lnTo>
                    <a:pt x="704923" y="1161818"/>
                  </a:lnTo>
                  <a:lnTo>
                    <a:pt x="704923" y="1152334"/>
                  </a:lnTo>
                  <a:lnTo>
                    <a:pt x="709968" y="1147350"/>
                  </a:lnTo>
                  <a:lnTo>
                    <a:pt x="714464" y="1147350"/>
                  </a:lnTo>
                  <a:lnTo>
                    <a:pt x="709968" y="1142365"/>
                  </a:lnTo>
                  <a:lnTo>
                    <a:pt x="709968" y="1132335"/>
                  </a:lnTo>
                  <a:lnTo>
                    <a:pt x="704923" y="1127836"/>
                  </a:lnTo>
                  <a:lnTo>
                    <a:pt x="700427" y="1127836"/>
                  </a:lnTo>
                  <a:lnTo>
                    <a:pt x="700427" y="1132335"/>
                  </a:lnTo>
                  <a:lnTo>
                    <a:pt x="685392" y="1132335"/>
                  </a:lnTo>
                  <a:lnTo>
                    <a:pt x="685392" y="1137319"/>
                  </a:lnTo>
                  <a:lnTo>
                    <a:pt x="679897" y="1142365"/>
                  </a:lnTo>
                  <a:lnTo>
                    <a:pt x="679897" y="1152334"/>
                  </a:lnTo>
                  <a:lnTo>
                    <a:pt x="665860" y="1152334"/>
                  </a:lnTo>
                  <a:lnTo>
                    <a:pt x="660865" y="1147350"/>
                  </a:lnTo>
                  <a:lnTo>
                    <a:pt x="660865" y="1137319"/>
                  </a:lnTo>
                  <a:lnTo>
                    <a:pt x="655820" y="1137319"/>
                  </a:lnTo>
                  <a:lnTo>
                    <a:pt x="650825" y="1147350"/>
                  </a:lnTo>
                  <a:lnTo>
                    <a:pt x="636788" y="1152334"/>
                  </a:lnTo>
                  <a:lnTo>
                    <a:pt x="631294" y="1142365"/>
                  </a:lnTo>
                  <a:lnTo>
                    <a:pt x="616258" y="1137319"/>
                  </a:lnTo>
                  <a:lnTo>
                    <a:pt x="611762" y="1137319"/>
                  </a:lnTo>
                  <a:lnTo>
                    <a:pt x="606717" y="1132335"/>
                  </a:lnTo>
                  <a:lnTo>
                    <a:pt x="596727" y="1137319"/>
                  </a:lnTo>
                  <a:lnTo>
                    <a:pt x="592231" y="1147350"/>
                  </a:lnTo>
                  <a:lnTo>
                    <a:pt x="592231" y="1152334"/>
                  </a:lnTo>
                  <a:lnTo>
                    <a:pt x="592231" y="1161818"/>
                  </a:lnTo>
                  <a:lnTo>
                    <a:pt x="592231" y="1176347"/>
                  </a:lnTo>
                  <a:lnTo>
                    <a:pt x="587186" y="1176347"/>
                  </a:lnTo>
                  <a:lnTo>
                    <a:pt x="587186" y="1181331"/>
                  </a:lnTo>
                  <a:lnTo>
                    <a:pt x="582690" y="1191301"/>
                  </a:lnTo>
                  <a:lnTo>
                    <a:pt x="587186" y="1195799"/>
                  </a:lnTo>
                  <a:lnTo>
                    <a:pt x="582690" y="1200784"/>
                  </a:lnTo>
                  <a:lnTo>
                    <a:pt x="577695" y="1195799"/>
                  </a:lnTo>
                  <a:lnTo>
                    <a:pt x="567655" y="1195799"/>
                  </a:lnTo>
                  <a:lnTo>
                    <a:pt x="563159" y="1205283"/>
                  </a:lnTo>
                  <a:lnTo>
                    <a:pt x="558164" y="1205283"/>
                  </a:lnTo>
                  <a:lnTo>
                    <a:pt x="553618" y="1215313"/>
                  </a:lnTo>
                  <a:lnTo>
                    <a:pt x="538583" y="1215313"/>
                  </a:lnTo>
                  <a:lnTo>
                    <a:pt x="538583" y="1210814"/>
                  </a:lnTo>
                  <a:lnTo>
                    <a:pt x="543128" y="1200784"/>
                  </a:lnTo>
                  <a:lnTo>
                    <a:pt x="538583" y="1195799"/>
                  </a:lnTo>
                  <a:lnTo>
                    <a:pt x="533088" y="1200784"/>
                  </a:lnTo>
                  <a:lnTo>
                    <a:pt x="528592" y="1205283"/>
                  </a:lnTo>
                  <a:lnTo>
                    <a:pt x="528592" y="1200784"/>
                  </a:lnTo>
                  <a:lnTo>
                    <a:pt x="523547" y="1195799"/>
                  </a:lnTo>
                  <a:lnTo>
                    <a:pt x="514056" y="1195799"/>
                  </a:lnTo>
                  <a:lnTo>
                    <a:pt x="514056" y="1200784"/>
                  </a:lnTo>
                  <a:lnTo>
                    <a:pt x="514056" y="1205283"/>
                  </a:lnTo>
                  <a:lnTo>
                    <a:pt x="499520" y="1205283"/>
                  </a:lnTo>
                  <a:lnTo>
                    <a:pt x="494525" y="1205283"/>
                  </a:lnTo>
                  <a:lnTo>
                    <a:pt x="484485" y="1195799"/>
                  </a:lnTo>
                  <a:lnTo>
                    <a:pt x="474994" y="1200784"/>
                  </a:lnTo>
                  <a:lnTo>
                    <a:pt x="464953" y="1200784"/>
                  </a:lnTo>
                  <a:lnTo>
                    <a:pt x="464953" y="1205283"/>
                  </a:lnTo>
                  <a:lnTo>
                    <a:pt x="455413" y="1210814"/>
                  </a:lnTo>
                  <a:lnTo>
                    <a:pt x="435881" y="1210814"/>
                  </a:lnTo>
                  <a:lnTo>
                    <a:pt x="435881" y="1191301"/>
                  </a:lnTo>
                  <a:lnTo>
                    <a:pt x="430886" y="1191301"/>
                  </a:lnTo>
                  <a:lnTo>
                    <a:pt x="416350" y="1191301"/>
                  </a:lnTo>
                  <a:lnTo>
                    <a:pt x="411355" y="1191301"/>
                  </a:lnTo>
                  <a:lnTo>
                    <a:pt x="401315" y="1185830"/>
                  </a:lnTo>
                  <a:lnTo>
                    <a:pt x="406809" y="1176347"/>
                  </a:lnTo>
                  <a:lnTo>
                    <a:pt x="406809" y="1171848"/>
                  </a:lnTo>
                  <a:lnTo>
                    <a:pt x="406809" y="1161818"/>
                  </a:lnTo>
                  <a:lnTo>
                    <a:pt x="406809" y="1152334"/>
                  </a:lnTo>
                  <a:lnTo>
                    <a:pt x="401315" y="1147350"/>
                  </a:lnTo>
                  <a:lnTo>
                    <a:pt x="420846" y="1137319"/>
                  </a:lnTo>
                  <a:lnTo>
                    <a:pt x="425891" y="1137319"/>
                  </a:lnTo>
                  <a:lnTo>
                    <a:pt x="420846" y="1127836"/>
                  </a:lnTo>
                  <a:lnTo>
                    <a:pt x="435881" y="1127836"/>
                  </a:lnTo>
                  <a:lnTo>
                    <a:pt x="440377" y="1127836"/>
                  </a:lnTo>
                  <a:lnTo>
                    <a:pt x="440377" y="1122365"/>
                  </a:lnTo>
                  <a:lnTo>
                    <a:pt x="435881" y="1122365"/>
                  </a:lnTo>
                  <a:lnTo>
                    <a:pt x="435881" y="1112882"/>
                  </a:lnTo>
                  <a:lnTo>
                    <a:pt x="440377" y="1098353"/>
                  </a:lnTo>
                  <a:lnTo>
                    <a:pt x="435881" y="1098353"/>
                  </a:lnTo>
                  <a:lnTo>
                    <a:pt x="435881" y="1093368"/>
                  </a:lnTo>
                  <a:lnTo>
                    <a:pt x="430886" y="1083399"/>
                  </a:lnTo>
                  <a:lnTo>
                    <a:pt x="435881" y="1073855"/>
                  </a:lnTo>
                  <a:lnTo>
                    <a:pt x="435881" y="1069356"/>
                  </a:lnTo>
                  <a:lnTo>
                    <a:pt x="435881" y="1064371"/>
                  </a:lnTo>
                  <a:lnTo>
                    <a:pt x="440377" y="1059387"/>
                  </a:lnTo>
                  <a:lnTo>
                    <a:pt x="435881" y="1054402"/>
                  </a:lnTo>
                  <a:lnTo>
                    <a:pt x="435881" y="1044919"/>
                  </a:lnTo>
                  <a:lnTo>
                    <a:pt x="425891" y="1040420"/>
                  </a:lnTo>
                  <a:lnTo>
                    <a:pt x="420846" y="1040420"/>
                  </a:lnTo>
                  <a:lnTo>
                    <a:pt x="425891" y="1034888"/>
                  </a:lnTo>
                  <a:lnTo>
                    <a:pt x="406809" y="1030390"/>
                  </a:lnTo>
                  <a:lnTo>
                    <a:pt x="401315" y="1040420"/>
                  </a:lnTo>
                  <a:lnTo>
                    <a:pt x="386279" y="1034888"/>
                  </a:lnTo>
                  <a:lnTo>
                    <a:pt x="386279" y="1025405"/>
                  </a:lnTo>
                  <a:lnTo>
                    <a:pt x="381783" y="1020907"/>
                  </a:lnTo>
                  <a:lnTo>
                    <a:pt x="376788" y="1015435"/>
                  </a:lnTo>
                  <a:lnTo>
                    <a:pt x="367247" y="1020907"/>
                  </a:lnTo>
                  <a:lnTo>
                    <a:pt x="362252" y="1020907"/>
                  </a:lnTo>
                  <a:lnTo>
                    <a:pt x="357207" y="1015435"/>
                  </a:lnTo>
                  <a:lnTo>
                    <a:pt x="352711" y="1010937"/>
                  </a:lnTo>
                  <a:lnTo>
                    <a:pt x="337676" y="1005891"/>
                  </a:lnTo>
                  <a:lnTo>
                    <a:pt x="337676" y="1001393"/>
                  </a:lnTo>
                  <a:lnTo>
                    <a:pt x="337676" y="991423"/>
                  </a:lnTo>
                  <a:lnTo>
                    <a:pt x="337676" y="986439"/>
                  </a:lnTo>
                  <a:lnTo>
                    <a:pt x="337676" y="976408"/>
                  </a:lnTo>
                  <a:lnTo>
                    <a:pt x="333180" y="976408"/>
                  </a:lnTo>
                  <a:lnTo>
                    <a:pt x="328185" y="971910"/>
                  </a:lnTo>
                  <a:lnTo>
                    <a:pt x="333180" y="962427"/>
                  </a:lnTo>
                  <a:lnTo>
                    <a:pt x="328185" y="962427"/>
                  </a:lnTo>
                  <a:lnTo>
                    <a:pt x="328185" y="957442"/>
                  </a:lnTo>
                  <a:lnTo>
                    <a:pt x="328185" y="952457"/>
                  </a:lnTo>
                  <a:lnTo>
                    <a:pt x="322640" y="947472"/>
                  </a:lnTo>
                  <a:lnTo>
                    <a:pt x="322640" y="942974"/>
                  </a:lnTo>
                  <a:lnTo>
                    <a:pt x="313149" y="937989"/>
                  </a:lnTo>
                  <a:lnTo>
                    <a:pt x="313149" y="933491"/>
                  </a:lnTo>
                  <a:lnTo>
                    <a:pt x="308654" y="927959"/>
                  </a:lnTo>
                  <a:lnTo>
                    <a:pt x="303109" y="918476"/>
                  </a:lnTo>
                  <a:lnTo>
                    <a:pt x="298613" y="918476"/>
                  </a:lnTo>
                  <a:lnTo>
                    <a:pt x="298613" y="904008"/>
                  </a:lnTo>
                  <a:lnTo>
                    <a:pt x="293618" y="898962"/>
                  </a:lnTo>
                  <a:lnTo>
                    <a:pt x="298613" y="894463"/>
                  </a:lnTo>
                  <a:lnTo>
                    <a:pt x="293618" y="894463"/>
                  </a:lnTo>
                  <a:lnTo>
                    <a:pt x="289072" y="894463"/>
                  </a:lnTo>
                  <a:lnTo>
                    <a:pt x="279082" y="888992"/>
                  </a:lnTo>
                  <a:lnTo>
                    <a:pt x="279082" y="894463"/>
                  </a:lnTo>
                  <a:lnTo>
                    <a:pt x="284077" y="908506"/>
                  </a:lnTo>
                  <a:lnTo>
                    <a:pt x="279082" y="913977"/>
                  </a:lnTo>
                  <a:lnTo>
                    <a:pt x="264546" y="913977"/>
                  </a:lnTo>
                  <a:lnTo>
                    <a:pt x="269541" y="933491"/>
                  </a:lnTo>
                  <a:lnTo>
                    <a:pt x="264546" y="933491"/>
                  </a:lnTo>
                  <a:lnTo>
                    <a:pt x="260050" y="927959"/>
                  </a:lnTo>
                  <a:lnTo>
                    <a:pt x="249510" y="942974"/>
                  </a:lnTo>
                  <a:lnTo>
                    <a:pt x="245015" y="947472"/>
                  </a:lnTo>
                  <a:lnTo>
                    <a:pt x="234974" y="952457"/>
                  </a:lnTo>
                  <a:lnTo>
                    <a:pt x="225484" y="947472"/>
                  </a:lnTo>
                  <a:lnTo>
                    <a:pt x="229979" y="927959"/>
                  </a:lnTo>
                  <a:lnTo>
                    <a:pt x="220438" y="927959"/>
                  </a:lnTo>
                  <a:lnTo>
                    <a:pt x="220438" y="918476"/>
                  </a:lnTo>
                  <a:lnTo>
                    <a:pt x="205902" y="913977"/>
                  </a:lnTo>
                  <a:lnTo>
                    <a:pt x="190867" y="933491"/>
                  </a:lnTo>
                  <a:lnTo>
                    <a:pt x="175881" y="933491"/>
                  </a:lnTo>
                  <a:lnTo>
                    <a:pt x="171336" y="918476"/>
                  </a:lnTo>
                  <a:lnTo>
                    <a:pt x="166340" y="918476"/>
                  </a:lnTo>
                  <a:lnTo>
                    <a:pt x="161845" y="918476"/>
                  </a:lnTo>
                  <a:lnTo>
                    <a:pt x="161845" y="913977"/>
                  </a:lnTo>
                  <a:lnTo>
                    <a:pt x="156300" y="923460"/>
                  </a:lnTo>
                  <a:lnTo>
                    <a:pt x="146809" y="927959"/>
                  </a:lnTo>
                  <a:lnTo>
                    <a:pt x="137268" y="933491"/>
                  </a:lnTo>
                  <a:lnTo>
                    <a:pt x="137268" y="937989"/>
                  </a:lnTo>
                  <a:lnTo>
                    <a:pt x="127278" y="933491"/>
                  </a:lnTo>
                  <a:lnTo>
                    <a:pt x="113241" y="923460"/>
                  </a:lnTo>
                  <a:lnTo>
                    <a:pt x="113241" y="918476"/>
                  </a:lnTo>
                  <a:lnTo>
                    <a:pt x="107697" y="908506"/>
                  </a:lnTo>
                  <a:lnTo>
                    <a:pt x="98206" y="908506"/>
                  </a:lnTo>
                  <a:lnTo>
                    <a:pt x="92711" y="908506"/>
                  </a:lnTo>
                  <a:lnTo>
                    <a:pt x="73629" y="888992"/>
                  </a:lnTo>
                  <a:lnTo>
                    <a:pt x="68634" y="875011"/>
                  </a:lnTo>
                  <a:lnTo>
                    <a:pt x="73629" y="864980"/>
                  </a:lnTo>
                  <a:lnTo>
                    <a:pt x="78675" y="859996"/>
                  </a:lnTo>
                  <a:lnTo>
                    <a:pt x="78675" y="850512"/>
                  </a:lnTo>
                  <a:lnTo>
                    <a:pt x="83170" y="845528"/>
                  </a:lnTo>
                  <a:lnTo>
                    <a:pt x="83170" y="821029"/>
                  </a:lnTo>
                  <a:lnTo>
                    <a:pt x="78675" y="811546"/>
                  </a:lnTo>
                  <a:lnTo>
                    <a:pt x="83170" y="797017"/>
                  </a:lnTo>
                  <a:lnTo>
                    <a:pt x="88166" y="782063"/>
                  </a:lnTo>
                  <a:lnTo>
                    <a:pt x="83170" y="772580"/>
                  </a:lnTo>
                  <a:lnTo>
                    <a:pt x="83170" y="762549"/>
                  </a:lnTo>
                  <a:lnTo>
                    <a:pt x="88166" y="753066"/>
                  </a:lnTo>
                  <a:lnTo>
                    <a:pt x="88166" y="743583"/>
                  </a:lnTo>
                  <a:lnTo>
                    <a:pt x="83170" y="733552"/>
                  </a:lnTo>
                  <a:lnTo>
                    <a:pt x="78675" y="733552"/>
                  </a:lnTo>
                  <a:lnTo>
                    <a:pt x="68634" y="729054"/>
                  </a:lnTo>
                  <a:lnTo>
                    <a:pt x="63639" y="719571"/>
                  </a:lnTo>
                  <a:lnTo>
                    <a:pt x="68634" y="714100"/>
                  </a:lnTo>
                  <a:lnTo>
                    <a:pt x="68634" y="704616"/>
                  </a:lnTo>
                  <a:lnTo>
                    <a:pt x="68634" y="694586"/>
                  </a:lnTo>
                  <a:lnTo>
                    <a:pt x="68634" y="690088"/>
                  </a:lnTo>
                  <a:lnTo>
                    <a:pt x="63639" y="685103"/>
                  </a:lnTo>
                  <a:lnTo>
                    <a:pt x="63639" y="675133"/>
                  </a:lnTo>
                  <a:lnTo>
                    <a:pt x="59143" y="651121"/>
                  </a:lnTo>
                  <a:lnTo>
                    <a:pt x="54098" y="651121"/>
                  </a:lnTo>
                  <a:lnTo>
                    <a:pt x="49603" y="631608"/>
                  </a:lnTo>
                  <a:lnTo>
                    <a:pt x="49603" y="622125"/>
                  </a:lnTo>
                  <a:lnTo>
                    <a:pt x="49603" y="617140"/>
                  </a:lnTo>
                  <a:lnTo>
                    <a:pt x="44108" y="617140"/>
                  </a:lnTo>
                  <a:lnTo>
                    <a:pt x="44108" y="612641"/>
                  </a:lnTo>
                  <a:lnTo>
                    <a:pt x="29072" y="597626"/>
                  </a:lnTo>
                  <a:lnTo>
                    <a:pt x="24527" y="593188"/>
                  </a:lnTo>
                  <a:lnTo>
                    <a:pt x="19531" y="593188"/>
                  </a:lnTo>
                  <a:lnTo>
                    <a:pt x="15036" y="587657"/>
                  </a:lnTo>
                  <a:lnTo>
                    <a:pt x="9541" y="583158"/>
                  </a:lnTo>
                  <a:lnTo>
                    <a:pt x="9541" y="568143"/>
                  </a:lnTo>
                  <a:lnTo>
                    <a:pt x="15036" y="563705"/>
                  </a:lnTo>
                  <a:lnTo>
                    <a:pt x="24527" y="539207"/>
                  </a:lnTo>
                  <a:lnTo>
                    <a:pt x="29072" y="524678"/>
                  </a:lnTo>
                  <a:lnTo>
                    <a:pt x="29072" y="515195"/>
                  </a:lnTo>
                  <a:lnTo>
                    <a:pt x="24527" y="515195"/>
                  </a:lnTo>
                  <a:lnTo>
                    <a:pt x="24527" y="505712"/>
                  </a:lnTo>
                  <a:lnTo>
                    <a:pt x="19531" y="500241"/>
                  </a:lnTo>
                  <a:lnTo>
                    <a:pt x="15036" y="490697"/>
                  </a:lnTo>
                  <a:lnTo>
                    <a:pt x="15036" y="486198"/>
                  </a:lnTo>
                  <a:lnTo>
                    <a:pt x="9541" y="480727"/>
                  </a:lnTo>
                  <a:lnTo>
                    <a:pt x="4995" y="476229"/>
                  </a:lnTo>
                  <a:lnTo>
                    <a:pt x="0" y="466745"/>
                  </a:lnTo>
                  <a:lnTo>
                    <a:pt x="0" y="461213"/>
                  </a:lnTo>
                  <a:lnTo>
                    <a:pt x="4995" y="461213"/>
                  </a:lnTo>
                  <a:lnTo>
                    <a:pt x="4995" y="466745"/>
                  </a:lnTo>
                  <a:lnTo>
                    <a:pt x="9541" y="466745"/>
                  </a:lnTo>
                  <a:lnTo>
                    <a:pt x="9541" y="461213"/>
                  </a:lnTo>
                  <a:lnTo>
                    <a:pt x="15036" y="461213"/>
                  </a:lnTo>
                  <a:lnTo>
                    <a:pt x="24527" y="456715"/>
                  </a:lnTo>
                  <a:lnTo>
                    <a:pt x="44108" y="456715"/>
                  </a:lnTo>
                  <a:lnTo>
                    <a:pt x="49603" y="451730"/>
                  </a:lnTo>
                  <a:lnTo>
                    <a:pt x="34567" y="432277"/>
                  </a:lnTo>
                  <a:lnTo>
                    <a:pt x="34567" y="422733"/>
                  </a:lnTo>
                  <a:lnTo>
                    <a:pt x="34567" y="418235"/>
                  </a:lnTo>
                  <a:lnTo>
                    <a:pt x="39562" y="408265"/>
                  </a:lnTo>
                  <a:lnTo>
                    <a:pt x="34567" y="403281"/>
                  </a:lnTo>
                  <a:lnTo>
                    <a:pt x="29072" y="403281"/>
                  </a:lnTo>
                  <a:lnTo>
                    <a:pt x="24527" y="398782"/>
                  </a:lnTo>
                  <a:lnTo>
                    <a:pt x="29072" y="393250"/>
                  </a:lnTo>
                  <a:lnTo>
                    <a:pt x="15036" y="383767"/>
                  </a:lnTo>
                  <a:lnTo>
                    <a:pt x="9541" y="379269"/>
                  </a:lnTo>
                  <a:lnTo>
                    <a:pt x="9541" y="369299"/>
                  </a:lnTo>
                  <a:lnTo>
                    <a:pt x="4995" y="369299"/>
                  </a:lnTo>
                  <a:lnTo>
                    <a:pt x="4995" y="373798"/>
                  </a:lnTo>
                  <a:lnTo>
                    <a:pt x="0" y="373798"/>
                  </a:lnTo>
                  <a:lnTo>
                    <a:pt x="0" y="369299"/>
                  </a:lnTo>
                  <a:lnTo>
                    <a:pt x="0" y="349786"/>
                  </a:lnTo>
                  <a:lnTo>
                    <a:pt x="24527" y="344801"/>
                  </a:lnTo>
                  <a:lnTo>
                    <a:pt x="29072" y="344801"/>
                  </a:lnTo>
                  <a:lnTo>
                    <a:pt x="44108" y="335318"/>
                  </a:lnTo>
                  <a:lnTo>
                    <a:pt x="63639" y="335318"/>
                  </a:lnTo>
                  <a:lnTo>
                    <a:pt x="63639" y="320789"/>
                  </a:lnTo>
                  <a:lnTo>
                    <a:pt x="59143" y="320789"/>
                  </a:lnTo>
                  <a:lnTo>
                    <a:pt x="59143" y="305834"/>
                  </a:lnTo>
                  <a:lnTo>
                    <a:pt x="63639" y="305834"/>
                  </a:lnTo>
                  <a:lnTo>
                    <a:pt x="68634" y="301336"/>
                  </a:lnTo>
                  <a:lnTo>
                    <a:pt x="63639" y="291853"/>
                  </a:lnTo>
                  <a:lnTo>
                    <a:pt x="54098" y="291853"/>
                  </a:lnTo>
                  <a:lnTo>
                    <a:pt x="59143" y="281822"/>
                  </a:lnTo>
                  <a:lnTo>
                    <a:pt x="59143" y="276838"/>
                  </a:lnTo>
                  <a:lnTo>
                    <a:pt x="59143" y="272339"/>
                  </a:lnTo>
                  <a:lnTo>
                    <a:pt x="59143" y="266868"/>
                  </a:lnTo>
                  <a:lnTo>
                    <a:pt x="63639" y="266868"/>
                  </a:lnTo>
                  <a:lnTo>
                    <a:pt x="68634" y="266868"/>
                  </a:lnTo>
                  <a:lnTo>
                    <a:pt x="73629" y="266868"/>
                  </a:lnTo>
                  <a:lnTo>
                    <a:pt x="73629" y="257324"/>
                  </a:lnTo>
                  <a:lnTo>
                    <a:pt x="78675" y="257324"/>
                  </a:lnTo>
                  <a:lnTo>
                    <a:pt x="88166" y="247354"/>
                  </a:lnTo>
                  <a:lnTo>
                    <a:pt x="92711" y="247354"/>
                  </a:lnTo>
                  <a:lnTo>
                    <a:pt x="92711" y="237871"/>
                  </a:lnTo>
                  <a:lnTo>
                    <a:pt x="98206" y="233373"/>
                  </a:lnTo>
                  <a:lnTo>
                    <a:pt x="98206" y="223342"/>
                  </a:lnTo>
                  <a:lnTo>
                    <a:pt x="98206" y="218358"/>
                  </a:lnTo>
                  <a:lnTo>
                    <a:pt x="98206" y="213859"/>
                  </a:lnTo>
                  <a:lnTo>
                    <a:pt x="98206" y="208874"/>
                  </a:lnTo>
                  <a:lnTo>
                    <a:pt x="92711" y="213859"/>
                  </a:lnTo>
                  <a:lnTo>
                    <a:pt x="92711" y="204376"/>
                  </a:lnTo>
                  <a:lnTo>
                    <a:pt x="98206" y="198905"/>
                  </a:lnTo>
                  <a:lnTo>
                    <a:pt x="88166" y="194406"/>
                  </a:lnTo>
                  <a:lnTo>
                    <a:pt x="88166" y="189361"/>
                  </a:lnTo>
                  <a:lnTo>
                    <a:pt x="73629" y="179391"/>
                  </a:lnTo>
                  <a:lnTo>
                    <a:pt x="73629" y="169908"/>
                  </a:lnTo>
                  <a:lnTo>
                    <a:pt x="68634" y="165410"/>
                  </a:lnTo>
                  <a:lnTo>
                    <a:pt x="68634" y="155440"/>
                  </a:lnTo>
                  <a:lnTo>
                    <a:pt x="63639" y="155440"/>
                  </a:lnTo>
                  <a:lnTo>
                    <a:pt x="63639" y="145896"/>
                  </a:lnTo>
                  <a:lnTo>
                    <a:pt x="59143" y="135926"/>
                  </a:lnTo>
                  <a:lnTo>
                    <a:pt x="54098" y="140425"/>
                  </a:lnTo>
                  <a:lnTo>
                    <a:pt x="49603" y="135926"/>
                  </a:lnTo>
                  <a:lnTo>
                    <a:pt x="39562" y="135926"/>
                  </a:lnTo>
                  <a:lnTo>
                    <a:pt x="39562" y="126443"/>
                  </a:lnTo>
                  <a:lnTo>
                    <a:pt x="29072" y="126443"/>
                  </a:lnTo>
                  <a:lnTo>
                    <a:pt x="29072" y="121458"/>
                  </a:lnTo>
                  <a:lnTo>
                    <a:pt x="39562" y="111428"/>
                  </a:lnTo>
                  <a:lnTo>
                    <a:pt x="44108" y="111428"/>
                  </a:lnTo>
                  <a:lnTo>
                    <a:pt x="44108" y="106930"/>
                  </a:lnTo>
                  <a:lnTo>
                    <a:pt x="49603" y="106930"/>
                  </a:lnTo>
                  <a:lnTo>
                    <a:pt x="54098" y="106930"/>
                  </a:lnTo>
                  <a:lnTo>
                    <a:pt x="59143" y="97446"/>
                  </a:lnTo>
                  <a:lnTo>
                    <a:pt x="68634" y="77933"/>
                  </a:lnTo>
                  <a:lnTo>
                    <a:pt x="68634" y="72462"/>
                  </a:lnTo>
                  <a:lnTo>
                    <a:pt x="59143" y="67963"/>
                  </a:lnTo>
                  <a:lnTo>
                    <a:pt x="63639" y="62979"/>
                  </a:lnTo>
                  <a:lnTo>
                    <a:pt x="59143" y="58480"/>
                  </a:lnTo>
                  <a:lnTo>
                    <a:pt x="59143" y="52948"/>
                  </a:lnTo>
                  <a:lnTo>
                    <a:pt x="59143" y="48450"/>
                  </a:lnTo>
                  <a:lnTo>
                    <a:pt x="68634" y="33495"/>
                  </a:lnTo>
                  <a:lnTo>
                    <a:pt x="63639" y="33495"/>
                  </a:lnTo>
                  <a:lnTo>
                    <a:pt x="68634" y="24012"/>
                  </a:lnTo>
                  <a:lnTo>
                    <a:pt x="78675" y="24012"/>
                  </a:lnTo>
                  <a:lnTo>
                    <a:pt x="88166" y="24012"/>
                  </a:lnTo>
                  <a:lnTo>
                    <a:pt x="88166" y="28997"/>
                  </a:lnTo>
                  <a:lnTo>
                    <a:pt x="92711" y="28997"/>
                  </a:lnTo>
                  <a:lnTo>
                    <a:pt x="98206" y="14468"/>
                  </a:lnTo>
                  <a:lnTo>
                    <a:pt x="102702" y="14468"/>
                  </a:lnTo>
                  <a:lnTo>
                    <a:pt x="113241" y="14468"/>
                  </a:lnTo>
                  <a:lnTo>
                    <a:pt x="117737" y="14468"/>
                  </a:lnTo>
                  <a:lnTo>
                    <a:pt x="127278" y="19514"/>
                  </a:lnTo>
                  <a:lnTo>
                    <a:pt x="132273" y="14468"/>
                  </a:lnTo>
                  <a:lnTo>
                    <a:pt x="137268" y="14468"/>
                  </a:lnTo>
                  <a:lnTo>
                    <a:pt x="142313" y="19514"/>
                  </a:lnTo>
                  <a:lnTo>
                    <a:pt x="151804" y="9483"/>
                  </a:lnTo>
                  <a:lnTo>
                    <a:pt x="156300" y="9483"/>
                  </a:lnTo>
                  <a:lnTo>
                    <a:pt x="166340" y="14468"/>
                  </a:lnTo>
                  <a:lnTo>
                    <a:pt x="171336" y="14468"/>
                  </a:lnTo>
                  <a:lnTo>
                    <a:pt x="175881" y="14468"/>
                  </a:lnTo>
                  <a:lnTo>
                    <a:pt x="181376" y="9483"/>
                  </a:lnTo>
                  <a:lnTo>
                    <a:pt x="186371" y="9483"/>
                  </a:lnTo>
                  <a:close/>
                </a:path>
              </a:pathLst>
            </a:custGeom>
            <a:solidFill>
              <a:srgbClr val="E11A81">
                <a:lumMod val="20000"/>
                <a:lumOff val="80000"/>
              </a:srgbClr>
            </a:solidFill>
            <a:ln w="6350" cap="flat" cmpd="sng" algn="ctr">
              <a:solidFill>
                <a:sysClr val="window" lastClr="FFFFFF"/>
              </a:solidFill>
              <a:prstDash val="solid"/>
              <a:miter lim="800000"/>
            </a:ln>
            <a:effectLst/>
          </p:spPr>
          <p:txBody>
            <a:bodyPr rot="0" spcFirstLastPara="0" vert="horz" wrap="square" lIns="58652" tIns="29326" rIns="58652" bIns="2932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586496">
                <a:defRPr/>
              </a:pPr>
              <a:endParaRPr lang="fr-FR" sz="1400">
                <a:solidFill>
                  <a:srgbClr val="FFFFFF"/>
                </a:solidFill>
                <a:latin typeface="Helvetica Neue"/>
              </a:endParaRPr>
            </a:p>
          </p:txBody>
        </p:sp>
        <p:sp>
          <p:nvSpPr>
            <p:cNvPr id="57" name="Freeform 292">
              <a:hlinkClick r:id="" action="ppaction://noaction"/>
              <a:extLst>
                <a:ext uri="{FF2B5EF4-FFF2-40B4-BE49-F238E27FC236}">
                  <a16:creationId xmlns:a16="http://schemas.microsoft.com/office/drawing/2014/main" id="{18AA01D5-427B-45DE-8324-938D8B35F875}"/>
                </a:ext>
              </a:extLst>
            </p:cNvPr>
            <p:cNvSpPr>
              <a:spLocks/>
            </p:cNvSpPr>
            <p:nvPr/>
          </p:nvSpPr>
          <p:spPr bwMode="auto">
            <a:xfrm>
              <a:off x="2891726" y="4118876"/>
              <a:ext cx="100564" cy="118207"/>
            </a:xfrm>
            <a:custGeom>
              <a:avLst/>
              <a:gdLst>
                <a:gd name="T0" fmla="*/ 21 w 114"/>
                <a:gd name="T1" fmla="*/ 0 h 134"/>
                <a:gd name="T2" fmla="*/ 7 w 114"/>
                <a:gd name="T3" fmla="*/ 6 h 134"/>
                <a:gd name="T4" fmla="*/ 0 w 114"/>
                <a:gd name="T5" fmla="*/ 19 h 134"/>
                <a:gd name="T6" fmla="*/ 15 w 114"/>
                <a:gd name="T7" fmla="*/ 38 h 134"/>
                <a:gd name="T8" fmla="*/ 13 w 114"/>
                <a:gd name="T9" fmla="*/ 48 h 134"/>
                <a:gd name="T10" fmla="*/ 24 w 114"/>
                <a:gd name="T11" fmla="*/ 65 h 134"/>
                <a:gd name="T12" fmla="*/ 39 w 114"/>
                <a:gd name="T13" fmla="*/ 77 h 134"/>
                <a:gd name="T14" fmla="*/ 58 w 114"/>
                <a:gd name="T15" fmla="*/ 78 h 134"/>
                <a:gd name="T16" fmla="*/ 64 w 114"/>
                <a:gd name="T17" fmla="*/ 94 h 134"/>
                <a:gd name="T18" fmla="*/ 48 w 114"/>
                <a:gd name="T19" fmla="*/ 89 h 134"/>
                <a:gd name="T20" fmla="*/ 36 w 114"/>
                <a:gd name="T21" fmla="*/ 99 h 134"/>
                <a:gd name="T22" fmla="*/ 45 w 114"/>
                <a:gd name="T23" fmla="*/ 117 h 134"/>
                <a:gd name="T24" fmla="*/ 55 w 114"/>
                <a:gd name="T25" fmla="*/ 110 h 134"/>
                <a:gd name="T26" fmla="*/ 87 w 114"/>
                <a:gd name="T27" fmla="*/ 113 h 134"/>
                <a:gd name="T28" fmla="*/ 100 w 114"/>
                <a:gd name="T29" fmla="*/ 134 h 134"/>
                <a:gd name="T30" fmla="*/ 114 w 114"/>
                <a:gd name="T31" fmla="*/ 113 h 134"/>
                <a:gd name="T32" fmla="*/ 106 w 114"/>
                <a:gd name="T33" fmla="*/ 85 h 134"/>
                <a:gd name="T34" fmla="*/ 90 w 114"/>
                <a:gd name="T35" fmla="*/ 69 h 134"/>
                <a:gd name="T36" fmla="*/ 93 w 114"/>
                <a:gd name="T37" fmla="*/ 59 h 134"/>
                <a:gd name="T38" fmla="*/ 82 w 114"/>
                <a:gd name="T39" fmla="*/ 61 h 134"/>
                <a:gd name="T40" fmla="*/ 77 w 114"/>
                <a:gd name="T41" fmla="*/ 56 h 134"/>
                <a:gd name="T42" fmla="*/ 88 w 114"/>
                <a:gd name="T43" fmla="*/ 49 h 134"/>
                <a:gd name="T44" fmla="*/ 77 w 114"/>
                <a:gd name="T45" fmla="*/ 45 h 134"/>
                <a:gd name="T46" fmla="*/ 79 w 114"/>
                <a:gd name="T47" fmla="*/ 35 h 134"/>
                <a:gd name="T48" fmla="*/ 90 w 114"/>
                <a:gd name="T49" fmla="*/ 38 h 134"/>
                <a:gd name="T50" fmla="*/ 96 w 114"/>
                <a:gd name="T51" fmla="*/ 27 h 134"/>
                <a:gd name="T52" fmla="*/ 74 w 114"/>
                <a:gd name="T53" fmla="*/ 35 h 134"/>
                <a:gd name="T54" fmla="*/ 53 w 114"/>
                <a:gd name="T55" fmla="*/ 14 h 134"/>
                <a:gd name="T56" fmla="*/ 21 w 114"/>
                <a:gd name="T57"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4">
                  <a:moveTo>
                    <a:pt x="21" y="0"/>
                  </a:moveTo>
                  <a:lnTo>
                    <a:pt x="7" y="6"/>
                  </a:lnTo>
                  <a:lnTo>
                    <a:pt x="0" y="19"/>
                  </a:lnTo>
                  <a:lnTo>
                    <a:pt x="15" y="38"/>
                  </a:lnTo>
                  <a:lnTo>
                    <a:pt x="13" y="48"/>
                  </a:lnTo>
                  <a:lnTo>
                    <a:pt x="24" y="65"/>
                  </a:lnTo>
                  <a:lnTo>
                    <a:pt x="39" y="77"/>
                  </a:lnTo>
                  <a:lnTo>
                    <a:pt x="58" y="78"/>
                  </a:lnTo>
                  <a:lnTo>
                    <a:pt x="64" y="94"/>
                  </a:lnTo>
                  <a:lnTo>
                    <a:pt x="48" y="89"/>
                  </a:lnTo>
                  <a:lnTo>
                    <a:pt x="36" y="99"/>
                  </a:lnTo>
                  <a:lnTo>
                    <a:pt x="45" y="117"/>
                  </a:lnTo>
                  <a:lnTo>
                    <a:pt x="55" y="110"/>
                  </a:lnTo>
                  <a:lnTo>
                    <a:pt x="87" y="113"/>
                  </a:lnTo>
                  <a:lnTo>
                    <a:pt x="100" y="134"/>
                  </a:lnTo>
                  <a:lnTo>
                    <a:pt x="114" y="113"/>
                  </a:lnTo>
                  <a:lnTo>
                    <a:pt x="106" y="85"/>
                  </a:lnTo>
                  <a:lnTo>
                    <a:pt x="90" y="69"/>
                  </a:lnTo>
                  <a:lnTo>
                    <a:pt x="93" y="59"/>
                  </a:lnTo>
                  <a:lnTo>
                    <a:pt x="82" y="61"/>
                  </a:lnTo>
                  <a:lnTo>
                    <a:pt x="77" y="56"/>
                  </a:lnTo>
                  <a:lnTo>
                    <a:pt x="88" y="49"/>
                  </a:lnTo>
                  <a:lnTo>
                    <a:pt x="77" y="45"/>
                  </a:lnTo>
                  <a:lnTo>
                    <a:pt x="79" y="35"/>
                  </a:lnTo>
                  <a:lnTo>
                    <a:pt x="90" y="38"/>
                  </a:lnTo>
                  <a:lnTo>
                    <a:pt x="96" y="27"/>
                  </a:lnTo>
                  <a:lnTo>
                    <a:pt x="74" y="35"/>
                  </a:lnTo>
                  <a:lnTo>
                    <a:pt x="53" y="14"/>
                  </a:lnTo>
                  <a:lnTo>
                    <a:pt x="21" y="0"/>
                  </a:lnTo>
                  <a:close/>
                </a:path>
              </a:pathLst>
            </a:custGeom>
            <a:solidFill>
              <a:srgbClr val="E11A81">
                <a:lumMod val="20000"/>
                <a:lumOff val="80000"/>
              </a:srgbClr>
            </a:solidFill>
            <a:ln w="9525" cap="flat">
              <a:noFill/>
              <a:prstDash val="solid"/>
              <a:miter lim="800000"/>
              <a:headEnd/>
              <a:tailEnd/>
            </a:ln>
          </p:spPr>
          <p:txBody>
            <a:bodyPr vert="horz" wrap="square" lIns="32992" tIns="16496" rIns="32992" bIns="16496" numCol="1" anchor="t" anchorCtr="0" compatLnSpc="1">
              <a:prstTxWarp prst="textNoShape">
                <a:avLst/>
              </a:prstTxWarp>
            </a:bodyPr>
            <a:lstStyle/>
            <a:p>
              <a:pPr defTabSz="329912">
                <a:defRPr/>
              </a:pPr>
              <a:endParaRPr lang="fr-FR" sz="800" kern="0">
                <a:solidFill>
                  <a:srgbClr val="000000"/>
                </a:solidFill>
                <a:latin typeface="Arial"/>
              </a:endParaRPr>
            </a:p>
          </p:txBody>
        </p:sp>
        <p:sp>
          <p:nvSpPr>
            <p:cNvPr id="58" name="Freeform 290">
              <a:hlinkClick r:id="" action="ppaction://noaction"/>
              <a:extLst>
                <a:ext uri="{FF2B5EF4-FFF2-40B4-BE49-F238E27FC236}">
                  <a16:creationId xmlns:a16="http://schemas.microsoft.com/office/drawing/2014/main" id="{CB7487A6-4732-493F-A821-969C977390CC}"/>
                </a:ext>
              </a:extLst>
            </p:cNvPr>
            <p:cNvSpPr>
              <a:spLocks/>
            </p:cNvSpPr>
            <p:nvPr/>
          </p:nvSpPr>
          <p:spPr bwMode="auto">
            <a:xfrm>
              <a:off x="2888362" y="3958955"/>
              <a:ext cx="96840" cy="102933"/>
            </a:xfrm>
            <a:custGeom>
              <a:avLst/>
              <a:gdLst>
                <a:gd name="T0" fmla="*/ 12 w 156"/>
                <a:gd name="T1" fmla="*/ 125 h 155"/>
                <a:gd name="T2" fmla="*/ 28 w 156"/>
                <a:gd name="T3" fmla="*/ 155 h 155"/>
                <a:gd name="T4" fmla="*/ 47 w 156"/>
                <a:gd name="T5" fmla="*/ 149 h 155"/>
                <a:gd name="T6" fmla="*/ 68 w 156"/>
                <a:gd name="T7" fmla="*/ 130 h 155"/>
                <a:gd name="T8" fmla="*/ 58 w 156"/>
                <a:gd name="T9" fmla="*/ 75 h 155"/>
                <a:gd name="T10" fmla="*/ 90 w 156"/>
                <a:gd name="T11" fmla="*/ 85 h 155"/>
                <a:gd name="T12" fmla="*/ 156 w 156"/>
                <a:gd name="T13" fmla="*/ 69 h 155"/>
                <a:gd name="T14" fmla="*/ 143 w 156"/>
                <a:gd name="T15" fmla="*/ 56 h 155"/>
                <a:gd name="T16" fmla="*/ 106 w 156"/>
                <a:gd name="T17" fmla="*/ 42 h 155"/>
                <a:gd name="T18" fmla="*/ 108 w 156"/>
                <a:gd name="T19" fmla="*/ 15 h 155"/>
                <a:gd name="T20" fmla="*/ 88 w 156"/>
                <a:gd name="T21" fmla="*/ 0 h 155"/>
                <a:gd name="T22" fmla="*/ 69 w 156"/>
                <a:gd name="T23" fmla="*/ 19 h 155"/>
                <a:gd name="T24" fmla="*/ 80 w 156"/>
                <a:gd name="T25" fmla="*/ 43 h 155"/>
                <a:gd name="T26" fmla="*/ 60 w 156"/>
                <a:gd name="T27" fmla="*/ 66 h 155"/>
                <a:gd name="T28" fmla="*/ 13 w 156"/>
                <a:gd name="T29" fmla="*/ 42 h 155"/>
                <a:gd name="T30" fmla="*/ 0 w 156"/>
                <a:gd name="T31" fmla="*/ 56 h 155"/>
                <a:gd name="T32" fmla="*/ 12 w 156"/>
                <a:gd name="T33" fmla="*/ 12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155">
                  <a:moveTo>
                    <a:pt x="12" y="125"/>
                  </a:moveTo>
                  <a:lnTo>
                    <a:pt x="28" y="155"/>
                  </a:lnTo>
                  <a:lnTo>
                    <a:pt x="47" y="149"/>
                  </a:lnTo>
                  <a:lnTo>
                    <a:pt x="68" y="130"/>
                  </a:lnTo>
                  <a:lnTo>
                    <a:pt x="58" y="75"/>
                  </a:lnTo>
                  <a:lnTo>
                    <a:pt x="90" y="85"/>
                  </a:lnTo>
                  <a:lnTo>
                    <a:pt x="156" y="69"/>
                  </a:lnTo>
                  <a:lnTo>
                    <a:pt x="143" y="56"/>
                  </a:lnTo>
                  <a:lnTo>
                    <a:pt x="106" y="42"/>
                  </a:lnTo>
                  <a:lnTo>
                    <a:pt x="108" y="15"/>
                  </a:lnTo>
                  <a:lnTo>
                    <a:pt x="88" y="0"/>
                  </a:lnTo>
                  <a:lnTo>
                    <a:pt x="69" y="19"/>
                  </a:lnTo>
                  <a:lnTo>
                    <a:pt x="80" y="43"/>
                  </a:lnTo>
                  <a:lnTo>
                    <a:pt x="60" y="66"/>
                  </a:lnTo>
                  <a:lnTo>
                    <a:pt x="13" y="42"/>
                  </a:lnTo>
                  <a:lnTo>
                    <a:pt x="0" y="56"/>
                  </a:lnTo>
                  <a:lnTo>
                    <a:pt x="12" y="125"/>
                  </a:lnTo>
                  <a:close/>
                </a:path>
              </a:pathLst>
            </a:custGeom>
            <a:solidFill>
              <a:srgbClr val="E11A81">
                <a:lumMod val="20000"/>
                <a:lumOff val="80000"/>
              </a:srgbClr>
            </a:solidFill>
            <a:ln w="9525" cap="flat">
              <a:noFill/>
              <a:prstDash val="solid"/>
              <a:miter lim="800000"/>
              <a:headEnd/>
              <a:tailEnd/>
            </a:ln>
          </p:spPr>
          <p:txBody>
            <a:bodyPr vert="horz" wrap="square" lIns="32992" tIns="16496" rIns="32992" bIns="16496" numCol="1" anchor="t" anchorCtr="0" compatLnSpc="1">
              <a:prstTxWarp prst="textNoShape">
                <a:avLst/>
              </a:prstTxWarp>
            </a:bodyPr>
            <a:lstStyle/>
            <a:p>
              <a:pPr defTabSz="329912">
                <a:defRPr/>
              </a:pPr>
              <a:endParaRPr lang="fr-FR" sz="800" kern="0">
                <a:solidFill>
                  <a:srgbClr val="000000"/>
                </a:solidFill>
                <a:latin typeface="Arial"/>
              </a:endParaRPr>
            </a:p>
          </p:txBody>
        </p:sp>
        <p:sp>
          <p:nvSpPr>
            <p:cNvPr id="59" name="Freeform 291">
              <a:extLst>
                <a:ext uri="{FF2B5EF4-FFF2-40B4-BE49-F238E27FC236}">
                  <a16:creationId xmlns:a16="http://schemas.microsoft.com/office/drawing/2014/main" id="{7F5328CC-DF62-4B1F-8BBF-FBDED5465440}"/>
                </a:ext>
              </a:extLst>
            </p:cNvPr>
            <p:cNvSpPr>
              <a:spLocks/>
            </p:cNvSpPr>
            <p:nvPr/>
          </p:nvSpPr>
          <p:spPr bwMode="auto">
            <a:xfrm>
              <a:off x="2962361" y="4042379"/>
              <a:ext cx="23589" cy="26564"/>
            </a:xfrm>
            <a:custGeom>
              <a:avLst/>
              <a:gdLst>
                <a:gd name="T0" fmla="*/ 16 w 38"/>
                <a:gd name="T1" fmla="*/ 0 h 40"/>
                <a:gd name="T2" fmla="*/ 38 w 38"/>
                <a:gd name="T3" fmla="*/ 16 h 40"/>
                <a:gd name="T4" fmla="*/ 36 w 38"/>
                <a:gd name="T5" fmla="*/ 28 h 40"/>
                <a:gd name="T6" fmla="*/ 19 w 38"/>
                <a:gd name="T7" fmla="*/ 40 h 40"/>
                <a:gd name="T8" fmla="*/ 3 w 38"/>
                <a:gd name="T9" fmla="*/ 33 h 40"/>
                <a:gd name="T10" fmla="*/ 0 w 38"/>
                <a:gd name="T11" fmla="*/ 17 h 40"/>
                <a:gd name="T12" fmla="*/ 16 w 38"/>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8" h="40">
                  <a:moveTo>
                    <a:pt x="16" y="0"/>
                  </a:moveTo>
                  <a:lnTo>
                    <a:pt x="38" y="16"/>
                  </a:lnTo>
                  <a:lnTo>
                    <a:pt x="36" y="28"/>
                  </a:lnTo>
                  <a:lnTo>
                    <a:pt x="19" y="40"/>
                  </a:lnTo>
                  <a:lnTo>
                    <a:pt x="3" y="33"/>
                  </a:lnTo>
                  <a:lnTo>
                    <a:pt x="0" y="17"/>
                  </a:lnTo>
                  <a:lnTo>
                    <a:pt x="16" y="0"/>
                  </a:lnTo>
                  <a:close/>
                </a:path>
              </a:pathLst>
            </a:custGeom>
            <a:solidFill>
              <a:srgbClr val="FAD1DF"/>
            </a:solidFill>
            <a:ln w="9525" cap="flat">
              <a:noFill/>
              <a:prstDash val="solid"/>
              <a:miter lim="800000"/>
              <a:headEnd/>
              <a:tailEnd/>
            </a:ln>
          </p:spPr>
          <p:txBody>
            <a:bodyPr vert="horz" wrap="square" lIns="32992" tIns="16496" rIns="32992" bIns="16496" numCol="1" anchor="t" anchorCtr="0" compatLnSpc="1">
              <a:prstTxWarp prst="textNoShape">
                <a:avLst/>
              </a:prstTxWarp>
            </a:bodyPr>
            <a:lstStyle/>
            <a:p>
              <a:pPr defTabSz="329912">
                <a:defRPr/>
              </a:pPr>
              <a:endParaRPr lang="fr-FR" sz="800" kern="0">
                <a:solidFill>
                  <a:srgbClr val="000000"/>
                </a:solidFill>
                <a:latin typeface="Arial"/>
              </a:endParaRPr>
            </a:p>
          </p:txBody>
        </p:sp>
        <p:sp>
          <p:nvSpPr>
            <p:cNvPr id="60" name="Freeform 293">
              <a:hlinkClick r:id="" action="ppaction://noaction"/>
              <a:extLst>
                <a:ext uri="{FF2B5EF4-FFF2-40B4-BE49-F238E27FC236}">
                  <a16:creationId xmlns:a16="http://schemas.microsoft.com/office/drawing/2014/main" id="{58CC95AD-5AC4-4509-B6AD-A690B6863FE8}"/>
                </a:ext>
              </a:extLst>
            </p:cNvPr>
            <p:cNvSpPr>
              <a:spLocks/>
            </p:cNvSpPr>
            <p:nvPr/>
          </p:nvSpPr>
          <p:spPr bwMode="auto">
            <a:xfrm>
              <a:off x="2907708" y="4244657"/>
              <a:ext cx="80041" cy="106302"/>
            </a:xfrm>
            <a:custGeom>
              <a:avLst/>
              <a:gdLst>
                <a:gd name="T0" fmla="*/ 35 w 160"/>
                <a:gd name="T1" fmla="*/ 0 h 200"/>
                <a:gd name="T2" fmla="*/ 59 w 160"/>
                <a:gd name="T3" fmla="*/ 11 h 200"/>
                <a:gd name="T4" fmla="*/ 83 w 160"/>
                <a:gd name="T5" fmla="*/ 14 h 200"/>
                <a:gd name="T6" fmla="*/ 112 w 160"/>
                <a:gd name="T7" fmla="*/ 40 h 200"/>
                <a:gd name="T8" fmla="*/ 142 w 160"/>
                <a:gd name="T9" fmla="*/ 61 h 200"/>
                <a:gd name="T10" fmla="*/ 150 w 160"/>
                <a:gd name="T11" fmla="*/ 62 h 200"/>
                <a:gd name="T12" fmla="*/ 160 w 160"/>
                <a:gd name="T13" fmla="*/ 88 h 200"/>
                <a:gd name="T14" fmla="*/ 124 w 160"/>
                <a:gd name="T15" fmla="*/ 139 h 200"/>
                <a:gd name="T16" fmla="*/ 104 w 160"/>
                <a:gd name="T17" fmla="*/ 184 h 200"/>
                <a:gd name="T18" fmla="*/ 86 w 160"/>
                <a:gd name="T19" fmla="*/ 195 h 200"/>
                <a:gd name="T20" fmla="*/ 43 w 160"/>
                <a:gd name="T21" fmla="*/ 187 h 200"/>
                <a:gd name="T22" fmla="*/ 22 w 160"/>
                <a:gd name="T23" fmla="*/ 200 h 200"/>
                <a:gd name="T24" fmla="*/ 0 w 160"/>
                <a:gd name="T25" fmla="*/ 192 h 200"/>
                <a:gd name="T26" fmla="*/ 30 w 160"/>
                <a:gd name="T27" fmla="*/ 120 h 200"/>
                <a:gd name="T28" fmla="*/ 8 w 160"/>
                <a:gd name="T29" fmla="*/ 93 h 200"/>
                <a:gd name="T30" fmla="*/ 3 w 160"/>
                <a:gd name="T31" fmla="*/ 43 h 200"/>
                <a:gd name="T32" fmla="*/ 35 w 160"/>
                <a:gd name="T3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00">
                  <a:moveTo>
                    <a:pt x="35" y="0"/>
                  </a:moveTo>
                  <a:lnTo>
                    <a:pt x="59" y="11"/>
                  </a:lnTo>
                  <a:lnTo>
                    <a:pt x="83" y="14"/>
                  </a:lnTo>
                  <a:lnTo>
                    <a:pt x="112" y="40"/>
                  </a:lnTo>
                  <a:lnTo>
                    <a:pt x="142" y="61"/>
                  </a:lnTo>
                  <a:lnTo>
                    <a:pt x="150" y="62"/>
                  </a:lnTo>
                  <a:lnTo>
                    <a:pt x="160" y="88"/>
                  </a:lnTo>
                  <a:lnTo>
                    <a:pt x="124" y="139"/>
                  </a:lnTo>
                  <a:lnTo>
                    <a:pt x="104" y="184"/>
                  </a:lnTo>
                  <a:lnTo>
                    <a:pt x="86" y="195"/>
                  </a:lnTo>
                  <a:lnTo>
                    <a:pt x="43" y="187"/>
                  </a:lnTo>
                  <a:lnTo>
                    <a:pt x="22" y="200"/>
                  </a:lnTo>
                  <a:lnTo>
                    <a:pt x="0" y="192"/>
                  </a:lnTo>
                  <a:lnTo>
                    <a:pt x="30" y="120"/>
                  </a:lnTo>
                  <a:lnTo>
                    <a:pt x="8" y="93"/>
                  </a:lnTo>
                  <a:lnTo>
                    <a:pt x="3" y="43"/>
                  </a:lnTo>
                  <a:lnTo>
                    <a:pt x="35" y="0"/>
                  </a:lnTo>
                  <a:close/>
                </a:path>
              </a:pathLst>
            </a:custGeom>
            <a:solidFill>
              <a:srgbClr val="E11A81">
                <a:lumMod val="20000"/>
                <a:lumOff val="80000"/>
              </a:srgbClr>
            </a:solidFill>
            <a:ln w="9525" cap="flat">
              <a:noFill/>
              <a:prstDash val="solid"/>
              <a:miter lim="800000"/>
              <a:headEnd/>
              <a:tailEnd/>
            </a:ln>
          </p:spPr>
          <p:txBody>
            <a:bodyPr vert="horz" wrap="square" lIns="32992" tIns="16496" rIns="32992" bIns="16496" numCol="1" anchor="t" anchorCtr="0" compatLnSpc="1">
              <a:prstTxWarp prst="textNoShape">
                <a:avLst/>
              </a:prstTxWarp>
            </a:bodyPr>
            <a:lstStyle/>
            <a:p>
              <a:pPr defTabSz="329912">
                <a:defRPr/>
              </a:pPr>
              <a:endParaRPr lang="fr-FR" sz="800" kern="0">
                <a:solidFill>
                  <a:srgbClr val="005C9B"/>
                </a:solidFill>
                <a:latin typeface="Arial"/>
              </a:endParaRPr>
            </a:p>
          </p:txBody>
        </p:sp>
        <p:sp>
          <p:nvSpPr>
            <p:cNvPr id="61" name="Freeform 294">
              <a:extLst>
                <a:ext uri="{FF2B5EF4-FFF2-40B4-BE49-F238E27FC236}">
                  <a16:creationId xmlns:a16="http://schemas.microsoft.com/office/drawing/2014/main" id="{D1665BA6-1C31-4AE6-9262-B3CA2221F82F}"/>
                </a:ext>
              </a:extLst>
            </p:cNvPr>
            <p:cNvSpPr>
              <a:spLocks/>
            </p:cNvSpPr>
            <p:nvPr/>
          </p:nvSpPr>
          <p:spPr bwMode="auto">
            <a:xfrm>
              <a:off x="2901314" y="4403416"/>
              <a:ext cx="90728" cy="89102"/>
            </a:xfrm>
            <a:custGeom>
              <a:avLst/>
              <a:gdLst>
                <a:gd name="T0" fmla="*/ 0 w 159"/>
                <a:gd name="T1" fmla="*/ 43 h 141"/>
                <a:gd name="T2" fmla="*/ 0 w 159"/>
                <a:gd name="T3" fmla="*/ 56 h 141"/>
                <a:gd name="T4" fmla="*/ 18 w 159"/>
                <a:gd name="T5" fmla="*/ 78 h 141"/>
                <a:gd name="T6" fmla="*/ 16 w 159"/>
                <a:gd name="T7" fmla="*/ 93 h 141"/>
                <a:gd name="T8" fmla="*/ 32 w 159"/>
                <a:gd name="T9" fmla="*/ 112 h 141"/>
                <a:gd name="T10" fmla="*/ 45 w 159"/>
                <a:gd name="T11" fmla="*/ 113 h 141"/>
                <a:gd name="T12" fmla="*/ 53 w 159"/>
                <a:gd name="T13" fmla="*/ 125 h 141"/>
                <a:gd name="T14" fmla="*/ 103 w 159"/>
                <a:gd name="T15" fmla="*/ 141 h 141"/>
                <a:gd name="T16" fmla="*/ 146 w 159"/>
                <a:gd name="T17" fmla="*/ 134 h 141"/>
                <a:gd name="T18" fmla="*/ 151 w 159"/>
                <a:gd name="T19" fmla="*/ 128 h 141"/>
                <a:gd name="T20" fmla="*/ 151 w 159"/>
                <a:gd name="T21" fmla="*/ 105 h 141"/>
                <a:gd name="T22" fmla="*/ 159 w 159"/>
                <a:gd name="T23" fmla="*/ 77 h 141"/>
                <a:gd name="T24" fmla="*/ 144 w 159"/>
                <a:gd name="T25" fmla="*/ 67 h 141"/>
                <a:gd name="T26" fmla="*/ 125 w 159"/>
                <a:gd name="T27" fmla="*/ 40 h 141"/>
                <a:gd name="T28" fmla="*/ 123 w 159"/>
                <a:gd name="T29" fmla="*/ 24 h 141"/>
                <a:gd name="T30" fmla="*/ 111 w 159"/>
                <a:gd name="T31" fmla="*/ 11 h 141"/>
                <a:gd name="T32" fmla="*/ 50 w 159"/>
                <a:gd name="T33" fmla="*/ 0 h 141"/>
                <a:gd name="T34" fmla="*/ 29 w 159"/>
                <a:gd name="T35" fmla="*/ 16 h 141"/>
                <a:gd name="T36" fmla="*/ 16 w 159"/>
                <a:gd name="T37" fmla="*/ 14 h 141"/>
                <a:gd name="T38" fmla="*/ 15 w 159"/>
                <a:gd name="T39" fmla="*/ 35 h 141"/>
                <a:gd name="T40" fmla="*/ 0 w 159"/>
                <a:gd name="T41" fmla="*/ 4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9" h="141">
                  <a:moveTo>
                    <a:pt x="0" y="43"/>
                  </a:moveTo>
                  <a:lnTo>
                    <a:pt x="0" y="56"/>
                  </a:lnTo>
                  <a:lnTo>
                    <a:pt x="18" y="78"/>
                  </a:lnTo>
                  <a:lnTo>
                    <a:pt x="16" y="93"/>
                  </a:lnTo>
                  <a:lnTo>
                    <a:pt x="32" y="112"/>
                  </a:lnTo>
                  <a:lnTo>
                    <a:pt x="45" y="113"/>
                  </a:lnTo>
                  <a:lnTo>
                    <a:pt x="53" y="125"/>
                  </a:lnTo>
                  <a:lnTo>
                    <a:pt x="103" y="141"/>
                  </a:lnTo>
                  <a:lnTo>
                    <a:pt x="146" y="134"/>
                  </a:lnTo>
                  <a:lnTo>
                    <a:pt x="151" y="128"/>
                  </a:lnTo>
                  <a:lnTo>
                    <a:pt x="151" y="105"/>
                  </a:lnTo>
                  <a:lnTo>
                    <a:pt x="159" y="77"/>
                  </a:lnTo>
                  <a:lnTo>
                    <a:pt x="144" y="67"/>
                  </a:lnTo>
                  <a:lnTo>
                    <a:pt x="125" y="40"/>
                  </a:lnTo>
                  <a:lnTo>
                    <a:pt x="123" y="24"/>
                  </a:lnTo>
                  <a:lnTo>
                    <a:pt x="111" y="11"/>
                  </a:lnTo>
                  <a:lnTo>
                    <a:pt x="50" y="0"/>
                  </a:lnTo>
                  <a:lnTo>
                    <a:pt x="29" y="16"/>
                  </a:lnTo>
                  <a:lnTo>
                    <a:pt x="16" y="14"/>
                  </a:lnTo>
                  <a:lnTo>
                    <a:pt x="15" y="35"/>
                  </a:lnTo>
                  <a:lnTo>
                    <a:pt x="0" y="43"/>
                  </a:lnTo>
                  <a:close/>
                </a:path>
              </a:pathLst>
            </a:custGeom>
            <a:solidFill>
              <a:srgbClr val="E11A81">
                <a:lumMod val="20000"/>
                <a:lumOff val="80000"/>
              </a:srgbClr>
            </a:solidFill>
            <a:ln w="9525" cap="flat">
              <a:noFill/>
              <a:prstDash val="solid"/>
              <a:miter lim="800000"/>
              <a:headEnd/>
              <a:tailEnd/>
            </a:ln>
          </p:spPr>
          <p:txBody>
            <a:bodyPr vert="horz" wrap="square" lIns="32992" tIns="16496" rIns="32992" bIns="16496" numCol="1" anchor="t" anchorCtr="0" compatLnSpc="1">
              <a:prstTxWarp prst="textNoShape">
                <a:avLst/>
              </a:prstTxWarp>
            </a:bodyPr>
            <a:lstStyle/>
            <a:p>
              <a:pPr defTabSz="329912">
                <a:defRPr/>
              </a:pPr>
              <a:endParaRPr lang="fr-FR" sz="800" kern="0">
                <a:solidFill>
                  <a:srgbClr val="000000"/>
                </a:solidFill>
                <a:latin typeface="Arial"/>
              </a:endParaRPr>
            </a:p>
          </p:txBody>
        </p:sp>
        <p:sp>
          <p:nvSpPr>
            <p:cNvPr id="62" name="Freeform 295">
              <a:extLst>
                <a:ext uri="{FF2B5EF4-FFF2-40B4-BE49-F238E27FC236}">
                  <a16:creationId xmlns:a16="http://schemas.microsoft.com/office/drawing/2014/main" id="{3984A05B-CDA8-449B-89B0-27A431F8CBDE}"/>
                </a:ext>
              </a:extLst>
            </p:cNvPr>
            <p:cNvSpPr>
              <a:spLocks/>
            </p:cNvSpPr>
            <p:nvPr/>
          </p:nvSpPr>
          <p:spPr bwMode="auto">
            <a:xfrm>
              <a:off x="2916982" y="4541682"/>
              <a:ext cx="59022" cy="96105"/>
            </a:xfrm>
            <a:custGeom>
              <a:avLst/>
              <a:gdLst>
                <a:gd name="T0" fmla="*/ 16 w 56"/>
                <a:gd name="T1" fmla="*/ 0 h 93"/>
                <a:gd name="T2" fmla="*/ 0 w 56"/>
                <a:gd name="T3" fmla="*/ 22 h 93"/>
                <a:gd name="T4" fmla="*/ 17 w 56"/>
                <a:gd name="T5" fmla="*/ 32 h 93"/>
                <a:gd name="T6" fmla="*/ 17 w 56"/>
                <a:gd name="T7" fmla="*/ 53 h 93"/>
                <a:gd name="T8" fmla="*/ 30 w 56"/>
                <a:gd name="T9" fmla="*/ 67 h 93"/>
                <a:gd name="T10" fmla="*/ 30 w 56"/>
                <a:gd name="T11" fmla="*/ 75 h 93"/>
                <a:gd name="T12" fmla="*/ 20 w 56"/>
                <a:gd name="T13" fmla="*/ 72 h 93"/>
                <a:gd name="T14" fmla="*/ 17 w 56"/>
                <a:gd name="T15" fmla="*/ 64 h 93"/>
                <a:gd name="T16" fmla="*/ 9 w 56"/>
                <a:gd name="T17" fmla="*/ 64 h 93"/>
                <a:gd name="T18" fmla="*/ 20 w 56"/>
                <a:gd name="T19" fmla="*/ 88 h 93"/>
                <a:gd name="T20" fmla="*/ 32 w 56"/>
                <a:gd name="T21" fmla="*/ 93 h 93"/>
                <a:gd name="T22" fmla="*/ 33 w 56"/>
                <a:gd name="T23" fmla="*/ 86 h 93"/>
                <a:gd name="T24" fmla="*/ 46 w 56"/>
                <a:gd name="T25" fmla="*/ 88 h 93"/>
                <a:gd name="T26" fmla="*/ 36 w 56"/>
                <a:gd name="T27" fmla="*/ 78 h 93"/>
                <a:gd name="T28" fmla="*/ 49 w 56"/>
                <a:gd name="T29" fmla="*/ 58 h 93"/>
                <a:gd name="T30" fmla="*/ 41 w 56"/>
                <a:gd name="T31" fmla="*/ 50 h 93"/>
                <a:gd name="T32" fmla="*/ 56 w 56"/>
                <a:gd name="T33" fmla="*/ 27 h 93"/>
                <a:gd name="T34" fmla="*/ 38 w 56"/>
                <a:gd name="T35" fmla="*/ 18 h 93"/>
                <a:gd name="T36" fmla="*/ 30 w 56"/>
                <a:gd name="T37" fmla="*/ 21 h 93"/>
                <a:gd name="T38" fmla="*/ 16 w 56"/>
                <a:gd name="T39"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 h="93">
                  <a:moveTo>
                    <a:pt x="16" y="0"/>
                  </a:moveTo>
                  <a:lnTo>
                    <a:pt x="0" y="22"/>
                  </a:lnTo>
                  <a:lnTo>
                    <a:pt x="17" y="32"/>
                  </a:lnTo>
                  <a:lnTo>
                    <a:pt x="17" y="53"/>
                  </a:lnTo>
                  <a:lnTo>
                    <a:pt x="30" y="67"/>
                  </a:lnTo>
                  <a:lnTo>
                    <a:pt x="30" y="75"/>
                  </a:lnTo>
                  <a:lnTo>
                    <a:pt x="20" y="72"/>
                  </a:lnTo>
                  <a:lnTo>
                    <a:pt x="17" y="64"/>
                  </a:lnTo>
                  <a:lnTo>
                    <a:pt x="9" y="64"/>
                  </a:lnTo>
                  <a:lnTo>
                    <a:pt x="20" y="88"/>
                  </a:lnTo>
                  <a:lnTo>
                    <a:pt x="32" y="93"/>
                  </a:lnTo>
                  <a:lnTo>
                    <a:pt x="33" y="86"/>
                  </a:lnTo>
                  <a:lnTo>
                    <a:pt x="46" y="88"/>
                  </a:lnTo>
                  <a:lnTo>
                    <a:pt x="36" y="78"/>
                  </a:lnTo>
                  <a:lnTo>
                    <a:pt x="49" y="58"/>
                  </a:lnTo>
                  <a:lnTo>
                    <a:pt x="41" y="50"/>
                  </a:lnTo>
                  <a:lnTo>
                    <a:pt x="56" y="27"/>
                  </a:lnTo>
                  <a:lnTo>
                    <a:pt x="38" y="18"/>
                  </a:lnTo>
                  <a:lnTo>
                    <a:pt x="30" y="21"/>
                  </a:lnTo>
                  <a:lnTo>
                    <a:pt x="16" y="0"/>
                  </a:lnTo>
                  <a:close/>
                </a:path>
              </a:pathLst>
            </a:custGeom>
            <a:solidFill>
              <a:srgbClr val="FAD1E6"/>
            </a:solidFill>
            <a:ln w="9525" cap="flat">
              <a:noFill/>
              <a:prstDash val="solid"/>
              <a:miter lim="800000"/>
              <a:headEnd/>
              <a:tailEnd/>
            </a:ln>
          </p:spPr>
          <p:txBody>
            <a:bodyPr vert="horz" wrap="square" lIns="32992" tIns="16496" rIns="32992" bIns="16496" numCol="1" anchor="t" anchorCtr="0" compatLnSpc="1">
              <a:prstTxWarp prst="textNoShape">
                <a:avLst/>
              </a:prstTxWarp>
            </a:bodyPr>
            <a:lstStyle/>
            <a:p>
              <a:pPr defTabSz="329912">
                <a:defRPr/>
              </a:pPr>
              <a:endParaRPr lang="fr-FR" sz="800" kern="0">
                <a:solidFill>
                  <a:srgbClr val="000000"/>
                </a:solidFill>
                <a:latin typeface="Arial"/>
              </a:endParaRPr>
            </a:p>
          </p:txBody>
        </p:sp>
      </p:grpSp>
      <p:pic>
        <p:nvPicPr>
          <p:cNvPr id="63" name="Graphic 62" descr="Marker with solid fill">
            <a:extLst>
              <a:ext uri="{FF2B5EF4-FFF2-40B4-BE49-F238E27FC236}">
                <a16:creationId xmlns:a16="http://schemas.microsoft.com/office/drawing/2014/main" id="{D35C3F8C-D6C6-4E3F-8D11-4FC0B117EE5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42680" y="4121817"/>
            <a:ext cx="197080" cy="197080"/>
          </a:xfrm>
          <a:prstGeom prst="rect">
            <a:avLst/>
          </a:prstGeom>
        </p:spPr>
      </p:pic>
      <p:sp>
        <p:nvSpPr>
          <p:cNvPr id="64" name="ZoneTexte 41">
            <a:extLst>
              <a:ext uri="{FF2B5EF4-FFF2-40B4-BE49-F238E27FC236}">
                <a16:creationId xmlns:a16="http://schemas.microsoft.com/office/drawing/2014/main" id="{5063B161-093E-414C-A846-7D74E7B6B97A}"/>
              </a:ext>
            </a:extLst>
          </p:cNvPr>
          <p:cNvSpPr txBox="1"/>
          <p:nvPr/>
        </p:nvSpPr>
        <p:spPr>
          <a:xfrm>
            <a:off x="6801349" y="4121606"/>
            <a:ext cx="1320092" cy="500371"/>
          </a:xfrm>
          <a:prstGeom prst="rect">
            <a:avLst/>
          </a:prstGeom>
          <a:noFill/>
        </p:spPr>
        <p:txBody>
          <a:bodyPr wrap="square" lIns="11546" tIns="11546" rIns="11546" bIns="11546" rtlCol="0">
            <a:spAutoFit/>
          </a:bodyPr>
          <a:lstStyle/>
          <a:p>
            <a:pPr defTabSz="586496">
              <a:defRPr/>
            </a:pPr>
            <a:r>
              <a:rPr lang="fr-FR" sz="700" b="1" u="sng" dirty="0">
                <a:solidFill>
                  <a:srgbClr val="000000"/>
                </a:solidFill>
                <a:latin typeface="Calibri" panose="020F0502020204030204"/>
                <a:cs typeface="Calibri" panose="020F0502020204030204" pitchFamily="34" charset="0"/>
              </a:rPr>
              <a:t>GUYANE</a:t>
            </a:r>
          </a:p>
          <a:p>
            <a:pPr defTabSz="586496">
              <a:defRPr/>
            </a:pPr>
            <a:r>
              <a:rPr lang="fr-FR" sz="800" b="1" dirty="0">
                <a:solidFill>
                  <a:srgbClr val="5E5E5E"/>
                </a:solidFill>
                <a:latin typeface="Calibri" panose="020F0502020204030204"/>
                <a:cs typeface="Calibri" panose="020F0502020204030204" pitchFamily="34" charset="0"/>
              </a:rPr>
              <a:t>François GOURRIER</a:t>
            </a:r>
          </a:p>
          <a:p>
            <a:pPr defTabSz="586496">
              <a:defRPr/>
            </a:pPr>
            <a:r>
              <a:rPr lang="fr-FR" sz="800" u="sng" dirty="0">
                <a:solidFill>
                  <a:srgbClr val="005DA9"/>
                </a:solidFill>
                <a:latin typeface="Calibri Light" panose="020F0302020204030204"/>
                <a:hlinkClick r:id="rId4">
                  <a:extLst>
                    <a:ext uri="{A12FA001-AC4F-418D-AE19-62706E023703}">
                      <ahyp:hlinkClr xmlns:ahyp="http://schemas.microsoft.com/office/drawing/2018/hyperlinkcolor" val="tx"/>
                    </a:ext>
                  </a:extLst>
                </a:hlinkClick>
              </a:rPr>
              <a:t>francois.gourrier@ars.sante.fr</a:t>
            </a:r>
            <a:endParaRPr lang="fr-FR" sz="800" u="sng" dirty="0">
              <a:solidFill>
                <a:srgbClr val="005DA9"/>
              </a:solidFill>
              <a:latin typeface="Calibri Light" panose="020F0302020204030204"/>
            </a:endParaRPr>
          </a:p>
          <a:p>
            <a:pPr defTabSz="586496">
              <a:defRPr/>
            </a:pPr>
            <a:r>
              <a:rPr lang="fr-FR" sz="800" b="1" dirty="0">
                <a:solidFill>
                  <a:srgbClr val="005DA9"/>
                </a:solidFill>
                <a:latin typeface="Calibri" panose="020F0502020204030204"/>
                <a:cs typeface="Calibri" panose="020F0502020204030204" pitchFamily="34" charset="0"/>
              </a:rPr>
              <a:t> </a:t>
            </a:r>
          </a:p>
        </p:txBody>
      </p:sp>
      <p:sp>
        <p:nvSpPr>
          <p:cNvPr id="65" name="ZoneTexte 41">
            <a:extLst>
              <a:ext uri="{FF2B5EF4-FFF2-40B4-BE49-F238E27FC236}">
                <a16:creationId xmlns:a16="http://schemas.microsoft.com/office/drawing/2014/main" id="{5FB18054-3BAD-474D-A707-4DADBE0C3ACD}"/>
              </a:ext>
            </a:extLst>
          </p:cNvPr>
          <p:cNvSpPr txBox="1"/>
          <p:nvPr/>
        </p:nvSpPr>
        <p:spPr>
          <a:xfrm>
            <a:off x="6801348" y="4810226"/>
            <a:ext cx="1006625" cy="377261"/>
          </a:xfrm>
          <a:prstGeom prst="rect">
            <a:avLst/>
          </a:prstGeom>
          <a:noFill/>
        </p:spPr>
        <p:txBody>
          <a:bodyPr wrap="square" lIns="11546" tIns="11546" rIns="11546" bIns="11546" rtlCol="0" anchor="t">
            <a:spAutoFit/>
          </a:bodyPr>
          <a:lstStyle/>
          <a:p>
            <a:pPr defTabSz="586496">
              <a:defRPr/>
            </a:pPr>
            <a:r>
              <a:rPr lang="fr-FR" sz="700" b="1" u="sng" dirty="0">
                <a:solidFill>
                  <a:srgbClr val="000000"/>
                </a:solidFill>
                <a:latin typeface="Calibri" panose="020F0502020204030204"/>
                <a:cs typeface="Calibri" panose="020F0502020204030204" pitchFamily="34" charset="0"/>
              </a:rPr>
              <a:t>LA REUNION</a:t>
            </a:r>
          </a:p>
          <a:p>
            <a:pPr defTabSz="586496">
              <a:defRPr/>
            </a:pPr>
            <a:r>
              <a:rPr lang="fr-FR" sz="800" b="1" dirty="0">
                <a:solidFill>
                  <a:srgbClr val="5E5E5E"/>
                </a:solidFill>
                <a:latin typeface="Calibri" panose="020F0502020204030204"/>
                <a:cs typeface="Calibri" panose="020F0502020204030204" pitchFamily="34" charset="0"/>
              </a:rPr>
              <a:t>Constance BRAVAIS</a:t>
            </a:r>
          </a:p>
          <a:p>
            <a:pPr defTabSz="586496">
              <a:defRPr/>
            </a:pPr>
            <a:r>
              <a:rPr lang="fr-FR" sz="800" u="sng" dirty="0">
                <a:solidFill>
                  <a:srgbClr val="005DA9"/>
                </a:solidFill>
                <a:latin typeface="Calibri Light" panose="020F0302020204030204"/>
                <a:hlinkClick r:id="rId5">
                  <a:extLst>
                    <a:ext uri="{A12FA001-AC4F-418D-AE19-62706E023703}">
                      <ahyp:hlinkClr xmlns:ahyp="http://schemas.microsoft.com/office/drawing/2018/hyperlinkcolor" val="tx"/>
                    </a:ext>
                  </a:extLst>
                </a:hlinkClick>
              </a:rPr>
              <a:t>c.bravais@tesis.re </a:t>
            </a:r>
            <a:endParaRPr lang="fr-FR" sz="800" u="sng" dirty="0">
              <a:solidFill>
                <a:srgbClr val="005DA9"/>
              </a:solidFill>
              <a:latin typeface="Calibri Light" panose="020F0302020204030204"/>
            </a:endParaRPr>
          </a:p>
        </p:txBody>
      </p:sp>
      <p:pic>
        <p:nvPicPr>
          <p:cNvPr id="66" name="Graphic 65" descr="Marker with solid fill">
            <a:extLst>
              <a:ext uri="{FF2B5EF4-FFF2-40B4-BE49-F238E27FC236}">
                <a16:creationId xmlns:a16="http://schemas.microsoft.com/office/drawing/2014/main" id="{A5002680-AD92-4DDA-B6AB-16BBA62E358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42680" y="2804340"/>
            <a:ext cx="197080" cy="197080"/>
          </a:xfrm>
          <a:prstGeom prst="rect">
            <a:avLst/>
          </a:prstGeom>
        </p:spPr>
      </p:pic>
      <p:sp>
        <p:nvSpPr>
          <p:cNvPr id="67" name="ZoneTexte 41">
            <a:extLst>
              <a:ext uri="{FF2B5EF4-FFF2-40B4-BE49-F238E27FC236}">
                <a16:creationId xmlns:a16="http://schemas.microsoft.com/office/drawing/2014/main" id="{385EC5E6-E02B-4A64-914C-F094C5608639}"/>
              </a:ext>
            </a:extLst>
          </p:cNvPr>
          <p:cNvSpPr txBox="1"/>
          <p:nvPr/>
        </p:nvSpPr>
        <p:spPr>
          <a:xfrm>
            <a:off x="6801349" y="2795269"/>
            <a:ext cx="1648466" cy="377261"/>
          </a:xfrm>
          <a:prstGeom prst="rect">
            <a:avLst/>
          </a:prstGeom>
          <a:noFill/>
        </p:spPr>
        <p:txBody>
          <a:bodyPr wrap="square" lIns="11546" tIns="11546" rIns="11546" bIns="11546" rtlCol="0" anchor="t">
            <a:spAutoFit/>
          </a:bodyPr>
          <a:lstStyle/>
          <a:p>
            <a:pPr defTabSz="586496">
              <a:defRPr/>
            </a:pPr>
            <a:r>
              <a:rPr lang="fr-FR" sz="700" b="1" u="sng" dirty="0">
                <a:solidFill>
                  <a:srgbClr val="000000"/>
                </a:solidFill>
                <a:latin typeface="Calibri" panose="020F0502020204030204"/>
                <a:cs typeface="Calibri"/>
              </a:rPr>
              <a:t>GUADELOUPE</a:t>
            </a:r>
          </a:p>
          <a:p>
            <a:pPr defTabSz="586496">
              <a:defRPr/>
            </a:pPr>
            <a:r>
              <a:rPr lang="fr-FR" sz="800" b="1" dirty="0">
                <a:solidFill>
                  <a:srgbClr val="5E5E5E"/>
                </a:solidFill>
                <a:latin typeface="Calibri" panose="020F0502020204030204"/>
                <a:cs typeface="Calibri"/>
              </a:rPr>
              <a:t>Patricia LUCINA</a:t>
            </a:r>
          </a:p>
          <a:p>
            <a:pPr defTabSz="586496">
              <a:defRPr/>
            </a:pPr>
            <a:r>
              <a:rPr lang="fr-FR" sz="800" u="sng" dirty="0">
                <a:solidFill>
                  <a:srgbClr val="0563C1"/>
                </a:solidFill>
                <a:latin typeface="Calibri Light"/>
                <a:cs typeface="Calibri Light"/>
              </a:rPr>
              <a:t>Plucina@gcsarchipel971.fr</a:t>
            </a:r>
          </a:p>
        </p:txBody>
      </p:sp>
      <p:pic>
        <p:nvPicPr>
          <p:cNvPr id="68" name="Graphic 67" descr="Marker with solid fill">
            <a:extLst>
              <a:ext uri="{FF2B5EF4-FFF2-40B4-BE49-F238E27FC236}">
                <a16:creationId xmlns:a16="http://schemas.microsoft.com/office/drawing/2014/main" id="{FF4D090F-F697-45EA-861E-E96380A261D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42680" y="3555438"/>
            <a:ext cx="197080" cy="197080"/>
          </a:xfrm>
          <a:prstGeom prst="rect">
            <a:avLst/>
          </a:prstGeom>
        </p:spPr>
      </p:pic>
      <p:sp>
        <p:nvSpPr>
          <p:cNvPr id="69" name="ZoneTexte 41">
            <a:extLst>
              <a:ext uri="{FF2B5EF4-FFF2-40B4-BE49-F238E27FC236}">
                <a16:creationId xmlns:a16="http://schemas.microsoft.com/office/drawing/2014/main" id="{9F072D2D-A840-4970-9DD0-A330D498E479}"/>
              </a:ext>
            </a:extLst>
          </p:cNvPr>
          <p:cNvSpPr txBox="1"/>
          <p:nvPr/>
        </p:nvSpPr>
        <p:spPr>
          <a:xfrm>
            <a:off x="6801349" y="3555227"/>
            <a:ext cx="1709260" cy="377261"/>
          </a:xfrm>
          <a:prstGeom prst="rect">
            <a:avLst/>
          </a:prstGeom>
          <a:noFill/>
        </p:spPr>
        <p:txBody>
          <a:bodyPr wrap="square" lIns="11546" tIns="11546" rIns="11546" bIns="11546" rtlCol="0">
            <a:spAutoFit/>
          </a:bodyPr>
          <a:lstStyle/>
          <a:p>
            <a:pPr defTabSz="586496">
              <a:defRPr/>
            </a:pPr>
            <a:r>
              <a:rPr lang="fr-FR" sz="700" b="1" u="sng" dirty="0">
                <a:solidFill>
                  <a:srgbClr val="000000"/>
                </a:solidFill>
                <a:latin typeface="Calibri" panose="020F0502020204030204"/>
                <a:cs typeface="Calibri" panose="020F0502020204030204" pitchFamily="34" charset="0"/>
              </a:rPr>
              <a:t>MARTINIQUE</a:t>
            </a:r>
          </a:p>
          <a:p>
            <a:pPr defTabSz="586496">
              <a:defRPr/>
            </a:pPr>
            <a:r>
              <a:rPr lang="fr-FR" sz="800" b="1" dirty="0">
                <a:solidFill>
                  <a:srgbClr val="5E5E5E"/>
                </a:solidFill>
                <a:latin typeface="Calibri" panose="020F0502020204030204"/>
                <a:cs typeface="Calibri" panose="020F0502020204030204" pitchFamily="34" charset="0"/>
              </a:rPr>
              <a:t>Frédéric ETTENAT</a:t>
            </a:r>
          </a:p>
          <a:p>
            <a:pPr defTabSz="586496">
              <a:defRPr/>
            </a:pPr>
            <a:r>
              <a:rPr lang="fr-FR" sz="800" u="sng" dirty="0">
                <a:solidFill>
                  <a:srgbClr val="005DA9"/>
                </a:solidFill>
                <a:latin typeface="Calibri Light" panose="020F0302020204030204"/>
                <a:hlinkClick r:id="rId6">
                  <a:extLst>
                    <a:ext uri="{A12FA001-AC4F-418D-AE19-62706E023703}">
                      <ahyp:hlinkClr xmlns:ahyp="http://schemas.microsoft.com/office/drawing/2018/hyperlinkcolor" val="tx"/>
                    </a:ext>
                  </a:extLst>
                </a:hlinkClick>
              </a:rPr>
              <a:t>frederic.ettenat@gcssis-martinique.fr</a:t>
            </a:r>
            <a:endParaRPr lang="fr-FR" sz="800" u="sng" dirty="0">
              <a:solidFill>
                <a:srgbClr val="005DA9"/>
              </a:solidFill>
              <a:latin typeface="Calibri Light" panose="020F0302020204030204"/>
            </a:endParaRPr>
          </a:p>
        </p:txBody>
      </p:sp>
      <p:grpSp>
        <p:nvGrpSpPr>
          <p:cNvPr id="70" name="Group 69">
            <a:extLst>
              <a:ext uri="{FF2B5EF4-FFF2-40B4-BE49-F238E27FC236}">
                <a16:creationId xmlns:a16="http://schemas.microsoft.com/office/drawing/2014/main" id="{DE5EF9D3-9E64-4B47-8AB1-300700408001}"/>
              </a:ext>
            </a:extLst>
          </p:cNvPr>
          <p:cNvGrpSpPr/>
          <p:nvPr/>
        </p:nvGrpSpPr>
        <p:grpSpPr>
          <a:xfrm>
            <a:off x="10583306" y="3072350"/>
            <a:ext cx="1329034" cy="392649"/>
            <a:chOff x="4981415" y="2474973"/>
            <a:chExt cx="2072000" cy="612150"/>
          </a:xfrm>
        </p:grpSpPr>
        <p:sp>
          <p:nvSpPr>
            <p:cNvPr id="71" name="ZoneTexte 41">
              <a:extLst>
                <a:ext uri="{FF2B5EF4-FFF2-40B4-BE49-F238E27FC236}">
                  <a16:creationId xmlns:a16="http://schemas.microsoft.com/office/drawing/2014/main" id="{A268FF96-4EC0-4410-BFBC-03AD6C02A439}"/>
                </a:ext>
              </a:extLst>
            </p:cNvPr>
            <p:cNvSpPr txBox="1"/>
            <p:nvPr/>
          </p:nvSpPr>
          <p:spPr>
            <a:xfrm>
              <a:off x="5203763" y="2474973"/>
              <a:ext cx="1849652" cy="612150"/>
            </a:xfrm>
            <a:prstGeom prst="rect">
              <a:avLst/>
            </a:prstGeom>
            <a:noFill/>
          </p:spPr>
          <p:txBody>
            <a:bodyPr wrap="square" lIns="11546" tIns="11546" rIns="11546" bIns="11546" rtlCol="0">
              <a:spAutoFit/>
            </a:bodyPr>
            <a:lstStyle/>
            <a:p>
              <a:pPr defTabSz="586496">
                <a:defRPr/>
              </a:pPr>
              <a:r>
                <a:rPr lang="fr-FR" sz="700" b="1" u="sng" dirty="0">
                  <a:solidFill>
                    <a:srgbClr val="000000"/>
                  </a:solidFill>
                  <a:latin typeface="Calibri" panose="020F0502020204030204"/>
                  <a:cs typeface="Calibri" panose="020F0502020204030204" pitchFamily="34" charset="0"/>
                </a:rPr>
                <a:t>Grand-Est</a:t>
              </a:r>
              <a:r>
                <a:rPr lang="fr-FR" sz="800" b="1" dirty="0">
                  <a:solidFill>
                    <a:srgbClr val="5E5E5E"/>
                  </a:solidFill>
                  <a:latin typeface="Calibri" panose="020F0502020204030204"/>
                  <a:cs typeface="Calibri" panose="020F0502020204030204" pitchFamily="34" charset="0"/>
                </a:rPr>
                <a:t> </a:t>
              </a:r>
            </a:p>
            <a:p>
              <a:pPr defTabSz="586496">
                <a:defRPr/>
              </a:pPr>
              <a:r>
                <a:rPr lang="fr-FR" sz="800" b="1" i="1" dirty="0">
                  <a:solidFill>
                    <a:srgbClr val="5E5E5E"/>
                  </a:solidFill>
                  <a:latin typeface="Calibri" panose="020F0502020204030204"/>
                  <a:cs typeface="Calibri" panose="020F0502020204030204" pitchFamily="34" charset="0"/>
                </a:rPr>
                <a:t>Clara PIERROT</a:t>
              </a:r>
            </a:p>
            <a:p>
              <a:pPr defTabSz="586496">
                <a:defRPr/>
              </a:pPr>
              <a:r>
                <a:rPr lang="fr-FR" sz="800" u="sng" dirty="0">
                  <a:solidFill>
                    <a:srgbClr val="0563C1"/>
                  </a:solidFill>
                  <a:latin typeface="Calibri Light" panose="020F0302020204030204"/>
                </a:rPr>
                <a:t>Clara.pierrot@pulsy.fr</a:t>
              </a:r>
            </a:p>
          </p:txBody>
        </p:sp>
        <p:pic>
          <p:nvPicPr>
            <p:cNvPr id="72" name="Graphic 71" descr="Marker with solid fill">
              <a:extLst>
                <a:ext uri="{FF2B5EF4-FFF2-40B4-BE49-F238E27FC236}">
                  <a16:creationId xmlns:a16="http://schemas.microsoft.com/office/drawing/2014/main" id="{BD26D6B7-923F-4084-80A6-7922BBCD1C0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81415" y="2487678"/>
              <a:ext cx="307253" cy="307253"/>
            </a:xfrm>
            <a:prstGeom prst="rect">
              <a:avLst/>
            </a:prstGeom>
          </p:spPr>
        </p:pic>
      </p:grpSp>
      <p:pic>
        <p:nvPicPr>
          <p:cNvPr id="73" name="Graphic 72" descr="Marker with solid fill">
            <a:extLst>
              <a:ext uri="{FF2B5EF4-FFF2-40B4-BE49-F238E27FC236}">
                <a16:creationId xmlns:a16="http://schemas.microsoft.com/office/drawing/2014/main" id="{7508A3F6-441A-4FFC-A553-221BB366BF8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72716" y="3355340"/>
            <a:ext cx="197080" cy="197080"/>
          </a:xfrm>
          <a:prstGeom prst="rect">
            <a:avLst/>
          </a:prstGeom>
        </p:spPr>
      </p:pic>
      <p:sp>
        <p:nvSpPr>
          <p:cNvPr id="74" name="ZoneTexte 41">
            <a:extLst>
              <a:ext uri="{FF2B5EF4-FFF2-40B4-BE49-F238E27FC236}">
                <a16:creationId xmlns:a16="http://schemas.microsoft.com/office/drawing/2014/main" id="{26A093BB-ED11-4283-9F2F-AA3D56520248}"/>
              </a:ext>
            </a:extLst>
          </p:cNvPr>
          <p:cNvSpPr txBox="1"/>
          <p:nvPr/>
        </p:nvSpPr>
        <p:spPr>
          <a:xfrm>
            <a:off x="9561914" y="3507168"/>
            <a:ext cx="1217221" cy="377261"/>
          </a:xfrm>
          <a:prstGeom prst="rect">
            <a:avLst/>
          </a:prstGeom>
          <a:noFill/>
        </p:spPr>
        <p:txBody>
          <a:bodyPr wrap="square" lIns="11546" tIns="11546" rIns="11546" bIns="11546" rtlCol="0">
            <a:spAutoFit/>
          </a:bodyPr>
          <a:lstStyle/>
          <a:p>
            <a:pPr defTabSz="586496">
              <a:defRPr/>
            </a:pPr>
            <a:r>
              <a:rPr lang="fr-FR" sz="700" b="1" u="sng" dirty="0">
                <a:solidFill>
                  <a:srgbClr val="000000"/>
                </a:solidFill>
                <a:latin typeface="Calibri" panose="020F0502020204030204"/>
                <a:cs typeface="Calibri" panose="020F0502020204030204" pitchFamily="34" charset="0"/>
              </a:rPr>
              <a:t>CVDL</a:t>
            </a:r>
          </a:p>
          <a:p>
            <a:pPr defTabSz="586496">
              <a:defRPr/>
            </a:pPr>
            <a:r>
              <a:rPr lang="fr-FR" sz="800" b="1" dirty="0">
                <a:solidFill>
                  <a:srgbClr val="5E5E5E"/>
                </a:solidFill>
                <a:latin typeface="Calibri" panose="020F0502020204030204"/>
                <a:cs typeface="Calibri" panose="020F0502020204030204" pitchFamily="34" charset="0"/>
              </a:rPr>
              <a:t>Ibtissem EL GORFTI</a:t>
            </a:r>
          </a:p>
          <a:p>
            <a:pPr defTabSz="586496">
              <a:defRPr/>
            </a:pPr>
            <a:r>
              <a:rPr lang="fr-FR" sz="800" u="sng" dirty="0">
                <a:solidFill>
                  <a:srgbClr val="005DA9"/>
                </a:solidFill>
                <a:latin typeface="Calibri Light" panose="020F0302020204030204"/>
                <a:hlinkClick r:id="rId7">
                  <a:extLst>
                    <a:ext uri="{A12FA001-AC4F-418D-AE19-62706E023703}">
                      <ahyp:hlinkClr xmlns:ahyp="http://schemas.microsoft.com/office/drawing/2018/hyperlinkcolor" val="tx"/>
                    </a:ext>
                  </a:extLst>
                </a:hlinkClick>
              </a:rPr>
              <a:t>ielgorfti@esante-centre.fr</a:t>
            </a:r>
            <a:endParaRPr lang="fr-FR" sz="800" u="sng" dirty="0">
              <a:solidFill>
                <a:srgbClr val="005DA9"/>
              </a:solidFill>
              <a:latin typeface="Calibri Light" panose="020F0302020204030204"/>
            </a:endParaRPr>
          </a:p>
        </p:txBody>
      </p:sp>
      <p:grpSp>
        <p:nvGrpSpPr>
          <p:cNvPr id="75" name="Group 74">
            <a:extLst>
              <a:ext uri="{FF2B5EF4-FFF2-40B4-BE49-F238E27FC236}">
                <a16:creationId xmlns:a16="http://schemas.microsoft.com/office/drawing/2014/main" id="{56FBA1F8-675B-4427-9AB3-045FBB8213C3}"/>
              </a:ext>
            </a:extLst>
          </p:cNvPr>
          <p:cNvGrpSpPr/>
          <p:nvPr/>
        </p:nvGrpSpPr>
        <p:grpSpPr>
          <a:xfrm>
            <a:off x="9670482" y="3009693"/>
            <a:ext cx="527109" cy="394129"/>
            <a:chOff x="4496125" y="2706804"/>
            <a:chExt cx="821779" cy="614458"/>
          </a:xfrm>
        </p:grpSpPr>
        <p:sp>
          <p:nvSpPr>
            <p:cNvPr id="76" name="ZoneTexte 41">
              <a:extLst>
                <a:ext uri="{FF2B5EF4-FFF2-40B4-BE49-F238E27FC236}">
                  <a16:creationId xmlns:a16="http://schemas.microsoft.com/office/drawing/2014/main" id="{834341B6-2E8B-4155-A056-A141CBD5FB14}"/>
                </a:ext>
              </a:extLst>
            </p:cNvPr>
            <p:cNvSpPr txBox="1"/>
            <p:nvPr/>
          </p:nvSpPr>
          <p:spPr>
            <a:xfrm>
              <a:off x="4716028" y="2725439"/>
              <a:ext cx="601876" cy="595823"/>
            </a:xfrm>
            <a:prstGeom prst="rect">
              <a:avLst/>
            </a:prstGeom>
            <a:noFill/>
          </p:spPr>
          <p:txBody>
            <a:bodyPr wrap="square" lIns="11546" tIns="11546" rIns="11546" bIns="11546" rtlCol="0" anchor="t">
              <a:spAutoFit/>
            </a:bodyPr>
            <a:lstStyle/>
            <a:p>
              <a:pPr defTabSz="586496">
                <a:defRPr/>
              </a:pPr>
              <a:r>
                <a:rPr lang="fr-FR" sz="700" b="1" u="sng">
                  <a:solidFill>
                    <a:srgbClr val="000000"/>
                  </a:solidFill>
                  <a:latin typeface="Calibri" panose="020F0502020204030204"/>
                  <a:cs typeface="Calibri" panose="020F0502020204030204" pitchFamily="34" charset="0"/>
                </a:rPr>
                <a:t>IDF</a:t>
              </a:r>
            </a:p>
            <a:p>
              <a:pPr defTabSz="586496">
                <a:defRPr/>
              </a:pPr>
              <a:endParaRPr lang="fr-FR" sz="800" b="1">
                <a:latin typeface="Calibri"/>
                <a:cs typeface="Calibri"/>
              </a:endParaRPr>
            </a:p>
            <a:p>
              <a:pPr defTabSz="586496">
                <a:defRPr/>
              </a:pPr>
              <a:endParaRPr lang="fr-FR" sz="800" b="1">
                <a:solidFill>
                  <a:srgbClr val="5E5E5E"/>
                </a:solidFill>
                <a:latin typeface="Calibri" panose="020F0502020204030204"/>
                <a:cs typeface="Calibri" panose="020F0502020204030204" pitchFamily="34" charset="0"/>
              </a:endParaRPr>
            </a:p>
          </p:txBody>
        </p:sp>
        <p:pic>
          <p:nvPicPr>
            <p:cNvPr id="77" name="Graphic 76" descr="Marker with solid fill">
              <a:extLst>
                <a:ext uri="{FF2B5EF4-FFF2-40B4-BE49-F238E27FC236}">
                  <a16:creationId xmlns:a16="http://schemas.microsoft.com/office/drawing/2014/main" id="{C170901C-76EF-4171-B545-D234525CE2C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496125" y="2706804"/>
              <a:ext cx="307253" cy="307253"/>
            </a:xfrm>
            <a:prstGeom prst="rect">
              <a:avLst/>
            </a:prstGeom>
          </p:spPr>
        </p:pic>
      </p:grpSp>
      <p:pic>
        <p:nvPicPr>
          <p:cNvPr id="78" name="Graphic 77" descr="Marker with solid fill">
            <a:extLst>
              <a:ext uri="{FF2B5EF4-FFF2-40B4-BE49-F238E27FC236}">
                <a16:creationId xmlns:a16="http://schemas.microsoft.com/office/drawing/2014/main" id="{20F038B2-C77D-435B-A7DB-6E8C98A4374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017709" y="3551199"/>
            <a:ext cx="197080" cy="197080"/>
          </a:xfrm>
          <a:prstGeom prst="rect">
            <a:avLst/>
          </a:prstGeom>
        </p:spPr>
      </p:pic>
      <p:sp>
        <p:nvSpPr>
          <p:cNvPr id="79" name="ZoneTexte 41">
            <a:extLst>
              <a:ext uri="{FF2B5EF4-FFF2-40B4-BE49-F238E27FC236}">
                <a16:creationId xmlns:a16="http://schemas.microsoft.com/office/drawing/2014/main" id="{5BC9195F-514A-44F3-A74A-98D4D6321395}"/>
              </a:ext>
            </a:extLst>
          </p:cNvPr>
          <p:cNvSpPr txBox="1"/>
          <p:nvPr/>
        </p:nvSpPr>
        <p:spPr>
          <a:xfrm>
            <a:off x="7951299" y="3733826"/>
            <a:ext cx="1227511" cy="377261"/>
          </a:xfrm>
          <a:prstGeom prst="rect">
            <a:avLst/>
          </a:prstGeom>
          <a:noFill/>
        </p:spPr>
        <p:txBody>
          <a:bodyPr wrap="square" lIns="11546" tIns="11546" rIns="11546" bIns="11546" rtlCol="0">
            <a:spAutoFit/>
          </a:bodyPr>
          <a:lstStyle/>
          <a:p>
            <a:pPr algn="r" defTabSz="586496">
              <a:defRPr/>
            </a:pPr>
            <a:r>
              <a:rPr lang="fr-FR" sz="700" b="1" u="sng" dirty="0">
                <a:solidFill>
                  <a:srgbClr val="000000"/>
                </a:solidFill>
                <a:latin typeface="Calibri" panose="020F0502020204030204"/>
                <a:cs typeface="Calibri" panose="020F0502020204030204" pitchFamily="34" charset="0"/>
              </a:rPr>
              <a:t>PDL</a:t>
            </a:r>
          </a:p>
          <a:p>
            <a:pPr algn="r" defTabSz="586496">
              <a:defRPr/>
            </a:pPr>
            <a:r>
              <a:rPr lang="fr-FR" sz="800" b="1" dirty="0">
                <a:solidFill>
                  <a:srgbClr val="5E5E5E"/>
                </a:solidFill>
                <a:latin typeface="Calibri" panose="020F0502020204030204"/>
                <a:cs typeface="Calibri" panose="020F0502020204030204" pitchFamily="34" charset="0"/>
              </a:rPr>
              <a:t>Camille SIMON</a:t>
            </a:r>
          </a:p>
          <a:p>
            <a:pPr algn="r" defTabSz="586496">
              <a:defRPr/>
            </a:pPr>
            <a:r>
              <a:rPr lang="fr-FR" sz="800" u="sng" dirty="0">
                <a:solidFill>
                  <a:srgbClr val="005DA9"/>
                </a:solidFill>
                <a:latin typeface="Calibri Light" panose="020F0302020204030204"/>
                <a:hlinkClick r:id="rId8">
                  <a:extLst>
                    <a:ext uri="{A12FA001-AC4F-418D-AE19-62706E023703}">
                      <ahyp:hlinkClr xmlns:ahyp="http://schemas.microsoft.com/office/drawing/2018/hyperlinkcolor" val="tx"/>
                    </a:ext>
                  </a:extLst>
                </a:hlinkClick>
              </a:rPr>
              <a:t>camille.simon@ars.sante.fr</a:t>
            </a:r>
            <a:endParaRPr lang="fr-FR" sz="800" u="sng" dirty="0">
              <a:solidFill>
                <a:srgbClr val="005DA9"/>
              </a:solidFill>
              <a:latin typeface="Calibri Light" panose="020F0302020204030204"/>
            </a:endParaRPr>
          </a:p>
        </p:txBody>
      </p:sp>
      <p:grpSp>
        <p:nvGrpSpPr>
          <p:cNvPr id="80" name="Group 79">
            <a:extLst>
              <a:ext uri="{FF2B5EF4-FFF2-40B4-BE49-F238E27FC236}">
                <a16:creationId xmlns:a16="http://schemas.microsoft.com/office/drawing/2014/main" id="{2A8C30AB-42DE-41CF-A746-72084E9269E7}"/>
              </a:ext>
            </a:extLst>
          </p:cNvPr>
          <p:cNvGrpSpPr/>
          <p:nvPr/>
        </p:nvGrpSpPr>
        <p:grpSpPr>
          <a:xfrm>
            <a:off x="9955040" y="4223166"/>
            <a:ext cx="1476831" cy="410014"/>
            <a:chOff x="4189255" y="4073727"/>
            <a:chExt cx="2302420" cy="639224"/>
          </a:xfrm>
        </p:grpSpPr>
        <p:sp>
          <p:nvSpPr>
            <p:cNvPr id="81" name="ZoneTexte 41">
              <a:extLst>
                <a:ext uri="{FF2B5EF4-FFF2-40B4-BE49-F238E27FC236}">
                  <a16:creationId xmlns:a16="http://schemas.microsoft.com/office/drawing/2014/main" id="{81CFF1BE-0D33-4D7D-8E39-B73539314128}"/>
                </a:ext>
              </a:extLst>
            </p:cNvPr>
            <p:cNvSpPr txBox="1"/>
            <p:nvPr/>
          </p:nvSpPr>
          <p:spPr>
            <a:xfrm>
              <a:off x="4434856" y="4100800"/>
              <a:ext cx="2056819" cy="612151"/>
            </a:xfrm>
            <a:prstGeom prst="rect">
              <a:avLst/>
            </a:prstGeom>
            <a:noFill/>
          </p:spPr>
          <p:txBody>
            <a:bodyPr wrap="square" lIns="11546" tIns="11546" rIns="11546" bIns="11546" rtlCol="0" anchor="t">
              <a:spAutoFit/>
            </a:bodyPr>
            <a:lstStyle/>
            <a:p>
              <a:pPr defTabSz="586496">
                <a:defRPr/>
              </a:pPr>
              <a:r>
                <a:rPr lang="fr-FR" sz="700" b="1" u="sng" dirty="0">
                  <a:solidFill>
                    <a:srgbClr val="000000"/>
                  </a:solidFill>
                  <a:latin typeface="Calibri" panose="020F0502020204030204"/>
                  <a:cs typeface="Calibri" panose="020F0502020204030204" pitchFamily="34" charset="0"/>
                </a:rPr>
                <a:t>ARA</a:t>
              </a:r>
              <a:r>
                <a:rPr lang="fr-FR" sz="800" b="1" dirty="0">
                  <a:solidFill>
                    <a:srgbClr val="5E5E5E"/>
                  </a:solidFill>
                  <a:latin typeface="Calibri" panose="020F0502020204030204"/>
                  <a:cs typeface="Calibri" panose="020F0502020204030204" pitchFamily="34" charset="0"/>
                </a:rPr>
                <a:t> </a:t>
              </a:r>
            </a:p>
            <a:p>
              <a:pPr defTabSz="586496">
                <a:defRPr/>
              </a:pPr>
              <a:r>
                <a:rPr lang="fr-FR" sz="800" b="1" dirty="0">
                  <a:solidFill>
                    <a:srgbClr val="5E5E5E"/>
                  </a:solidFill>
                  <a:latin typeface="Calibri" panose="020F0502020204030204"/>
                  <a:cs typeface="Calibri"/>
                </a:rPr>
                <a:t>Sandrine ALLARD</a:t>
              </a:r>
              <a:endParaRPr lang="fr-FR" sz="700" dirty="0">
                <a:solidFill>
                  <a:srgbClr val="5E5E5E"/>
                </a:solidFill>
                <a:latin typeface="Calibri" panose="020F0502020204030204"/>
                <a:cs typeface="Calibri"/>
              </a:endParaRPr>
            </a:p>
            <a:p>
              <a:pPr defTabSz="586496">
                <a:defRPr/>
              </a:pPr>
              <a:r>
                <a:rPr lang="fr-FR" sz="800" u="sng" dirty="0">
                  <a:solidFill>
                    <a:srgbClr val="005DA9"/>
                  </a:solidFill>
                  <a:latin typeface="Calibri Light" panose="020F0302020204030204"/>
                  <a:hlinkClick r:id="rId9">
                    <a:extLst>
                      <a:ext uri="{A12FA001-AC4F-418D-AE19-62706E023703}">
                        <ahyp:hlinkClr xmlns:ahyp="http://schemas.microsoft.com/office/drawing/2018/hyperlinkcolor" val="tx"/>
                      </a:ext>
                    </a:extLst>
                  </a:hlinkClick>
                </a:rPr>
                <a:t>sandrine.allard@ars.sante.fr</a:t>
              </a:r>
              <a:endParaRPr lang="fr-FR" sz="800" u="sng" dirty="0">
                <a:solidFill>
                  <a:srgbClr val="005DA9"/>
                </a:solidFill>
                <a:latin typeface="Calibri Light" panose="020F0302020204030204"/>
              </a:endParaRPr>
            </a:p>
          </p:txBody>
        </p:sp>
        <p:pic>
          <p:nvPicPr>
            <p:cNvPr id="82" name="Graphic 81" descr="Marker with solid fill">
              <a:extLst>
                <a:ext uri="{FF2B5EF4-FFF2-40B4-BE49-F238E27FC236}">
                  <a16:creationId xmlns:a16="http://schemas.microsoft.com/office/drawing/2014/main" id="{867CFCF4-A250-494C-AB39-8536DBD68ED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189255" y="4073727"/>
              <a:ext cx="307253" cy="307253"/>
            </a:xfrm>
            <a:prstGeom prst="rect">
              <a:avLst/>
            </a:prstGeom>
          </p:spPr>
        </p:pic>
      </p:grpSp>
      <p:sp>
        <p:nvSpPr>
          <p:cNvPr id="83" name="ZoneTexte 41">
            <a:extLst>
              <a:ext uri="{FF2B5EF4-FFF2-40B4-BE49-F238E27FC236}">
                <a16:creationId xmlns:a16="http://schemas.microsoft.com/office/drawing/2014/main" id="{9B2D9458-9E87-4902-A122-C33D5C1617F1}"/>
              </a:ext>
            </a:extLst>
          </p:cNvPr>
          <p:cNvSpPr txBox="1"/>
          <p:nvPr/>
        </p:nvSpPr>
        <p:spPr>
          <a:xfrm>
            <a:off x="8354284" y="4151680"/>
            <a:ext cx="1190686" cy="392649"/>
          </a:xfrm>
          <a:prstGeom prst="rect">
            <a:avLst/>
          </a:prstGeom>
          <a:noFill/>
        </p:spPr>
        <p:txBody>
          <a:bodyPr wrap="square" lIns="11546" tIns="11546" rIns="11546" bIns="11546" rtlCol="0">
            <a:spAutoFit/>
          </a:bodyPr>
          <a:lstStyle/>
          <a:p>
            <a:pPr algn="r" defTabSz="586496">
              <a:defRPr/>
            </a:pPr>
            <a:r>
              <a:rPr lang="fr-FR" sz="700" b="1" u="sng" dirty="0">
                <a:solidFill>
                  <a:srgbClr val="000000"/>
                </a:solidFill>
                <a:latin typeface="Calibri" panose="020F0502020204030204"/>
                <a:cs typeface="Calibri" panose="020F0502020204030204" pitchFamily="34" charset="0"/>
              </a:rPr>
              <a:t>NA</a:t>
            </a:r>
            <a:r>
              <a:rPr lang="fr-FR" sz="800" b="1" dirty="0">
                <a:solidFill>
                  <a:srgbClr val="5E5E5E"/>
                </a:solidFill>
                <a:latin typeface="Calibri" panose="020F0502020204030204"/>
                <a:cs typeface="Calibri" panose="020F0502020204030204" pitchFamily="34" charset="0"/>
              </a:rPr>
              <a:t> </a:t>
            </a:r>
          </a:p>
          <a:p>
            <a:pPr algn="r" defTabSz="586496">
              <a:defRPr/>
            </a:pPr>
            <a:r>
              <a:rPr lang="fr-FR" sz="800" b="1" dirty="0">
                <a:solidFill>
                  <a:srgbClr val="5E5E5E"/>
                </a:solidFill>
                <a:latin typeface="Calibri" panose="020F0502020204030204"/>
                <a:cs typeface="Calibri" panose="020F0502020204030204" pitchFamily="34" charset="0"/>
              </a:rPr>
              <a:t>Jérôme SILVESTRE</a:t>
            </a:r>
          </a:p>
          <a:p>
            <a:pPr algn="r" defTabSz="586496">
              <a:defRPr/>
            </a:pPr>
            <a:r>
              <a:rPr lang="fr-FR" sz="800" u="sng" dirty="0">
                <a:solidFill>
                  <a:srgbClr val="005DA9"/>
                </a:solidFill>
                <a:latin typeface="Calibri Light" panose="020F0302020204030204"/>
                <a:hlinkClick r:id="rId10">
                  <a:extLst>
                    <a:ext uri="{A12FA001-AC4F-418D-AE19-62706E023703}">
                      <ahyp:hlinkClr xmlns:ahyp="http://schemas.microsoft.com/office/drawing/2018/hyperlinkcolor" val="tx"/>
                    </a:ext>
                  </a:extLst>
                </a:hlinkClick>
              </a:rPr>
              <a:t>jerome.silvestre@esea-na.fr</a:t>
            </a:r>
            <a:endParaRPr lang="fr-FR" sz="800" u="sng" dirty="0">
              <a:solidFill>
                <a:srgbClr val="005DA9"/>
              </a:solidFill>
              <a:latin typeface="Calibri Light" panose="020F0302020204030204"/>
            </a:endParaRPr>
          </a:p>
        </p:txBody>
      </p:sp>
      <p:pic>
        <p:nvPicPr>
          <p:cNvPr id="84" name="Graphic 83" descr="Marker with solid fill">
            <a:extLst>
              <a:ext uri="{FF2B5EF4-FFF2-40B4-BE49-F238E27FC236}">
                <a16:creationId xmlns:a16="http://schemas.microsoft.com/office/drawing/2014/main" id="{9B6C6304-54E6-431D-895B-78752B8FDB2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504554" y="4136008"/>
            <a:ext cx="197080" cy="197080"/>
          </a:xfrm>
          <a:prstGeom prst="rect">
            <a:avLst/>
          </a:prstGeom>
        </p:spPr>
      </p:pic>
      <p:grpSp>
        <p:nvGrpSpPr>
          <p:cNvPr id="5" name="Group 4">
            <a:extLst>
              <a:ext uri="{FF2B5EF4-FFF2-40B4-BE49-F238E27FC236}">
                <a16:creationId xmlns:a16="http://schemas.microsoft.com/office/drawing/2014/main" id="{5D42BFC6-056A-41DC-B920-A812FBD8E3EB}"/>
              </a:ext>
            </a:extLst>
          </p:cNvPr>
          <p:cNvGrpSpPr/>
          <p:nvPr/>
        </p:nvGrpSpPr>
        <p:grpSpPr>
          <a:xfrm>
            <a:off x="10626495" y="4774945"/>
            <a:ext cx="1273975" cy="392649"/>
            <a:chOff x="10395487" y="4673345"/>
            <a:chExt cx="1273975" cy="392649"/>
          </a:xfrm>
        </p:grpSpPr>
        <p:sp>
          <p:nvSpPr>
            <p:cNvPr id="85" name="ZoneTexte 41">
              <a:extLst>
                <a:ext uri="{FF2B5EF4-FFF2-40B4-BE49-F238E27FC236}">
                  <a16:creationId xmlns:a16="http://schemas.microsoft.com/office/drawing/2014/main" id="{14352991-3CCA-4867-B189-7A771F9295C1}"/>
                </a:ext>
              </a:extLst>
            </p:cNvPr>
            <p:cNvSpPr txBox="1"/>
            <p:nvPr/>
          </p:nvSpPr>
          <p:spPr>
            <a:xfrm>
              <a:off x="10538107" y="4673345"/>
              <a:ext cx="1131355" cy="392649"/>
            </a:xfrm>
            <a:prstGeom prst="rect">
              <a:avLst/>
            </a:prstGeom>
            <a:noFill/>
          </p:spPr>
          <p:txBody>
            <a:bodyPr wrap="square" lIns="11546" tIns="11546" rIns="11546" bIns="11546" rtlCol="0">
              <a:spAutoFit/>
            </a:bodyPr>
            <a:lstStyle/>
            <a:p>
              <a:pPr defTabSz="586496">
                <a:defRPr/>
              </a:pPr>
              <a:r>
                <a:rPr lang="fr-FR" sz="700" b="1" u="sng" dirty="0">
                  <a:solidFill>
                    <a:srgbClr val="000000"/>
                  </a:solidFill>
                  <a:latin typeface="Calibri" panose="020F0502020204030204"/>
                  <a:cs typeface="Calibri" panose="020F0502020204030204" pitchFamily="34" charset="0"/>
                </a:rPr>
                <a:t>PACA</a:t>
              </a:r>
              <a:r>
                <a:rPr lang="fr-FR" sz="800" b="1" dirty="0">
                  <a:solidFill>
                    <a:srgbClr val="5E5E5E"/>
                  </a:solidFill>
                  <a:latin typeface="Calibri" panose="020F0502020204030204"/>
                  <a:cs typeface="Calibri" panose="020F0502020204030204" pitchFamily="34" charset="0"/>
                </a:rPr>
                <a:t> </a:t>
              </a:r>
            </a:p>
            <a:p>
              <a:pPr defTabSz="586496">
                <a:defRPr/>
              </a:pPr>
              <a:r>
                <a:rPr lang="fr-FR" sz="800" b="1" dirty="0">
                  <a:solidFill>
                    <a:srgbClr val="5E5E5E"/>
                  </a:solidFill>
                  <a:latin typeface="Calibri" panose="020F0502020204030204"/>
                  <a:cs typeface="Calibri" panose="020F0502020204030204" pitchFamily="34" charset="0"/>
                </a:rPr>
                <a:t>Muriel ARNOUX</a:t>
              </a:r>
            </a:p>
            <a:p>
              <a:pPr defTabSz="586496">
                <a:defRPr/>
              </a:pPr>
              <a:r>
                <a:rPr lang="fr-FR" sz="800" u="sng" dirty="0">
                  <a:solidFill>
                    <a:srgbClr val="005DA9"/>
                  </a:solidFill>
                  <a:latin typeface="Calibri Light" panose="020F0302020204030204"/>
                  <a:hlinkClick r:id="rId11">
                    <a:extLst>
                      <a:ext uri="{A12FA001-AC4F-418D-AE19-62706E023703}">
                        <ahyp:hlinkClr xmlns:ahyp="http://schemas.microsoft.com/office/drawing/2018/hyperlinkcolor" val="tx"/>
                      </a:ext>
                    </a:extLst>
                  </a:hlinkClick>
                </a:rPr>
                <a:t>marnoux@ies-sud.fr</a:t>
              </a:r>
              <a:endParaRPr lang="fr-FR" sz="800" u="sng" dirty="0">
                <a:solidFill>
                  <a:srgbClr val="005DA9"/>
                </a:solidFill>
                <a:latin typeface="Calibri Light" panose="020F0302020204030204"/>
                <a:cs typeface="Calibri" panose="020F0502020204030204" pitchFamily="34" charset="0"/>
              </a:endParaRPr>
            </a:p>
          </p:txBody>
        </p:sp>
        <p:pic>
          <p:nvPicPr>
            <p:cNvPr id="86" name="Graphic 85" descr="Marker with solid fill">
              <a:extLst>
                <a:ext uri="{FF2B5EF4-FFF2-40B4-BE49-F238E27FC236}">
                  <a16:creationId xmlns:a16="http://schemas.microsoft.com/office/drawing/2014/main" id="{4A23B759-FB51-4CAB-BA85-63C7AE232EA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95487" y="4681495"/>
              <a:ext cx="197080" cy="197080"/>
            </a:xfrm>
            <a:prstGeom prst="rect">
              <a:avLst/>
            </a:prstGeom>
          </p:spPr>
        </p:pic>
      </p:grpSp>
      <p:grpSp>
        <p:nvGrpSpPr>
          <p:cNvPr id="87" name="Group 86">
            <a:extLst>
              <a:ext uri="{FF2B5EF4-FFF2-40B4-BE49-F238E27FC236}">
                <a16:creationId xmlns:a16="http://schemas.microsoft.com/office/drawing/2014/main" id="{4B5AF9DD-1AE2-43FB-B1CB-4A0586835FB7}"/>
              </a:ext>
            </a:extLst>
          </p:cNvPr>
          <p:cNvGrpSpPr/>
          <p:nvPr/>
        </p:nvGrpSpPr>
        <p:grpSpPr>
          <a:xfrm>
            <a:off x="10109384" y="3854164"/>
            <a:ext cx="1500803" cy="377828"/>
            <a:chOff x="4436525" y="3672154"/>
            <a:chExt cx="2339793" cy="589045"/>
          </a:xfrm>
        </p:grpSpPr>
        <p:pic>
          <p:nvPicPr>
            <p:cNvPr id="88" name="Graphic 87" descr="Marker with solid fill">
              <a:extLst>
                <a:ext uri="{FF2B5EF4-FFF2-40B4-BE49-F238E27FC236}">
                  <a16:creationId xmlns:a16="http://schemas.microsoft.com/office/drawing/2014/main" id="{2D90A081-30EC-4A9C-A702-B93B883A094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436525" y="3672154"/>
              <a:ext cx="307253" cy="307254"/>
            </a:xfrm>
            <a:prstGeom prst="rect">
              <a:avLst/>
            </a:prstGeom>
          </p:spPr>
        </p:pic>
        <p:sp>
          <p:nvSpPr>
            <p:cNvPr id="89" name="ZoneTexte 41">
              <a:extLst>
                <a:ext uri="{FF2B5EF4-FFF2-40B4-BE49-F238E27FC236}">
                  <a16:creationId xmlns:a16="http://schemas.microsoft.com/office/drawing/2014/main" id="{E3786060-5BD6-4023-BF41-1EC6B3B3C6E6}"/>
                </a:ext>
              </a:extLst>
            </p:cNvPr>
            <p:cNvSpPr txBox="1"/>
            <p:nvPr/>
          </p:nvSpPr>
          <p:spPr>
            <a:xfrm>
              <a:off x="4655319" y="3673038"/>
              <a:ext cx="2120999" cy="588161"/>
            </a:xfrm>
            <a:prstGeom prst="rect">
              <a:avLst/>
            </a:prstGeom>
            <a:noFill/>
          </p:spPr>
          <p:txBody>
            <a:bodyPr wrap="square" lIns="11546" tIns="11546" rIns="11546" bIns="11546" rtlCol="0">
              <a:spAutoFit/>
            </a:bodyPr>
            <a:lstStyle/>
            <a:p>
              <a:pPr defTabSz="586496">
                <a:defRPr/>
              </a:pPr>
              <a:r>
                <a:rPr lang="fr-FR" sz="700" b="1" u="sng" dirty="0">
                  <a:solidFill>
                    <a:srgbClr val="000000"/>
                  </a:solidFill>
                  <a:latin typeface="Calibri" panose="020F0502020204030204"/>
                  <a:cs typeface="Calibri" panose="020F0502020204030204" pitchFamily="34" charset="0"/>
                </a:rPr>
                <a:t>BFC</a:t>
              </a:r>
            </a:p>
            <a:p>
              <a:pPr defTabSz="586496">
                <a:defRPr/>
              </a:pPr>
              <a:r>
                <a:rPr lang="fr-FR" sz="800" b="1" dirty="0">
                  <a:solidFill>
                    <a:srgbClr val="5E5E5E"/>
                  </a:solidFill>
                  <a:latin typeface="Calibri" panose="020F0502020204030204"/>
                  <a:cs typeface="Calibri" panose="020F0502020204030204" pitchFamily="34" charset="0"/>
                </a:rPr>
                <a:t>Bérénice BRES</a:t>
              </a:r>
            </a:p>
            <a:p>
              <a:pPr defTabSz="586496">
                <a:defRPr/>
              </a:pPr>
              <a:r>
                <a:rPr lang="fr-FR" sz="800" u="sng" dirty="0">
                  <a:solidFill>
                    <a:srgbClr val="005DA9"/>
                  </a:solidFill>
                  <a:latin typeface="Calibri Light" panose="020F0302020204030204"/>
                  <a:hlinkClick r:id="rId12">
                    <a:extLst>
                      <a:ext uri="{A12FA001-AC4F-418D-AE19-62706E023703}">
                        <ahyp:hlinkClr xmlns:ahyp="http://schemas.microsoft.com/office/drawing/2018/hyperlinkcolor" val="tx"/>
                      </a:ext>
                    </a:extLst>
                  </a:hlinkClick>
                </a:rPr>
                <a:t>Berenice.Bres@esante-bfc.fr</a:t>
              </a:r>
              <a:endParaRPr lang="fr-FR" sz="800" u="sng" dirty="0">
                <a:solidFill>
                  <a:srgbClr val="005DA9"/>
                </a:solidFill>
                <a:latin typeface="Calibri Light" panose="020F0302020204030204"/>
              </a:endParaRPr>
            </a:p>
          </p:txBody>
        </p:sp>
      </p:grpSp>
      <p:grpSp>
        <p:nvGrpSpPr>
          <p:cNvPr id="90" name="Group 89">
            <a:extLst>
              <a:ext uri="{FF2B5EF4-FFF2-40B4-BE49-F238E27FC236}">
                <a16:creationId xmlns:a16="http://schemas.microsoft.com/office/drawing/2014/main" id="{A2D9A772-40CC-40D0-BC9F-87B99E18FA5F}"/>
              </a:ext>
            </a:extLst>
          </p:cNvPr>
          <p:cNvGrpSpPr/>
          <p:nvPr/>
        </p:nvGrpSpPr>
        <p:grpSpPr>
          <a:xfrm>
            <a:off x="9716333" y="2554532"/>
            <a:ext cx="1661806" cy="392649"/>
            <a:chOff x="4366450" y="2161713"/>
            <a:chExt cx="2590802" cy="612149"/>
          </a:xfrm>
        </p:grpSpPr>
        <p:sp>
          <p:nvSpPr>
            <p:cNvPr id="91" name="ZoneTexte 41">
              <a:extLst>
                <a:ext uri="{FF2B5EF4-FFF2-40B4-BE49-F238E27FC236}">
                  <a16:creationId xmlns:a16="http://schemas.microsoft.com/office/drawing/2014/main" id="{5BF14C35-1FBA-405C-BD5A-4A7D0233A6CD}"/>
                </a:ext>
              </a:extLst>
            </p:cNvPr>
            <p:cNvSpPr txBox="1"/>
            <p:nvPr/>
          </p:nvSpPr>
          <p:spPr>
            <a:xfrm>
              <a:off x="4588800" y="2161713"/>
              <a:ext cx="2368452" cy="612149"/>
            </a:xfrm>
            <a:prstGeom prst="rect">
              <a:avLst/>
            </a:prstGeom>
            <a:noFill/>
          </p:spPr>
          <p:txBody>
            <a:bodyPr wrap="square" lIns="11546" tIns="11546" rIns="11546" bIns="11546" rtlCol="0">
              <a:spAutoFit/>
            </a:bodyPr>
            <a:lstStyle/>
            <a:p>
              <a:pPr defTabSz="586496">
                <a:defRPr/>
              </a:pPr>
              <a:r>
                <a:rPr lang="fr-FR" sz="700" b="1" u="sng" dirty="0">
                  <a:solidFill>
                    <a:srgbClr val="000000"/>
                  </a:solidFill>
                  <a:latin typeface="Calibri" panose="020F0502020204030204"/>
                  <a:cs typeface="Calibri" panose="020F0502020204030204" pitchFamily="34" charset="0"/>
                </a:rPr>
                <a:t>HDF</a:t>
              </a:r>
              <a:r>
                <a:rPr lang="fr-FR" sz="800" b="1" dirty="0">
                  <a:solidFill>
                    <a:srgbClr val="5E5E5E"/>
                  </a:solidFill>
                  <a:latin typeface="Calibri" panose="020F0502020204030204"/>
                  <a:cs typeface="Calibri" panose="020F0502020204030204" pitchFamily="34" charset="0"/>
                </a:rPr>
                <a:t> </a:t>
              </a:r>
            </a:p>
            <a:p>
              <a:pPr defTabSz="586496">
                <a:defRPr/>
              </a:pPr>
              <a:r>
                <a:rPr lang="fr-FR" sz="800" b="1" dirty="0">
                  <a:solidFill>
                    <a:srgbClr val="5E5E5E"/>
                  </a:solidFill>
                  <a:latin typeface="Calibri" panose="020F0502020204030204"/>
                  <a:cs typeface="Calibri" panose="020F0502020204030204" pitchFamily="34" charset="0"/>
                </a:rPr>
                <a:t>Victorine LEVEQUE</a:t>
              </a:r>
            </a:p>
            <a:p>
              <a:pPr defTabSz="586496">
                <a:defRPr/>
              </a:pPr>
              <a:r>
                <a:rPr lang="fr-FR" sz="800" u="sng" dirty="0">
                  <a:solidFill>
                    <a:srgbClr val="005DA9"/>
                  </a:solidFill>
                  <a:latin typeface="Calibri Light" panose="020F0302020204030204"/>
                  <a:hlinkClick r:id="rId13">
                    <a:extLst>
                      <a:ext uri="{A12FA001-AC4F-418D-AE19-62706E023703}">
                        <ahyp:hlinkClr xmlns:ahyp="http://schemas.microsoft.com/office/drawing/2018/hyperlinkcolor" val="tx"/>
                      </a:ext>
                    </a:extLst>
                  </a:hlinkClick>
                </a:rPr>
                <a:t>victorine.leveque@esante-hdf.fr</a:t>
              </a:r>
              <a:endParaRPr lang="fr-FR" sz="800" u="sng" dirty="0">
                <a:solidFill>
                  <a:srgbClr val="005DA9"/>
                </a:solidFill>
                <a:latin typeface="Calibri Light" panose="020F0302020204030204"/>
              </a:endParaRPr>
            </a:p>
          </p:txBody>
        </p:sp>
        <p:pic>
          <p:nvPicPr>
            <p:cNvPr id="92" name="Graphic 91" descr="Marker with solid fill">
              <a:extLst>
                <a:ext uri="{FF2B5EF4-FFF2-40B4-BE49-F238E27FC236}">
                  <a16:creationId xmlns:a16="http://schemas.microsoft.com/office/drawing/2014/main" id="{C561CFEA-6905-4244-863E-6185D20B832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66450" y="2174418"/>
              <a:ext cx="307253" cy="307253"/>
            </a:xfrm>
            <a:prstGeom prst="rect">
              <a:avLst/>
            </a:prstGeom>
          </p:spPr>
        </p:pic>
      </p:grpSp>
      <p:sp>
        <p:nvSpPr>
          <p:cNvPr id="93" name="ZoneTexte 41">
            <a:extLst>
              <a:ext uri="{FF2B5EF4-FFF2-40B4-BE49-F238E27FC236}">
                <a16:creationId xmlns:a16="http://schemas.microsoft.com/office/drawing/2014/main" id="{61877886-5514-46A6-838B-908BF9B2AFDD}"/>
              </a:ext>
            </a:extLst>
          </p:cNvPr>
          <p:cNvSpPr txBox="1"/>
          <p:nvPr/>
        </p:nvSpPr>
        <p:spPr>
          <a:xfrm>
            <a:off x="9923755" y="5418945"/>
            <a:ext cx="1675713" cy="377261"/>
          </a:xfrm>
          <a:prstGeom prst="rect">
            <a:avLst/>
          </a:prstGeom>
          <a:noFill/>
        </p:spPr>
        <p:txBody>
          <a:bodyPr wrap="square" lIns="11546" tIns="11546" rIns="11546" bIns="11546" rtlCol="0">
            <a:spAutoFit/>
          </a:bodyPr>
          <a:lstStyle/>
          <a:p>
            <a:pPr algn="r" defTabSz="586496">
              <a:defRPr/>
            </a:pPr>
            <a:r>
              <a:rPr lang="fr-FR" sz="700" b="1" u="sng" dirty="0">
                <a:solidFill>
                  <a:srgbClr val="000000"/>
                </a:solidFill>
                <a:latin typeface="Calibri" panose="020F0502020204030204"/>
                <a:cs typeface="Calibri" panose="020F0502020204030204" pitchFamily="34" charset="0"/>
              </a:rPr>
              <a:t>CORSE</a:t>
            </a:r>
          </a:p>
          <a:p>
            <a:pPr algn="r" defTabSz="586496">
              <a:defRPr/>
            </a:pPr>
            <a:r>
              <a:rPr lang="fr-FR" sz="800" b="1" dirty="0">
                <a:solidFill>
                  <a:srgbClr val="5E5E5E"/>
                </a:solidFill>
                <a:latin typeface="Calibri" panose="020F0502020204030204"/>
                <a:cs typeface="Calibri" panose="020F0502020204030204" pitchFamily="34" charset="0"/>
              </a:rPr>
              <a:t>Stéphanie PISANO </a:t>
            </a:r>
            <a:r>
              <a:rPr lang="fr-FR" sz="800" u="sng" dirty="0">
                <a:solidFill>
                  <a:srgbClr val="005DA9"/>
                </a:solidFill>
                <a:latin typeface="Calibri Light" panose="020F0302020204030204"/>
                <a:hlinkClick r:id="rId14">
                  <a:extLst>
                    <a:ext uri="{A12FA001-AC4F-418D-AE19-62706E023703}">
                      <ahyp:hlinkClr xmlns:ahyp="http://schemas.microsoft.com/office/drawing/2018/hyperlinkcolor" val="tx"/>
                    </a:ext>
                  </a:extLst>
                </a:hlinkClick>
              </a:rPr>
              <a:t>stephanie.pisano@corse-esante.fr</a:t>
            </a:r>
            <a:endParaRPr lang="fr-FR" sz="800" u="sng" dirty="0">
              <a:solidFill>
                <a:srgbClr val="005DA9"/>
              </a:solidFill>
              <a:latin typeface="Calibri Light" panose="020F0302020204030204"/>
            </a:endParaRPr>
          </a:p>
        </p:txBody>
      </p:sp>
      <p:pic>
        <p:nvPicPr>
          <p:cNvPr id="94" name="Graphic 93" descr="Marker with solid fill">
            <a:extLst>
              <a:ext uri="{FF2B5EF4-FFF2-40B4-BE49-F238E27FC236}">
                <a16:creationId xmlns:a16="http://schemas.microsoft.com/office/drawing/2014/main" id="{86250FE8-8757-4564-A592-FD10BE6F10D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423419" y="5230927"/>
            <a:ext cx="197080" cy="197080"/>
          </a:xfrm>
          <a:prstGeom prst="rect">
            <a:avLst/>
          </a:prstGeom>
        </p:spPr>
      </p:pic>
      <p:sp>
        <p:nvSpPr>
          <p:cNvPr id="95" name="ZoneTexte 41">
            <a:extLst>
              <a:ext uri="{FF2B5EF4-FFF2-40B4-BE49-F238E27FC236}">
                <a16:creationId xmlns:a16="http://schemas.microsoft.com/office/drawing/2014/main" id="{F83EF597-0C24-4621-B3BE-CC75A06DBEF5}"/>
              </a:ext>
            </a:extLst>
          </p:cNvPr>
          <p:cNvSpPr txBox="1"/>
          <p:nvPr/>
        </p:nvSpPr>
        <p:spPr>
          <a:xfrm>
            <a:off x="8354284" y="4972650"/>
            <a:ext cx="1617368" cy="392649"/>
          </a:xfrm>
          <a:prstGeom prst="rect">
            <a:avLst/>
          </a:prstGeom>
          <a:noFill/>
        </p:spPr>
        <p:txBody>
          <a:bodyPr wrap="square" lIns="11546" tIns="11546" rIns="11546" bIns="11546" rtlCol="0" anchor="t">
            <a:spAutoFit/>
          </a:bodyPr>
          <a:lstStyle/>
          <a:p>
            <a:pPr algn="r" defTabSz="586496">
              <a:defRPr/>
            </a:pPr>
            <a:r>
              <a:rPr lang="fr-FR" sz="700" b="1" u="sng" dirty="0">
                <a:solidFill>
                  <a:srgbClr val="000000"/>
                </a:solidFill>
                <a:latin typeface="Calibri" panose="020F0502020204030204"/>
                <a:cs typeface="Calibri" panose="020F0502020204030204" pitchFamily="34" charset="0"/>
              </a:rPr>
              <a:t>OCCITANIE</a:t>
            </a:r>
            <a:r>
              <a:rPr lang="fr-FR" sz="800" b="1" dirty="0">
                <a:solidFill>
                  <a:srgbClr val="5E5E5E"/>
                </a:solidFill>
                <a:latin typeface="Calibri" panose="020F0502020204030204"/>
                <a:cs typeface="Calibri" panose="020F0502020204030204" pitchFamily="34" charset="0"/>
              </a:rPr>
              <a:t> </a:t>
            </a:r>
          </a:p>
          <a:p>
            <a:pPr algn="r" defTabSz="586496">
              <a:defRPr/>
            </a:pPr>
            <a:r>
              <a:rPr lang="fr-FR" sz="800" b="1" dirty="0">
                <a:solidFill>
                  <a:srgbClr val="5E5E5E"/>
                </a:solidFill>
                <a:latin typeface="Calibri" panose="020F0502020204030204"/>
                <a:cs typeface="Calibri"/>
              </a:rPr>
              <a:t>Laurane BOUSSON</a:t>
            </a:r>
            <a:endParaRPr lang="fr-FR" sz="800" b="1" dirty="0">
              <a:solidFill>
                <a:srgbClr val="5E5E5E"/>
              </a:solidFill>
              <a:latin typeface="Calibri" panose="020F0502020204030204"/>
              <a:cs typeface="Calibri" panose="020F0502020204030204" pitchFamily="34" charset="0"/>
            </a:endParaRPr>
          </a:p>
          <a:p>
            <a:pPr algn="r" defTabSz="586496">
              <a:defRPr/>
            </a:pPr>
            <a:r>
              <a:rPr lang="fr-FR" sz="800" u="sng" dirty="0">
                <a:solidFill>
                  <a:srgbClr val="005DA9"/>
                </a:solidFill>
                <a:latin typeface="Calibri Light" panose="020F0302020204030204"/>
                <a:hlinkClick r:id="rId15">
                  <a:extLst>
                    <a:ext uri="{A12FA001-AC4F-418D-AE19-62706E023703}">
                      <ahyp:hlinkClr xmlns:ahyp="http://schemas.microsoft.com/office/drawing/2018/hyperlinkcolor" val="tx"/>
                    </a:ext>
                  </a:extLst>
                </a:hlinkClick>
              </a:rPr>
              <a:t>laurane.bousson</a:t>
            </a:r>
            <a:r>
              <a:rPr lang="fr-FR" sz="800" u="sng" dirty="0">
                <a:solidFill>
                  <a:srgbClr val="0563C1"/>
                </a:solidFill>
                <a:latin typeface="Calibri Light" panose="020F0302020204030204"/>
                <a:hlinkClick r:id="rId15">
                  <a:extLst>
                    <a:ext uri="{A12FA001-AC4F-418D-AE19-62706E023703}">
                      <ahyp:hlinkClr xmlns:ahyp="http://schemas.microsoft.com/office/drawing/2018/hyperlinkcolor" val="tx"/>
                    </a:ext>
                  </a:extLst>
                </a:hlinkClick>
              </a:rPr>
              <a:t>@esante-occitanie.fr</a:t>
            </a:r>
          </a:p>
        </p:txBody>
      </p:sp>
      <p:pic>
        <p:nvPicPr>
          <p:cNvPr id="96" name="Graphic 95" descr="Marker with solid fill">
            <a:extLst>
              <a:ext uri="{FF2B5EF4-FFF2-40B4-BE49-F238E27FC236}">
                <a16:creationId xmlns:a16="http://schemas.microsoft.com/office/drawing/2014/main" id="{0D29DA97-8E2A-44A0-AF2F-82DAE40B357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89118" y="4789216"/>
            <a:ext cx="197080" cy="197080"/>
          </a:xfrm>
          <a:prstGeom prst="rect">
            <a:avLst/>
          </a:prstGeom>
        </p:spPr>
      </p:pic>
      <p:grpSp>
        <p:nvGrpSpPr>
          <p:cNvPr id="97" name="Group 96">
            <a:extLst>
              <a:ext uri="{FF2B5EF4-FFF2-40B4-BE49-F238E27FC236}">
                <a16:creationId xmlns:a16="http://schemas.microsoft.com/office/drawing/2014/main" id="{10B23472-A4E1-446C-9F10-48EF97C18041}"/>
              </a:ext>
            </a:extLst>
          </p:cNvPr>
          <p:cNvGrpSpPr/>
          <p:nvPr/>
        </p:nvGrpSpPr>
        <p:grpSpPr>
          <a:xfrm>
            <a:off x="7208544" y="3201331"/>
            <a:ext cx="1824695" cy="377261"/>
            <a:chOff x="349437" y="2887002"/>
            <a:chExt cx="2844751" cy="588162"/>
          </a:xfrm>
        </p:grpSpPr>
        <p:sp>
          <p:nvSpPr>
            <p:cNvPr id="98" name="ZoneTexte 41">
              <a:extLst>
                <a:ext uri="{FF2B5EF4-FFF2-40B4-BE49-F238E27FC236}">
                  <a16:creationId xmlns:a16="http://schemas.microsoft.com/office/drawing/2014/main" id="{6BBE17E1-3EEB-46AE-8D7F-1F866F932CFC}"/>
                </a:ext>
              </a:extLst>
            </p:cNvPr>
            <p:cNvSpPr txBox="1"/>
            <p:nvPr/>
          </p:nvSpPr>
          <p:spPr>
            <a:xfrm>
              <a:off x="349437" y="2887002"/>
              <a:ext cx="2588769" cy="588162"/>
            </a:xfrm>
            <a:prstGeom prst="rect">
              <a:avLst/>
            </a:prstGeom>
            <a:noFill/>
          </p:spPr>
          <p:txBody>
            <a:bodyPr wrap="square" lIns="11546" tIns="11546" rIns="11546" bIns="11546" rtlCol="0" anchor="t">
              <a:spAutoFit/>
            </a:bodyPr>
            <a:lstStyle/>
            <a:p>
              <a:pPr algn="r" defTabSz="586496">
                <a:defRPr/>
              </a:pPr>
              <a:r>
                <a:rPr lang="fr-FR" sz="700" b="1" u="sng" dirty="0">
                  <a:solidFill>
                    <a:srgbClr val="000000"/>
                  </a:solidFill>
                  <a:latin typeface="Calibri" panose="020F0502020204030204"/>
                  <a:cs typeface="Calibri" panose="020F0502020204030204" pitchFamily="34" charset="0"/>
                </a:rPr>
                <a:t>BRETAGNE</a:t>
              </a:r>
              <a:r>
                <a:rPr lang="fr-FR" sz="800" b="1" dirty="0">
                  <a:solidFill>
                    <a:srgbClr val="5E5E5E"/>
                  </a:solidFill>
                  <a:latin typeface="Calibri" panose="020F0502020204030204"/>
                  <a:cs typeface="Calibri" panose="020F0502020204030204" pitchFamily="34" charset="0"/>
                </a:rPr>
                <a:t> </a:t>
              </a:r>
            </a:p>
            <a:p>
              <a:pPr algn="r" defTabSz="586496">
                <a:defRPr/>
              </a:pPr>
              <a:r>
                <a:rPr lang="fr-FR" sz="700" b="1" dirty="0">
                  <a:solidFill>
                    <a:srgbClr val="5E5E5E"/>
                  </a:solidFill>
                  <a:latin typeface="Calibri" panose="020F0502020204030204"/>
                  <a:cs typeface="Calibri"/>
                </a:rPr>
                <a:t>Nikita MORVAN</a:t>
              </a:r>
              <a:endParaRPr lang="fr-FR" sz="800" b="1" u="sng" dirty="0">
                <a:solidFill>
                  <a:srgbClr val="0563C1"/>
                </a:solidFill>
                <a:latin typeface="Calibri Light" panose="020F0302020204030204"/>
                <a:cs typeface="Calibri"/>
              </a:endParaRPr>
            </a:p>
            <a:p>
              <a:pPr algn="r" defTabSz="586496">
                <a:defRPr/>
              </a:pPr>
              <a:r>
                <a:rPr lang="fr-FR" sz="800" u="sng" dirty="0">
                  <a:solidFill>
                    <a:srgbClr val="0563C1"/>
                  </a:solidFill>
                  <a:latin typeface="Calibri Light" panose="020F0302020204030204"/>
                </a:rPr>
                <a:t> </a:t>
              </a:r>
              <a:r>
                <a:rPr lang="fr-FR" sz="800" u="sng" dirty="0">
                  <a:solidFill>
                    <a:srgbClr val="005DA9"/>
                  </a:solidFill>
                  <a:latin typeface="Calibri Light" panose="020F0302020204030204"/>
                </a:rPr>
                <a:t>nikita.morvan</a:t>
              </a:r>
              <a:r>
                <a:rPr lang="fr-FR" sz="800" u="sng" dirty="0">
                  <a:solidFill>
                    <a:srgbClr val="005DA9"/>
                  </a:solidFill>
                  <a:latin typeface="Calibri Light" panose="020F0302020204030204"/>
                  <a:hlinkClick r:id="rId16">
                    <a:extLst>
                      <a:ext uri="{A12FA001-AC4F-418D-AE19-62706E023703}">
                        <ahyp:hlinkClr xmlns:ahyp="http://schemas.microsoft.com/office/drawing/2018/hyperlinkcolor" val="tx"/>
                      </a:ext>
                    </a:extLst>
                  </a:hlinkClick>
                </a:rPr>
                <a:t>@esante-</a:t>
              </a:r>
              <a:r>
                <a:rPr lang="fr-FR" sz="800" u="sng" dirty="0">
                  <a:solidFill>
                    <a:srgbClr val="005DA9"/>
                  </a:solidFill>
                  <a:latin typeface="Calibri Light" panose="020F0302020204030204"/>
                </a:rPr>
                <a:t>bretagne.</a:t>
              </a:r>
              <a:r>
                <a:rPr lang="fr-FR" sz="800" u="sng" dirty="0">
                  <a:solidFill>
                    <a:srgbClr val="005DA9"/>
                  </a:solidFill>
                  <a:latin typeface="Calibri Light" panose="020F0302020204030204"/>
                  <a:hlinkClick r:id="rId16">
                    <a:extLst>
                      <a:ext uri="{A12FA001-AC4F-418D-AE19-62706E023703}">
                        <ahyp:hlinkClr xmlns:ahyp="http://schemas.microsoft.com/office/drawing/2018/hyperlinkcolor" val="tx"/>
                      </a:ext>
                    </a:extLst>
                  </a:hlinkClick>
                </a:rPr>
                <a:t>fr</a:t>
              </a:r>
              <a:endParaRPr lang="fr-FR" sz="800" u="sng" dirty="0">
                <a:solidFill>
                  <a:srgbClr val="005DA9"/>
                </a:solidFill>
                <a:latin typeface="Calibri Light" panose="020F0302020204030204"/>
              </a:endParaRPr>
            </a:p>
          </p:txBody>
        </p:sp>
        <p:pic>
          <p:nvPicPr>
            <p:cNvPr id="99" name="Graphic 98" descr="Marker with solid fill">
              <a:extLst>
                <a:ext uri="{FF2B5EF4-FFF2-40B4-BE49-F238E27FC236}">
                  <a16:creationId xmlns:a16="http://schemas.microsoft.com/office/drawing/2014/main" id="{FFA934D2-9B52-4836-AB24-CD4B1433083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886935" y="2990823"/>
              <a:ext cx="307253" cy="307253"/>
            </a:xfrm>
            <a:prstGeom prst="rect">
              <a:avLst/>
            </a:prstGeom>
          </p:spPr>
        </p:pic>
      </p:grpSp>
      <p:pic>
        <p:nvPicPr>
          <p:cNvPr id="100" name="Graphic 99" descr="Marker with solid fill">
            <a:extLst>
              <a:ext uri="{FF2B5EF4-FFF2-40B4-BE49-F238E27FC236}">
                <a16:creationId xmlns:a16="http://schemas.microsoft.com/office/drawing/2014/main" id="{7B40C415-7B63-434A-BCB3-81B8C4D19A6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52217" y="5463451"/>
            <a:ext cx="197080" cy="197080"/>
          </a:xfrm>
          <a:prstGeom prst="rect">
            <a:avLst/>
          </a:prstGeom>
        </p:spPr>
      </p:pic>
      <p:sp>
        <p:nvSpPr>
          <p:cNvPr id="101" name="ZoneTexte 41">
            <a:extLst>
              <a:ext uri="{FF2B5EF4-FFF2-40B4-BE49-F238E27FC236}">
                <a16:creationId xmlns:a16="http://schemas.microsoft.com/office/drawing/2014/main" id="{9C476AF3-EF34-4452-8716-7B78C1D92949}"/>
              </a:ext>
            </a:extLst>
          </p:cNvPr>
          <p:cNvSpPr txBox="1"/>
          <p:nvPr/>
        </p:nvSpPr>
        <p:spPr>
          <a:xfrm>
            <a:off x="6799843" y="5452197"/>
            <a:ext cx="1005749" cy="377261"/>
          </a:xfrm>
          <a:prstGeom prst="rect">
            <a:avLst/>
          </a:prstGeom>
          <a:noFill/>
        </p:spPr>
        <p:txBody>
          <a:bodyPr wrap="square" lIns="11546" tIns="11546" rIns="11546" bIns="11546" rtlCol="0" anchor="t">
            <a:spAutoFit/>
          </a:bodyPr>
          <a:lstStyle/>
          <a:p>
            <a:pPr defTabSz="586496">
              <a:defRPr/>
            </a:pPr>
            <a:r>
              <a:rPr lang="fr-FR" sz="700" b="1" u="sng">
                <a:solidFill>
                  <a:srgbClr val="000000"/>
                </a:solidFill>
                <a:latin typeface="Calibri" panose="020F0502020204030204"/>
                <a:cs typeface="Calibri" panose="020F0502020204030204" pitchFamily="34" charset="0"/>
              </a:rPr>
              <a:t>MAYOTTE</a:t>
            </a:r>
          </a:p>
          <a:p>
            <a:pPr defTabSz="586496">
              <a:defRPr/>
            </a:pPr>
            <a:r>
              <a:rPr lang="fr-FR" sz="800" b="1">
                <a:solidFill>
                  <a:srgbClr val="5E5E5E"/>
                </a:solidFill>
                <a:latin typeface="Calibri" panose="020F0502020204030204"/>
                <a:cs typeface="Calibri"/>
              </a:rPr>
              <a:t>Rachel VIRGINIUS</a:t>
            </a:r>
          </a:p>
          <a:p>
            <a:pPr defTabSz="586496">
              <a:defRPr/>
            </a:pPr>
            <a:r>
              <a:rPr lang="fr-FR" sz="800" u="sng">
                <a:solidFill>
                  <a:srgbClr val="0563C1"/>
                </a:solidFill>
                <a:latin typeface="Calibri Light"/>
                <a:ea typeface="+mn-lt"/>
                <a:cs typeface="Calibri Light"/>
              </a:rPr>
              <a:t>r.virginius@tesis.re </a:t>
            </a:r>
            <a:endParaRPr lang="fr-FR"/>
          </a:p>
        </p:txBody>
      </p:sp>
      <p:pic>
        <p:nvPicPr>
          <p:cNvPr id="102" name="Graphic 101" descr="Marker with solid fill">
            <a:extLst>
              <a:ext uri="{FF2B5EF4-FFF2-40B4-BE49-F238E27FC236}">
                <a16:creationId xmlns:a16="http://schemas.microsoft.com/office/drawing/2014/main" id="{CD8405B6-0A07-4D8D-BB6D-562A6154F45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65318" y="2765528"/>
            <a:ext cx="197080" cy="197080"/>
          </a:xfrm>
          <a:prstGeom prst="rect">
            <a:avLst/>
          </a:prstGeom>
        </p:spPr>
      </p:pic>
      <p:sp>
        <p:nvSpPr>
          <p:cNvPr id="103" name="ZoneTexte 41">
            <a:extLst>
              <a:ext uri="{FF2B5EF4-FFF2-40B4-BE49-F238E27FC236}">
                <a16:creationId xmlns:a16="http://schemas.microsoft.com/office/drawing/2014/main" id="{9B84680A-A06C-46DC-BE75-84B005960732}"/>
              </a:ext>
            </a:extLst>
          </p:cNvPr>
          <p:cNvSpPr txBox="1"/>
          <p:nvPr/>
        </p:nvSpPr>
        <p:spPr>
          <a:xfrm>
            <a:off x="7960958" y="2765413"/>
            <a:ext cx="1556559" cy="377261"/>
          </a:xfrm>
          <a:prstGeom prst="rect">
            <a:avLst/>
          </a:prstGeom>
          <a:noFill/>
        </p:spPr>
        <p:txBody>
          <a:bodyPr wrap="square" lIns="11546" tIns="11546" rIns="11546" bIns="11546" rtlCol="0" anchor="t">
            <a:spAutoFit/>
          </a:bodyPr>
          <a:lstStyle/>
          <a:p>
            <a:pPr algn="r" defTabSz="586496">
              <a:defRPr/>
            </a:pPr>
            <a:r>
              <a:rPr lang="fr-FR" sz="700" b="1" u="sng" dirty="0">
                <a:solidFill>
                  <a:srgbClr val="000000"/>
                </a:solidFill>
                <a:latin typeface="Calibri" panose="020F0502020204030204"/>
                <a:cs typeface="Calibri" panose="020F0502020204030204" pitchFamily="34" charset="0"/>
              </a:rPr>
              <a:t>NORMANDIE</a:t>
            </a:r>
          </a:p>
          <a:p>
            <a:pPr algn="r" defTabSz="586496">
              <a:defRPr/>
            </a:pPr>
            <a:r>
              <a:rPr lang="fr-FR" sz="800" b="1">
                <a:solidFill>
                  <a:srgbClr val="5E5E5E"/>
                </a:solidFill>
                <a:latin typeface="Calibri" panose="020F0502020204030204"/>
                <a:cs typeface="Calibri"/>
              </a:rPr>
              <a:t>Amandine HECQUARD</a:t>
            </a:r>
            <a:endParaRPr lang="fr-FR" sz="800" dirty="0">
              <a:solidFill>
                <a:srgbClr val="5E5E5E"/>
              </a:solidFill>
              <a:latin typeface="Calibri" panose="020F0502020204030204"/>
              <a:cs typeface="Calibri"/>
            </a:endParaRPr>
          </a:p>
          <a:p>
            <a:pPr algn="r" defTabSz="586496">
              <a:defRPr/>
            </a:pPr>
            <a:r>
              <a:rPr lang="fr-FR" sz="800" dirty="0">
                <a:solidFill>
                  <a:srgbClr val="005DA9"/>
                </a:solidFill>
                <a:latin typeface="Calibri" panose="020F0502020204030204"/>
                <a:cs typeface="Calibri"/>
                <a:hlinkClick r:id="rId17">
                  <a:extLst>
                    <a:ext uri="{A12FA001-AC4F-418D-AE19-62706E023703}">
                      <ahyp:hlinkClr xmlns:ahyp="http://schemas.microsoft.com/office/drawing/2018/hyperlinkcolor" val="tx"/>
                    </a:ext>
                  </a:extLst>
                </a:hlinkClick>
              </a:rPr>
              <a:t>amandine.hecquard@ars.sante.fr</a:t>
            </a:r>
            <a:endParaRPr lang="fr-FR" sz="800" dirty="0">
              <a:solidFill>
                <a:srgbClr val="005DA9"/>
              </a:solidFill>
              <a:latin typeface="Calibri" panose="020F0502020204030204"/>
              <a:cs typeface="Calibri"/>
            </a:endParaRPr>
          </a:p>
        </p:txBody>
      </p:sp>
      <p:sp>
        <p:nvSpPr>
          <p:cNvPr id="104" name="TextBox 103">
            <a:extLst>
              <a:ext uri="{FF2B5EF4-FFF2-40B4-BE49-F238E27FC236}">
                <a16:creationId xmlns:a16="http://schemas.microsoft.com/office/drawing/2014/main" id="{E9F2B58B-44B5-4DA6-8FF0-6EEEDCD8BBF6}"/>
              </a:ext>
            </a:extLst>
          </p:cNvPr>
          <p:cNvSpPr txBox="1"/>
          <p:nvPr/>
        </p:nvSpPr>
        <p:spPr>
          <a:xfrm>
            <a:off x="7396444" y="1728609"/>
            <a:ext cx="3556787" cy="692497"/>
          </a:xfrm>
          <a:prstGeom prst="rect">
            <a:avLst/>
          </a:prstGeom>
          <a:solidFill>
            <a:schemeClr val="bg1"/>
          </a:solidFill>
        </p:spPr>
        <p:txBody>
          <a:bodyPr wrap="square">
            <a:spAutoFit/>
          </a:bodyPr>
          <a:lstStyle/>
          <a:p>
            <a:pPr algn="ctr" defTabSz="293248"/>
            <a:r>
              <a:rPr lang="fr-FR" sz="1300" b="1">
                <a:solidFill>
                  <a:srgbClr val="005CA9"/>
                </a:solidFill>
                <a:latin typeface="Arial Narrow" panose="020B0606020202030204" pitchFamily="34" charset="0"/>
                <a:cs typeface="Arial" panose="020B0604020202020204" pitchFamily="34" charset="0"/>
              </a:rPr>
              <a:t>Vous voulez réaliser une action de sensibilisation au sein de votre structure : </a:t>
            </a:r>
          </a:p>
          <a:p>
            <a:pPr algn="ctr" defTabSz="293248"/>
            <a:r>
              <a:rPr lang="fr-FR" sz="1300" b="1">
                <a:solidFill>
                  <a:srgbClr val="005CA9"/>
                </a:solidFill>
                <a:latin typeface="Arial Narrow" panose="020B0606020202030204" pitchFamily="34" charset="0"/>
                <a:cs typeface="Arial" panose="020B0604020202020204" pitchFamily="34" charset="0"/>
              </a:rPr>
              <a:t>contactez votre coordinateur régional ! </a:t>
            </a:r>
          </a:p>
        </p:txBody>
      </p:sp>
      <p:pic>
        <p:nvPicPr>
          <p:cNvPr id="22" name="Graphic 21" descr="Marker with solid fill">
            <a:extLst>
              <a:ext uri="{FF2B5EF4-FFF2-40B4-BE49-F238E27FC236}">
                <a16:creationId xmlns:a16="http://schemas.microsoft.com/office/drawing/2014/main" id="{14E41C58-28E1-4835-8E19-D49E46626B2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42680" y="4810437"/>
            <a:ext cx="197080" cy="197080"/>
          </a:xfrm>
          <a:prstGeom prst="rect">
            <a:avLst/>
          </a:prstGeom>
        </p:spPr>
      </p:pic>
      <p:sp>
        <p:nvSpPr>
          <p:cNvPr id="2" name="TextBox 1">
            <a:extLst>
              <a:ext uri="{FF2B5EF4-FFF2-40B4-BE49-F238E27FC236}">
                <a16:creationId xmlns:a16="http://schemas.microsoft.com/office/drawing/2014/main" id="{B2AE5258-6ACA-F7B6-7517-697353BACB22}"/>
              </a:ext>
            </a:extLst>
          </p:cNvPr>
          <p:cNvSpPr txBox="1"/>
          <p:nvPr/>
        </p:nvSpPr>
        <p:spPr>
          <a:xfrm>
            <a:off x="9397356" y="3062255"/>
            <a:ext cx="1274562" cy="3488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p>
            <a:pPr defTabSz="2438338" hangingPunct="0"/>
            <a:r>
              <a:rPr lang="fr-FR" sz="800" b="1" dirty="0">
                <a:latin typeface="Calibri"/>
                <a:cs typeface="Segoe UI"/>
              </a:rPr>
              <a:t>Léa Rocha Gameira</a:t>
            </a:r>
          </a:p>
          <a:p>
            <a:pPr defTabSz="2438338"/>
            <a:r>
              <a:rPr lang="fr-FR" sz="800" u="sng" dirty="0">
                <a:solidFill>
                  <a:srgbClr val="0563C1"/>
                </a:solidFill>
                <a:latin typeface="Calibri Light" panose="020F0302020204030204"/>
              </a:rPr>
              <a:t>lea.rocha-gameira@sesan.fr</a:t>
            </a:r>
          </a:p>
        </p:txBody>
      </p:sp>
    </p:spTree>
    <p:extLst>
      <p:ext uri="{BB962C8B-B14F-4D97-AF65-F5344CB8AC3E}">
        <p14:creationId xmlns:p14="http://schemas.microsoft.com/office/powerpoint/2010/main" val="3013756176"/>
      </p:ext>
    </p:extLst>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6" name="Picture 95">
            <a:extLst>
              <a:ext uri="{FF2B5EF4-FFF2-40B4-BE49-F238E27FC236}">
                <a16:creationId xmlns:a16="http://schemas.microsoft.com/office/drawing/2014/main" id="{DEAD4842-0802-4F9C-B1B3-48AAB4DF5C08}"/>
              </a:ext>
            </a:extLst>
          </p:cNvPr>
          <p:cNvPicPr>
            <a:picLocks noChangeAspect="1"/>
          </p:cNvPicPr>
          <p:nvPr/>
        </p:nvPicPr>
        <p:blipFill>
          <a:blip r:embed="rId2" cstate="screen">
            <a:duotone>
              <a:srgbClr val="21215A">
                <a:shade val="45000"/>
                <a:satMod val="135000"/>
              </a:srgbClr>
              <a:prstClr val="white"/>
            </a:duotone>
            <a:extLst>
              <a:ext uri="{28A0092B-C50C-407E-A947-70E740481C1C}">
                <a14:useLocalDpi xmlns:a14="http://schemas.microsoft.com/office/drawing/2010/main"/>
              </a:ext>
            </a:extLst>
          </a:blip>
          <a:stretch>
            <a:fillRect/>
          </a:stretch>
        </p:blipFill>
        <p:spPr>
          <a:xfrm rot="1839887">
            <a:off x="251807" y="1719066"/>
            <a:ext cx="939036" cy="672469"/>
          </a:xfrm>
          <a:prstGeom prst="rect">
            <a:avLst/>
          </a:prstGeom>
        </p:spPr>
      </p:pic>
      <p:sp>
        <p:nvSpPr>
          <p:cNvPr id="3" name="Slide Number Placeholder 2">
            <a:extLst>
              <a:ext uri="{FF2B5EF4-FFF2-40B4-BE49-F238E27FC236}">
                <a16:creationId xmlns:a16="http://schemas.microsoft.com/office/drawing/2014/main" id="{2477F937-A2E8-491A-AB2E-65416E1B8E3C}"/>
              </a:ext>
            </a:extLst>
          </p:cNvPr>
          <p:cNvSpPr>
            <a:spLocks noGrp="1"/>
          </p:cNvSpPr>
          <p:nvPr>
            <p:ph type="sldNum" sz="quarter" idx="2"/>
          </p:nvPr>
        </p:nvSpPr>
        <p:spPr/>
        <p:txBody>
          <a:bodyPr/>
          <a:lstStyle/>
          <a:p>
            <a:pPr marL="0" marR="0" lvl="0" indent="0" algn="l" defTabSz="292100" rtl="0" eaLnBrk="1" fontAlgn="auto" latinLnBrk="0" hangingPunct="1">
              <a:lnSpc>
                <a:spcPct val="100000"/>
              </a:lnSpc>
              <a:spcBef>
                <a:spcPts val="0"/>
              </a:spcBef>
              <a:spcAft>
                <a:spcPts val="0"/>
              </a:spcAft>
              <a:buClrTx/>
              <a:buSzTx/>
              <a:buFontTx/>
              <a:buNone/>
              <a:tabLst/>
              <a:defRPr/>
            </a:pPr>
            <a:fld id="{86CB4B4D-7CA3-9044-876B-883B54F8677D}" type="slidenum">
              <a:rPr kumimoji="0" lang="fr-FR" b="0" i="0" u="none" strike="noStrike" kern="1200" cap="none" spc="0" normalizeH="0" baseline="0" noProof="0" smtClean="0">
                <a:ln>
                  <a:noFill/>
                </a:ln>
                <a:solidFill>
                  <a:srgbClr val="DB3080"/>
                </a:solidFill>
                <a:effectLst/>
                <a:uLnTx/>
                <a:uFillTx/>
                <a:latin typeface="Arial"/>
                <a:cs typeface="Arial"/>
                <a:sym typeface="Arial"/>
              </a:rPr>
              <a:pPr marL="0" marR="0" lvl="0" indent="0" algn="l" defTabSz="292100" rtl="0" eaLnBrk="1" fontAlgn="auto" latinLnBrk="0" hangingPunct="1">
                <a:lnSpc>
                  <a:spcPct val="100000"/>
                </a:lnSpc>
                <a:spcBef>
                  <a:spcPts val="0"/>
                </a:spcBef>
                <a:spcAft>
                  <a:spcPts val="0"/>
                </a:spcAft>
                <a:buClrTx/>
                <a:buSzTx/>
                <a:buFontTx/>
                <a:buNone/>
                <a:tabLst/>
                <a:defRPr/>
              </a:pPr>
              <a:t>36</a:t>
            </a:fld>
            <a:endParaRPr kumimoji="0" lang="fr-FR" b="0" i="0" u="none" strike="noStrike" kern="1200" cap="none" spc="0" normalizeH="0" baseline="0" noProof="0">
              <a:ln>
                <a:noFill/>
              </a:ln>
              <a:solidFill>
                <a:srgbClr val="DB3080"/>
              </a:solidFill>
              <a:effectLst/>
              <a:uLnTx/>
              <a:uFillTx/>
              <a:latin typeface="Arial"/>
              <a:cs typeface="Arial"/>
              <a:sym typeface="Arial"/>
            </a:endParaRPr>
          </a:p>
        </p:txBody>
      </p:sp>
      <p:sp>
        <p:nvSpPr>
          <p:cNvPr id="4" name="Title 3">
            <a:extLst>
              <a:ext uri="{FF2B5EF4-FFF2-40B4-BE49-F238E27FC236}">
                <a16:creationId xmlns:a16="http://schemas.microsoft.com/office/drawing/2014/main" id="{F57C3221-78C4-4A4D-ACD7-D51A4097546C}"/>
              </a:ext>
            </a:extLst>
          </p:cNvPr>
          <p:cNvSpPr>
            <a:spLocks noGrp="1"/>
          </p:cNvSpPr>
          <p:nvPr>
            <p:ph type="title"/>
          </p:nvPr>
        </p:nvSpPr>
        <p:spPr>
          <a:xfrm>
            <a:off x="2313517" y="16625"/>
            <a:ext cx="8811683" cy="1133342"/>
          </a:xfrm>
        </p:spPr>
        <p:txBody>
          <a:bodyPr>
            <a:normAutofit/>
          </a:bodyPr>
          <a:lstStyle/>
          <a:p>
            <a:r>
              <a:rPr lang="fr-FR" kern="1200">
                <a:latin typeface="Arial"/>
                <a:cs typeface="Arial"/>
              </a:rPr>
              <a:t>Un exemple de parcours ambassadeur</a:t>
            </a:r>
            <a:endParaRPr lang="en-US"/>
          </a:p>
        </p:txBody>
      </p:sp>
      <p:grpSp>
        <p:nvGrpSpPr>
          <p:cNvPr id="51" name="Group 50">
            <a:extLst>
              <a:ext uri="{FF2B5EF4-FFF2-40B4-BE49-F238E27FC236}">
                <a16:creationId xmlns:a16="http://schemas.microsoft.com/office/drawing/2014/main" id="{9ADF53AD-FF72-4CC6-A15A-6409D93747B9}"/>
              </a:ext>
            </a:extLst>
          </p:cNvPr>
          <p:cNvGrpSpPr/>
          <p:nvPr/>
        </p:nvGrpSpPr>
        <p:grpSpPr>
          <a:xfrm>
            <a:off x="4578742" y="6281443"/>
            <a:ext cx="295772" cy="420306"/>
            <a:chOff x="4525567" y="2751341"/>
            <a:chExt cx="414215" cy="499750"/>
          </a:xfrm>
        </p:grpSpPr>
        <p:pic>
          <p:nvPicPr>
            <p:cNvPr id="52" name="Picture 51">
              <a:extLst>
                <a:ext uri="{FF2B5EF4-FFF2-40B4-BE49-F238E27FC236}">
                  <a16:creationId xmlns:a16="http://schemas.microsoft.com/office/drawing/2014/main" id="{5665C0A8-62CE-45AE-8FEF-4ED7683C976F}"/>
                </a:ext>
              </a:extLst>
            </p:cNvPr>
            <p:cNvPicPr>
              <a:picLocks noChangeAspect="1"/>
            </p:cNvPicPr>
            <p:nvPr/>
          </p:nvPicPr>
          <p:blipFill>
            <a:blip r:embed="rId3"/>
            <a:stretch>
              <a:fillRect/>
            </a:stretch>
          </p:blipFill>
          <p:spPr>
            <a:xfrm>
              <a:off x="4525567" y="2751341"/>
              <a:ext cx="333166" cy="499750"/>
            </a:xfrm>
            <a:prstGeom prst="rect">
              <a:avLst/>
            </a:prstGeom>
          </p:spPr>
        </p:pic>
        <p:pic>
          <p:nvPicPr>
            <p:cNvPr id="53" name="Image 6">
              <a:extLst>
                <a:ext uri="{FF2B5EF4-FFF2-40B4-BE49-F238E27FC236}">
                  <a16:creationId xmlns:a16="http://schemas.microsoft.com/office/drawing/2014/main" id="{D2773C8A-5CD7-4804-96DE-784C0493FB06}"/>
                </a:ext>
              </a:extLst>
            </p:cNvPr>
            <p:cNvPicPr>
              <a:picLocks noChangeAspect="1"/>
            </p:cNvPicPr>
            <p:nvPr/>
          </p:nvPicPr>
          <p:blipFill rotWithShape="1">
            <a:blip r:embed="rId4"/>
            <a:srcRect l="-1" r="2448"/>
            <a:stretch/>
          </p:blipFill>
          <p:spPr>
            <a:xfrm>
              <a:off x="4705976" y="2907190"/>
              <a:ext cx="233806" cy="239035"/>
            </a:xfrm>
            <a:prstGeom prst="rect">
              <a:avLst/>
            </a:prstGeom>
          </p:spPr>
        </p:pic>
      </p:grpSp>
      <p:sp>
        <p:nvSpPr>
          <p:cNvPr id="55" name="TextBox 44">
            <a:extLst>
              <a:ext uri="{FF2B5EF4-FFF2-40B4-BE49-F238E27FC236}">
                <a16:creationId xmlns:a16="http://schemas.microsoft.com/office/drawing/2014/main" id="{92E9755C-410D-4585-B003-431B07C9D7AD}"/>
              </a:ext>
            </a:extLst>
          </p:cNvPr>
          <p:cNvSpPr txBox="1"/>
          <p:nvPr/>
        </p:nvSpPr>
        <p:spPr>
          <a:xfrm>
            <a:off x="1028564" y="1829138"/>
            <a:ext cx="2074338" cy="507831"/>
          </a:xfrm>
          <a:prstGeom prst="rect">
            <a:avLst/>
          </a:prstGeom>
          <a:noFill/>
          <a:ln>
            <a:noFill/>
          </a:ln>
        </p:spPr>
        <p:txBody>
          <a:bodyPr wrap="square" lIns="0" tIns="0" rIns="0" bIns="0" rtlCol="0">
            <a:spAutoFit/>
          </a:bodyPr>
          <a:lstStyle/>
          <a:p>
            <a:pPr defTabSz="685800">
              <a:defRPr/>
            </a:pPr>
            <a:r>
              <a:rPr lang="fr-FR" sz="1100" b="1">
                <a:solidFill>
                  <a:srgbClr val="21215A"/>
                </a:solidFill>
                <a:latin typeface="Arial"/>
              </a:rPr>
              <a:t>INTÉGRATION DE LA COMMUNAUTÉ DES AMBASSADEURS</a:t>
            </a:r>
            <a:endParaRPr lang="fr-FR" sz="1000" b="1">
              <a:solidFill>
                <a:srgbClr val="21215A"/>
              </a:solidFill>
              <a:latin typeface="Arial"/>
            </a:endParaRPr>
          </a:p>
        </p:txBody>
      </p:sp>
      <p:sp>
        <p:nvSpPr>
          <p:cNvPr id="56" name="TextBox 44">
            <a:extLst>
              <a:ext uri="{FF2B5EF4-FFF2-40B4-BE49-F238E27FC236}">
                <a16:creationId xmlns:a16="http://schemas.microsoft.com/office/drawing/2014/main" id="{96476124-A34C-4AC0-A468-14B6332F438B}"/>
              </a:ext>
            </a:extLst>
          </p:cNvPr>
          <p:cNvSpPr txBox="1"/>
          <p:nvPr/>
        </p:nvSpPr>
        <p:spPr>
          <a:xfrm>
            <a:off x="2881321" y="1829138"/>
            <a:ext cx="3198420" cy="338554"/>
          </a:xfrm>
          <a:prstGeom prst="rect">
            <a:avLst/>
          </a:prstGeom>
          <a:noFill/>
          <a:ln>
            <a:noFill/>
          </a:ln>
        </p:spPr>
        <p:txBody>
          <a:bodyPr wrap="square" lIns="0" tIns="0" rIns="0" bIns="0" rtlCol="0">
            <a:spAutoFit/>
          </a:bodyPr>
          <a:lstStyle/>
          <a:p>
            <a:pPr defTabSz="685800">
              <a:defRPr/>
            </a:pPr>
            <a:r>
              <a:rPr lang="fr-FR" sz="1100" b="1">
                <a:solidFill>
                  <a:srgbClr val="21215A"/>
                </a:solidFill>
                <a:latin typeface="Arial"/>
              </a:rPr>
              <a:t>Si je ne suis pas identifié, je contacte mon </a:t>
            </a:r>
            <a:r>
              <a:rPr lang="fr-FR" sz="1100" b="1">
                <a:solidFill>
                  <a:srgbClr val="21215A">
                    <a:lumMod val="60000"/>
                    <a:lumOff val="40000"/>
                  </a:srgbClr>
                </a:solidFill>
                <a:latin typeface="Arial"/>
              </a:rPr>
              <a:t>coordinateur régional pour me faire connaître</a:t>
            </a:r>
            <a:endParaRPr lang="fr-FR" sz="1000" b="1">
              <a:solidFill>
                <a:prstClr val="black"/>
              </a:solidFill>
              <a:latin typeface="Arial"/>
            </a:endParaRPr>
          </a:p>
        </p:txBody>
      </p:sp>
      <p:sp>
        <p:nvSpPr>
          <p:cNvPr id="57" name="TextBox 44">
            <a:extLst>
              <a:ext uri="{FF2B5EF4-FFF2-40B4-BE49-F238E27FC236}">
                <a16:creationId xmlns:a16="http://schemas.microsoft.com/office/drawing/2014/main" id="{04FB88BA-31B1-4DED-9DA4-F8E490FA056B}"/>
              </a:ext>
            </a:extLst>
          </p:cNvPr>
          <p:cNvSpPr txBox="1"/>
          <p:nvPr/>
        </p:nvSpPr>
        <p:spPr>
          <a:xfrm>
            <a:off x="2881321" y="3044718"/>
            <a:ext cx="3024853" cy="846386"/>
          </a:xfrm>
          <a:prstGeom prst="rect">
            <a:avLst/>
          </a:prstGeom>
          <a:noFill/>
          <a:ln>
            <a:noFill/>
          </a:ln>
        </p:spPr>
        <p:txBody>
          <a:bodyPr wrap="square" lIns="0" tIns="0" rIns="0" bIns="0" rtlCol="0">
            <a:spAutoFit/>
          </a:bodyPr>
          <a:lstStyle/>
          <a:p>
            <a:pPr defTabSz="685800">
              <a:defRPr/>
            </a:pPr>
            <a:r>
              <a:rPr lang="fr-FR" sz="1100" b="1">
                <a:solidFill>
                  <a:srgbClr val="21215A"/>
                </a:solidFill>
                <a:latin typeface="Arial"/>
              </a:rPr>
              <a:t>Pour </a:t>
            </a:r>
            <a:r>
              <a:rPr lang="fr-FR" sz="1100" b="1">
                <a:solidFill>
                  <a:srgbClr val="21215A">
                    <a:lumMod val="60000"/>
                    <a:lumOff val="40000"/>
                  </a:srgbClr>
                </a:solidFill>
                <a:latin typeface="Arial"/>
              </a:rPr>
              <a:t>me former </a:t>
            </a:r>
            <a:r>
              <a:rPr lang="fr-FR" sz="1100" b="1">
                <a:solidFill>
                  <a:srgbClr val="21215A"/>
                </a:solidFill>
                <a:latin typeface="Arial"/>
              </a:rPr>
              <a:t>je m’aide de :</a:t>
            </a:r>
          </a:p>
          <a:p>
            <a:pPr marL="171450" indent="-171450" defTabSz="685800">
              <a:buFontTx/>
              <a:buChar char="-"/>
              <a:defRPr/>
            </a:pPr>
            <a:r>
              <a:rPr lang="fr-FR" sz="1100" b="1">
                <a:solidFill>
                  <a:srgbClr val="21215A"/>
                </a:solidFill>
                <a:latin typeface="Arial"/>
              </a:rPr>
              <a:t>Du support de formation disponible dans le kit ambassadeurs</a:t>
            </a:r>
          </a:p>
          <a:p>
            <a:pPr marL="171450" indent="-171450" defTabSz="685800">
              <a:buFontTx/>
              <a:buChar char="-"/>
              <a:defRPr/>
            </a:pPr>
            <a:r>
              <a:rPr lang="fr-FR" sz="1100" b="1">
                <a:solidFill>
                  <a:srgbClr val="21215A"/>
                </a:solidFill>
                <a:latin typeface="Arial"/>
              </a:rPr>
              <a:t>Des vidéos tutoriels de la Cnam disponibles dans le kit et </a:t>
            </a:r>
            <a:r>
              <a:rPr lang="fr-FR" sz="1100" b="1">
                <a:solidFill>
                  <a:srgbClr val="21215A"/>
                </a:solidFill>
                <a:latin typeface="Arial"/>
                <a:hlinkClick r:id="rId5"/>
              </a:rPr>
              <a:t>en ligne</a:t>
            </a:r>
            <a:endParaRPr lang="fr-FR" sz="1000" b="1">
              <a:solidFill>
                <a:srgbClr val="21215A"/>
              </a:solidFill>
              <a:latin typeface="Arial"/>
            </a:endParaRPr>
          </a:p>
        </p:txBody>
      </p:sp>
      <p:grpSp>
        <p:nvGrpSpPr>
          <p:cNvPr id="58" name="Group 57">
            <a:extLst>
              <a:ext uri="{FF2B5EF4-FFF2-40B4-BE49-F238E27FC236}">
                <a16:creationId xmlns:a16="http://schemas.microsoft.com/office/drawing/2014/main" id="{526BD0C2-1DFC-4B76-91E1-70C539638507}"/>
              </a:ext>
            </a:extLst>
          </p:cNvPr>
          <p:cNvGrpSpPr/>
          <p:nvPr/>
        </p:nvGrpSpPr>
        <p:grpSpPr>
          <a:xfrm>
            <a:off x="3548415" y="2645173"/>
            <a:ext cx="619641" cy="345006"/>
            <a:chOff x="6453412" y="2520149"/>
            <a:chExt cx="619641" cy="345006"/>
          </a:xfrm>
        </p:grpSpPr>
        <p:pic>
          <p:nvPicPr>
            <p:cNvPr id="59" name="Picture 58">
              <a:extLst>
                <a:ext uri="{FF2B5EF4-FFF2-40B4-BE49-F238E27FC236}">
                  <a16:creationId xmlns:a16="http://schemas.microsoft.com/office/drawing/2014/main" id="{2D944FD6-C14B-4E57-A1DB-DC04778148A8}"/>
                </a:ext>
              </a:extLst>
            </p:cNvPr>
            <p:cNvPicPr>
              <a:picLocks noChangeAspect="1"/>
            </p:cNvPicPr>
            <p:nvPr/>
          </p:nvPicPr>
          <p:blipFill>
            <a:blip r:embed="rId6"/>
            <a:stretch>
              <a:fillRect/>
            </a:stretch>
          </p:blipFill>
          <p:spPr>
            <a:xfrm>
              <a:off x="6646824" y="2625401"/>
              <a:ext cx="426229" cy="239754"/>
            </a:xfrm>
            <a:prstGeom prst="rect">
              <a:avLst/>
            </a:prstGeom>
          </p:spPr>
        </p:pic>
        <p:pic>
          <p:nvPicPr>
            <p:cNvPr id="60" name="Graphic 59" descr="Teacher with solid fill">
              <a:extLst>
                <a:ext uri="{FF2B5EF4-FFF2-40B4-BE49-F238E27FC236}">
                  <a16:creationId xmlns:a16="http://schemas.microsoft.com/office/drawing/2014/main" id="{88930D46-88F2-452A-AAD9-004FC298DBB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53412" y="2520149"/>
              <a:ext cx="345006" cy="345006"/>
            </a:xfrm>
            <a:prstGeom prst="rect">
              <a:avLst/>
            </a:prstGeom>
          </p:spPr>
        </p:pic>
      </p:grpSp>
      <p:sp>
        <p:nvSpPr>
          <p:cNvPr id="61" name="Oval 60">
            <a:extLst>
              <a:ext uri="{FF2B5EF4-FFF2-40B4-BE49-F238E27FC236}">
                <a16:creationId xmlns:a16="http://schemas.microsoft.com/office/drawing/2014/main" id="{CF864C2B-8A01-49C2-880D-BB6BA4BA6707}"/>
              </a:ext>
            </a:extLst>
          </p:cNvPr>
          <p:cNvSpPr/>
          <p:nvPr/>
        </p:nvSpPr>
        <p:spPr>
          <a:xfrm>
            <a:off x="618857" y="1843237"/>
            <a:ext cx="279578" cy="279578"/>
          </a:xfrm>
          <a:prstGeom prst="ellipse">
            <a:avLst/>
          </a:prstGeom>
          <a:solidFill>
            <a:srgbClr val="FFD500"/>
          </a:solidFill>
          <a:ln w="19050" cap="flat" cmpd="sng" algn="ctr">
            <a:noFill/>
            <a:prstDash val="solid"/>
          </a:ln>
          <a:effectLst/>
        </p:spPr>
        <p:txBody>
          <a:bodyPr lIns="0" tIns="0" rIns="0" bIns="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b="1" i="0" u="none" strike="noStrike" kern="0" cap="none" spc="0" normalizeH="0" baseline="0" noProof="0">
                <a:ln>
                  <a:noFill/>
                </a:ln>
                <a:solidFill>
                  <a:srgbClr val="21215A"/>
                </a:solidFill>
                <a:effectLst/>
                <a:uLnTx/>
                <a:uFillTx/>
                <a:latin typeface="EYInterstate"/>
              </a:rPr>
              <a:t>1</a:t>
            </a:r>
          </a:p>
        </p:txBody>
      </p:sp>
      <p:pic>
        <p:nvPicPr>
          <p:cNvPr id="62" name="Graphic 61" descr="Flag with solid fill">
            <a:extLst>
              <a:ext uri="{FF2B5EF4-FFF2-40B4-BE49-F238E27FC236}">
                <a16:creationId xmlns:a16="http://schemas.microsoft.com/office/drawing/2014/main" id="{A2A07E85-33F0-44A4-AF0E-A46CCC858D6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410473" y="4546403"/>
            <a:ext cx="340550" cy="340550"/>
          </a:xfrm>
          <a:prstGeom prst="rect">
            <a:avLst/>
          </a:prstGeom>
        </p:spPr>
      </p:pic>
      <p:sp>
        <p:nvSpPr>
          <p:cNvPr id="63" name="TextBox 44">
            <a:extLst>
              <a:ext uri="{FF2B5EF4-FFF2-40B4-BE49-F238E27FC236}">
                <a16:creationId xmlns:a16="http://schemas.microsoft.com/office/drawing/2014/main" id="{3E38B8CD-ABB6-4BF0-B19B-76A57840B166}"/>
              </a:ext>
            </a:extLst>
          </p:cNvPr>
          <p:cNvSpPr txBox="1"/>
          <p:nvPr/>
        </p:nvSpPr>
        <p:spPr>
          <a:xfrm>
            <a:off x="6500625" y="3044718"/>
            <a:ext cx="2370784" cy="815608"/>
          </a:xfrm>
          <a:prstGeom prst="rect">
            <a:avLst/>
          </a:prstGeom>
          <a:noFill/>
          <a:ln>
            <a:noFill/>
          </a:ln>
        </p:spPr>
        <p:txBody>
          <a:bodyPr wrap="square" lIns="0" tIns="0" rIns="0" bIns="0" rtlCol="0">
            <a:spAutoFit/>
          </a:bodyPr>
          <a:lstStyle/>
          <a:p>
            <a:pPr defTabSz="685800">
              <a:defRPr/>
            </a:pPr>
            <a:r>
              <a:rPr lang="fr-FR" sz="1100" b="1">
                <a:solidFill>
                  <a:srgbClr val="21215A"/>
                </a:solidFill>
                <a:latin typeface="Arial"/>
              </a:rPr>
              <a:t>J’ai une question ? Je consulte la </a:t>
            </a:r>
            <a:r>
              <a:rPr lang="fr-FR" sz="1100" b="1">
                <a:solidFill>
                  <a:srgbClr val="21215A">
                    <a:lumMod val="60000"/>
                    <a:lumOff val="40000"/>
                  </a:srgbClr>
                </a:solidFill>
                <a:latin typeface="Arial"/>
              </a:rPr>
              <a:t>FAQ en ligne (</a:t>
            </a:r>
            <a:r>
              <a:rPr lang="fr-FR" sz="1100" b="1">
                <a:solidFill>
                  <a:srgbClr val="21215A">
                    <a:lumMod val="60000"/>
                    <a:lumOff val="40000"/>
                  </a:srgbClr>
                </a:solidFill>
                <a:latin typeface="Arial"/>
                <a:hlinkClick r:id="rId11"/>
              </a:rPr>
              <a:t>lien</a:t>
            </a:r>
            <a:r>
              <a:rPr lang="fr-FR" sz="1100" b="1">
                <a:solidFill>
                  <a:srgbClr val="21215A">
                    <a:lumMod val="60000"/>
                    <a:lumOff val="40000"/>
                  </a:srgbClr>
                </a:solidFill>
                <a:latin typeface="Arial"/>
              </a:rPr>
              <a:t>) puis celle du kit ambassadeurs</a:t>
            </a:r>
          </a:p>
          <a:p>
            <a:pPr defTabSz="685800">
              <a:defRPr/>
            </a:pPr>
            <a:r>
              <a:rPr lang="fr-FR" sz="1000" i="1">
                <a:solidFill>
                  <a:srgbClr val="21215A"/>
                </a:solidFill>
                <a:latin typeface="Arial"/>
              </a:rPr>
              <a:t>Je ne trouve pas la réponse ? </a:t>
            </a:r>
          </a:p>
          <a:p>
            <a:pPr defTabSz="685800">
              <a:defRPr/>
            </a:pPr>
            <a:r>
              <a:rPr lang="fr-FR" sz="1000" i="1">
                <a:solidFill>
                  <a:srgbClr val="21215A"/>
                </a:solidFill>
                <a:latin typeface="Arial"/>
              </a:rPr>
              <a:t>Je contacte mon coordinateur </a:t>
            </a:r>
            <a:r>
              <a:rPr lang="fr-FR" sz="1000" i="1" err="1">
                <a:solidFill>
                  <a:srgbClr val="21215A"/>
                </a:solidFill>
                <a:latin typeface="Arial"/>
              </a:rPr>
              <a:t>régionnal</a:t>
            </a:r>
            <a:endParaRPr lang="fr-FR" sz="800" i="1">
              <a:solidFill>
                <a:srgbClr val="21215A"/>
              </a:solidFill>
              <a:latin typeface="Arial"/>
            </a:endParaRPr>
          </a:p>
        </p:txBody>
      </p:sp>
      <p:grpSp>
        <p:nvGrpSpPr>
          <p:cNvPr id="64" name="Group 63">
            <a:extLst>
              <a:ext uri="{FF2B5EF4-FFF2-40B4-BE49-F238E27FC236}">
                <a16:creationId xmlns:a16="http://schemas.microsoft.com/office/drawing/2014/main" id="{1C318DC5-5103-4C2C-A3B2-DBCA42503E51}"/>
              </a:ext>
            </a:extLst>
          </p:cNvPr>
          <p:cNvGrpSpPr/>
          <p:nvPr/>
        </p:nvGrpSpPr>
        <p:grpSpPr>
          <a:xfrm>
            <a:off x="267608" y="3005093"/>
            <a:ext cx="2076222" cy="658163"/>
            <a:chOff x="1275938" y="2400800"/>
            <a:chExt cx="2076222" cy="658163"/>
          </a:xfrm>
        </p:grpSpPr>
        <p:pic>
          <p:nvPicPr>
            <p:cNvPr id="68" name="Picture 67">
              <a:extLst>
                <a:ext uri="{FF2B5EF4-FFF2-40B4-BE49-F238E27FC236}">
                  <a16:creationId xmlns:a16="http://schemas.microsoft.com/office/drawing/2014/main" id="{9B385BA4-8B35-49E1-9792-BBE6DE6B1408}"/>
                </a:ext>
              </a:extLst>
            </p:cNvPr>
            <p:cNvPicPr>
              <a:picLocks noChangeAspect="1"/>
            </p:cNvPicPr>
            <p:nvPr/>
          </p:nvPicPr>
          <p:blipFill>
            <a:blip r:embed="rId2" cstate="screen">
              <a:duotone>
                <a:srgbClr val="21215A">
                  <a:shade val="45000"/>
                  <a:satMod val="135000"/>
                </a:srgbClr>
                <a:prstClr val="white"/>
              </a:duotone>
              <a:extLst>
                <a:ext uri="{28A0092B-C50C-407E-A947-70E740481C1C}">
                  <a14:useLocalDpi xmlns:a14="http://schemas.microsoft.com/office/drawing/2010/main"/>
                </a:ext>
              </a:extLst>
            </a:blip>
            <a:stretch>
              <a:fillRect/>
            </a:stretch>
          </p:blipFill>
          <p:spPr>
            <a:xfrm rot="1839887">
              <a:off x="1275938" y="2400800"/>
              <a:ext cx="919058" cy="658163"/>
            </a:xfrm>
            <a:prstGeom prst="rect">
              <a:avLst/>
            </a:prstGeom>
          </p:spPr>
        </p:pic>
        <p:sp>
          <p:nvSpPr>
            <p:cNvPr id="66" name="TextBox 44">
              <a:extLst>
                <a:ext uri="{FF2B5EF4-FFF2-40B4-BE49-F238E27FC236}">
                  <a16:creationId xmlns:a16="http://schemas.microsoft.com/office/drawing/2014/main" id="{8A943668-EF31-4D95-AB39-D76FDCCD08CC}"/>
                </a:ext>
              </a:extLst>
            </p:cNvPr>
            <p:cNvSpPr txBox="1"/>
            <p:nvPr/>
          </p:nvSpPr>
          <p:spPr>
            <a:xfrm>
              <a:off x="1948160" y="2650910"/>
              <a:ext cx="1404000" cy="338554"/>
            </a:xfrm>
            <a:prstGeom prst="rect">
              <a:avLst/>
            </a:prstGeom>
            <a:noFill/>
            <a:ln>
              <a:noFill/>
            </a:ln>
          </p:spPr>
          <p:txBody>
            <a:bodyPr wrap="square" lIns="0" tIns="0" rIns="0" bIns="0"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a:ln>
                    <a:noFill/>
                  </a:ln>
                  <a:solidFill>
                    <a:srgbClr val="21215A"/>
                  </a:solidFill>
                  <a:effectLst/>
                  <a:uLnTx/>
                  <a:uFillTx/>
                  <a:latin typeface="Arial"/>
                </a:rPr>
                <a:t>FORMATION A MON ESPACE SANTÉ</a:t>
              </a:r>
              <a:endParaRPr kumimoji="0" lang="fr-FR" sz="1000" b="1" i="0" u="none" strike="noStrike" kern="0" cap="none" spc="0" normalizeH="0" baseline="0" noProof="0">
                <a:ln>
                  <a:noFill/>
                </a:ln>
                <a:solidFill>
                  <a:srgbClr val="21215A"/>
                </a:solidFill>
                <a:effectLst/>
                <a:uLnTx/>
                <a:uFillTx/>
                <a:latin typeface="Arial"/>
              </a:endParaRPr>
            </a:p>
          </p:txBody>
        </p:sp>
        <p:sp>
          <p:nvSpPr>
            <p:cNvPr id="67" name="Oval 66">
              <a:extLst>
                <a:ext uri="{FF2B5EF4-FFF2-40B4-BE49-F238E27FC236}">
                  <a16:creationId xmlns:a16="http://schemas.microsoft.com/office/drawing/2014/main" id="{E7EBA247-8AEF-4547-8D7A-A62F3D0BDBF3}"/>
                </a:ext>
              </a:extLst>
            </p:cNvPr>
            <p:cNvSpPr/>
            <p:nvPr/>
          </p:nvSpPr>
          <p:spPr>
            <a:xfrm>
              <a:off x="1521888" y="2626165"/>
              <a:ext cx="279578" cy="279578"/>
            </a:xfrm>
            <a:prstGeom prst="ellipse">
              <a:avLst/>
            </a:prstGeom>
            <a:solidFill>
              <a:srgbClr val="FFD500"/>
            </a:solidFill>
            <a:ln w="19050" cap="flat" cmpd="sng" algn="ctr">
              <a:noFill/>
              <a:prstDash val="solid"/>
            </a:ln>
            <a:effectLst/>
          </p:spPr>
          <p:txBody>
            <a:bodyPr lIns="0" tIns="0" rIns="0" bIns="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b="1" i="0" u="none" strike="noStrike" kern="0" cap="none" spc="0" normalizeH="0" baseline="0" noProof="0">
                  <a:ln>
                    <a:noFill/>
                  </a:ln>
                  <a:solidFill>
                    <a:srgbClr val="21215A"/>
                  </a:solidFill>
                  <a:effectLst/>
                  <a:uLnTx/>
                  <a:uFillTx/>
                  <a:latin typeface="EYInterstate"/>
                </a:rPr>
                <a:t>2</a:t>
              </a:r>
            </a:p>
          </p:txBody>
        </p:sp>
      </p:grpSp>
      <p:grpSp>
        <p:nvGrpSpPr>
          <p:cNvPr id="70" name="Group 69">
            <a:extLst>
              <a:ext uri="{FF2B5EF4-FFF2-40B4-BE49-F238E27FC236}">
                <a16:creationId xmlns:a16="http://schemas.microsoft.com/office/drawing/2014/main" id="{8833381E-230B-45F6-888E-384B91A5A2EA}"/>
              </a:ext>
            </a:extLst>
          </p:cNvPr>
          <p:cNvGrpSpPr/>
          <p:nvPr/>
        </p:nvGrpSpPr>
        <p:grpSpPr>
          <a:xfrm>
            <a:off x="273331" y="4615274"/>
            <a:ext cx="2070499" cy="681532"/>
            <a:chOff x="82613" y="3591198"/>
            <a:chExt cx="2070499" cy="681532"/>
          </a:xfrm>
        </p:grpSpPr>
        <p:pic>
          <p:nvPicPr>
            <p:cNvPr id="74" name="Picture 73">
              <a:extLst>
                <a:ext uri="{FF2B5EF4-FFF2-40B4-BE49-F238E27FC236}">
                  <a16:creationId xmlns:a16="http://schemas.microsoft.com/office/drawing/2014/main" id="{B289BBF8-58C1-4FEE-B4E5-7E0E5118C22D}"/>
                </a:ext>
              </a:extLst>
            </p:cNvPr>
            <p:cNvPicPr>
              <a:picLocks noChangeAspect="1"/>
            </p:cNvPicPr>
            <p:nvPr/>
          </p:nvPicPr>
          <p:blipFill>
            <a:blip r:embed="rId2" cstate="screen">
              <a:duotone>
                <a:srgbClr val="21215A">
                  <a:shade val="45000"/>
                  <a:satMod val="135000"/>
                </a:srgbClr>
                <a:prstClr val="white"/>
              </a:duotone>
              <a:extLst>
                <a:ext uri="{28A0092B-C50C-407E-A947-70E740481C1C}">
                  <a14:useLocalDpi xmlns:a14="http://schemas.microsoft.com/office/drawing/2010/main"/>
                </a:ext>
              </a:extLst>
            </a:blip>
            <a:stretch>
              <a:fillRect/>
            </a:stretch>
          </p:blipFill>
          <p:spPr>
            <a:xfrm rot="1580431">
              <a:off x="82613" y="3591198"/>
              <a:ext cx="951691" cy="681532"/>
            </a:xfrm>
            <a:prstGeom prst="rect">
              <a:avLst/>
            </a:prstGeom>
          </p:spPr>
        </p:pic>
        <p:sp>
          <p:nvSpPr>
            <p:cNvPr id="72" name="TextBox 44">
              <a:extLst>
                <a:ext uri="{FF2B5EF4-FFF2-40B4-BE49-F238E27FC236}">
                  <a16:creationId xmlns:a16="http://schemas.microsoft.com/office/drawing/2014/main" id="{5EDD3932-28B8-4951-AF74-0DC121583E75}"/>
                </a:ext>
              </a:extLst>
            </p:cNvPr>
            <p:cNvSpPr txBox="1"/>
            <p:nvPr/>
          </p:nvSpPr>
          <p:spPr>
            <a:xfrm>
              <a:off x="749112" y="3841736"/>
              <a:ext cx="1404000" cy="338554"/>
            </a:xfrm>
            <a:prstGeom prst="rect">
              <a:avLst/>
            </a:prstGeom>
            <a:noFill/>
            <a:ln>
              <a:noFill/>
            </a:ln>
          </p:spPr>
          <p:txBody>
            <a:bodyPr wrap="square" lIns="0" tIns="0" rIns="0" bIns="0"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a:ln>
                    <a:noFill/>
                  </a:ln>
                  <a:solidFill>
                    <a:srgbClr val="21215A"/>
                  </a:solidFill>
                  <a:effectLst/>
                  <a:uLnTx/>
                  <a:uFillTx/>
                  <a:latin typeface="Arial"/>
                </a:rPr>
                <a:t>MISE EN PLACE D’UN ATELIER</a:t>
              </a:r>
              <a:endParaRPr kumimoji="0" lang="fr-FR" sz="1000" b="1" i="0" u="none" strike="noStrike" kern="0" cap="none" spc="0" normalizeH="0" baseline="0" noProof="0">
                <a:ln>
                  <a:noFill/>
                </a:ln>
                <a:solidFill>
                  <a:srgbClr val="21215A"/>
                </a:solidFill>
                <a:effectLst/>
                <a:uLnTx/>
                <a:uFillTx/>
                <a:latin typeface="Arial"/>
              </a:endParaRPr>
            </a:p>
          </p:txBody>
        </p:sp>
        <p:sp>
          <p:nvSpPr>
            <p:cNvPr id="73" name="Oval 72">
              <a:extLst>
                <a:ext uri="{FF2B5EF4-FFF2-40B4-BE49-F238E27FC236}">
                  <a16:creationId xmlns:a16="http://schemas.microsoft.com/office/drawing/2014/main" id="{3D21CE2F-A973-4248-8F88-3D33B3497032}"/>
                </a:ext>
              </a:extLst>
            </p:cNvPr>
            <p:cNvSpPr/>
            <p:nvPr/>
          </p:nvSpPr>
          <p:spPr>
            <a:xfrm>
              <a:off x="349067" y="3785942"/>
              <a:ext cx="279578" cy="279578"/>
            </a:xfrm>
            <a:prstGeom prst="ellipse">
              <a:avLst/>
            </a:prstGeom>
            <a:solidFill>
              <a:srgbClr val="FFD500"/>
            </a:solidFill>
            <a:ln w="19050" cap="flat" cmpd="sng" algn="ctr">
              <a:noFill/>
              <a:prstDash val="solid"/>
            </a:ln>
            <a:effectLst/>
          </p:spPr>
          <p:txBody>
            <a:bodyPr lIns="0" tIns="0" rIns="0" bIns="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b="1" i="0" u="none" strike="noStrike" kern="0" cap="none" spc="0" normalizeH="0" baseline="0" noProof="0">
                  <a:ln>
                    <a:noFill/>
                  </a:ln>
                  <a:solidFill>
                    <a:srgbClr val="21215A"/>
                  </a:solidFill>
                  <a:effectLst/>
                  <a:uLnTx/>
                  <a:uFillTx/>
                  <a:latin typeface="EYInterstate"/>
                </a:rPr>
                <a:t>3</a:t>
              </a:r>
            </a:p>
          </p:txBody>
        </p:sp>
      </p:grpSp>
      <p:sp>
        <p:nvSpPr>
          <p:cNvPr id="77" name="Arc 76">
            <a:extLst>
              <a:ext uri="{FF2B5EF4-FFF2-40B4-BE49-F238E27FC236}">
                <a16:creationId xmlns:a16="http://schemas.microsoft.com/office/drawing/2014/main" id="{B7C7932D-D24F-4A46-B6F9-B5770F86C282}"/>
              </a:ext>
            </a:extLst>
          </p:cNvPr>
          <p:cNvSpPr/>
          <p:nvPr/>
        </p:nvSpPr>
        <p:spPr>
          <a:xfrm rot="19891727">
            <a:off x="4712739" y="2806541"/>
            <a:ext cx="2055479" cy="1464871"/>
          </a:xfrm>
          <a:prstGeom prst="arc">
            <a:avLst>
              <a:gd name="adj1" fmla="val 17202848"/>
              <a:gd name="adj2" fmla="val 19727088"/>
            </a:avLst>
          </a:prstGeom>
          <a:noFill/>
          <a:ln w="9525" cap="flat" cmpd="sng" algn="ctr">
            <a:solidFill>
              <a:srgbClr val="1F9EB7"/>
            </a:solidFill>
            <a:prstDash val="dash"/>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000000"/>
              </a:solidFill>
              <a:effectLst/>
              <a:uLnTx/>
              <a:uFillTx/>
              <a:latin typeface="Arial"/>
              <a:ea typeface="+mn-ea"/>
              <a:cs typeface="+mn-cs"/>
            </a:endParaRPr>
          </a:p>
        </p:txBody>
      </p:sp>
      <p:sp>
        <p:nvSpPr>
          <p:cNvPr id="78" name="TextBox 44">
            <a:extLst>
              <a:ext uri="{FF2B5EF4-FFF2-40B4-BE49-F238E27FC236}">
                <a16:creationId xmlns:a16="http://schemas.microsoft.com/office/drawing/2014/main" id="{41A1D784-D7C1-4D07-B280-041910395154}"/>
              </a:ext>
            </a:extLst>
          </p:cNvPr>
          <p:cNvSpPr txBox="1"/>
          <p:nvPr/>
        </p:nvSpPr>
        <p:spPr>
          <a:xfrm>
            <a:off x="5667667" y="4530639"/>
            <a:ext cx="1977781" cy="830997"/>
          </a:xfrm>
          <a:prstGeom prst="rect">
            <a:avLst/>
          </a:prstGeom>
          <a:noFill/>
          <a:ln>
            <a:noFill/>
          </a:ln>
        </p:spPr>
        <p:txBody>
          <a:bodyPr wrap="square" lIns="0" tIns="0" rIns="0" bIns="0" rtlCol="0">
            <a:spAutoFit/>
          </a:bodyPr>
          <a:lstStyle/>
          <a:p>
            <a:pPr defTabSz="685800">
              <a:defRPr/>
            </a:pPr>
            <a:r>
              <a:rPr lang="fr-FR" sz="1100" b="1">
                <a:solidFill>
                  <a:srgbClr val="21215A"/>
                </a:solidFill>
                <a:latin typeface="Arial"/>
              </a:rPr>
              <a:t>Je consulte la </a:t>
            </a:r>
            <a:r>
              <a:rPr lang="fr-FR" sz="1100" b="1">
                <a:solidFill>
                  <a:srgbClr val="21215A">
                    <a:lumMod val="60000"/>
                    <a:lumOff val="40000"/>
                  </a:srgbClr>
                </a:solidFill>
                <a:latin typeface="Arial"/>
              </a:rPr>
              <a:t>Fiche pratique accompagnement </a:t>
            </a:r>
            <a:r>
              <a:rPr lang="fr-FR" sz="1100" b="1">
                <a:solidFill>
                  <a:srgbClr val="21215A"/>
                </a:solidFill>
                <a:latin typeface="Arial"/>
              </a:rPr>
              <a:t>du kit pour me préparer aux questions les plus fréquentes</a:t>
            </a:r>
            <a:r>
              <a:rPr lang="fr-FR" sz="1000">
                <a:solidFill>
                  <a:srgbClr val="21215A"/>
                </a:solidFill>
                <a:latin typeface="Arial"/>
              </a:rPr>
              <a:t> (et l’imprime si besoin)</a:t>
            </a:r>
          </a:p>
        </p:txBody>
      </p:sp>
      <p:sp>
        <p:nvSpPr>
          <p:cNvPr id="79" name="TextBox 44">
            <a:extLst>
              <a:ext uri="{FF2B5EF4-FFF2-40B4-BE49-F238E27FC236}">
                <a16:creationId xmlns:a16="http://schemas.microsoft.com/office/drawing/2014/main" id="{B2F86CAD-0E6E-4360-9375-79E93039D777}"/>
              </a:ext>
            </a:extLst>
          </p:cNvPr>
          <p:cNvSpPr txBox="1"/>
          <p:nvPr/>
        </p:nvSpPr>
        <p:spPr>
          <a:xfrm>
            <a:off x="2878136" y="4636146"/>
            <a:ext cx="1331099" cy="677108"/>
          </a:xfrm>
          <a:prstGeom prst="rect">
            <a:avLst/>
          </a:prstGeom>
          <a:noFill/>
          <a:ln>
            <a:noFill/>
          </a:ln>
        </p:spPr>
        <p:txBody>
          <a:bodyPr wrap="square" lIns="0" tIns="0" rIns="0" bIns="0" rtlCol="0">
            <a:spAutoFit/>
          </a:bodyPr>
          <a:lstStyle/>
          <a:p>
            <a:pPr defTabSz="685800">
              <a:defRPr/>
            </a:pPr>
            <a:r>
              <a:rPr lang="fr-FR" sz="1100" b="1">
                <a:solidFill>
                  <a:srgbClr val="21215A"/>
                </a:solidFill>
                <a:latin typeface="Arial"/>
              </a:rPr>
              <a:t>J’informe mon coordinateur régional et sollicite son aide si besoin</a:t>
            </a:r>
            <a:endParaRPr lang="fr-FR" sz="1000" b="1">
              <a:solidFill>
                <a:srgbClr val="21215A"/>
              </a:solidFill>
              <a:latin typeface="Arial"/>
            </a:endParaRPr>
          </a:p>
        </p:txBody>
      </p:sp>
      <p:sp>
        <p:nvSpPr>
          <p:cNvPr id="80" name="TextBox 44">
            <a:extLst>
              <a:ext uri="{FF2B5EF4-FFF2-40B4-BE49-F238E27FC236}">
                <a16:creationId xmlns:a16="http://schemas.microsoft.com/office/drawing/2014/main" id="{541B0435-E7FE-4060-8732-1AB87B07237B}"/>
              </a:ext>
            </a:extLst>
          </p:cNvPr>
          <p:cNvSpPr txBox="1"/>
          <p:nvPr/>
        </p:nvSpPr>
        <p:spPr>
          <a:xfrm>
            <a:off x="3934073" y="5511909"/>
            <a:ext cx="1880882" cy="646331"/>
          </a:xfrm>
          <a:prstGeom prst="rect">
            <a:avLst/>
          </a:prstGeom>
          <a:noFill/>
          <a:ln>
            <a:noFill/>
          </a:ln>
        </p:spPr>
        <p:txBody>
          <a:bodyPr wrap="square" lIns="0" tIns="0" rIns="0" bIns="0" rtlCol="0">
            <a:spAutoFit/>
          </a:bodyPr>
          <a:lstStyle/>
          <a:p>
            <a:pPr defTabSz="685800">
              <a:defRPr/>
            </a:pPr>
            <a:r>
              <a:rPr lang="fr-FR" sz="1100" b="1">
                <a:solidFill>
                  <a:srgbClr val="21215A"/>
                </a:solidFill>
                <a:latin typeface="Arial"/>
              </a:rPr>
              <a:t>Je peux m’outiller en visuels : affiches, flyer, etc.</a:t>
            </a:r>
          </a:p>
          <a:p>
            <a:pPr defTabSz="685800">
              <a:defRPr/>
            </a:pPr>
            <a:r>
              <a:rPr lang="fr-FR" sz="1000" i="1">
                <a:solidFill>
                  <a:srgbClr val="21215A"/>
                </a:solidFill>
                <a:latin typeface="Arial"/>
              </a:rPr>
              <a:t>J’imprime les éléments du kit ou je contacte mon coordinateur</a:t>
            </a:r>
            <a:endParaRPr lang="fr-FR" sz="800" i="1">
              <a:solidFill>
                <a:srgbClr val="21215A"/>
              </a:solidFill>
              <a:latin typeface="Arial"/>
            </a:endParaRPr>
          </a:p>
        </p:txBody>
      </p:sp>
      <p:pic>
        <p:nvPicPr>
          <p:cNvPr id="82" name="Graphic 81">
            <a:extLst>
              <a:ext uri="{FF2B5EF4-FFF2-40B4-BE49-F238E27FC236}">
                <a16:creationId xmlns:a16="http://schemas.microsoft.com/office/drawing/2014/main" id="{43016456-A7C7-4ED0-997C-75CBD6DD3B1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271722" y="2705180"/>
            <a:ext cx="360000" cy="360000"/>
          </a:xfrm>
          <a:prstGeom prst="rect">
            <a:avLst/>
          </a:prstGeom>
        </p:spPr>
      </p:pic>
      <p:sp>
        <p:nvSpPr>
          <p:cNvPr id="83" name="Figure">
            <a:extLst>
              <a:ext uri="{FF2B5EF4-FFF2-40B4-BE49-F238E27FC236}">
                <a16:creationId xmlns:a16="http://schemas.microsoft.com/office/drawing/2014/main" id="{4FFC69C8-079E-47B4-85D4-F6295F384D43}"/>
              </a:ext>
            </a:extLst>
          </p:cNvPr>
          <p:cNvSpPr>
            <a:spLocks/>
          </p:cNvSpPr>
          <p:nvPr/>
        </p:nvSpPr>
        <p:spPr>
          <a:xfrm>
            <a:off x="3229987" y="4315002"/>
            <a:ext cx="295771" cy="246452"/>
          </a:xfrm>
          <a:custGeom>
            <a:avLst/>
            <a:gdLst/>
            <a:ahLst/>
            <a:cxnLst>
              <a:cxn ang="0">
                <a:pos x="wd2" y="hd2"/>
              </a:cxn>
              <a:cxn ang="5400000">
                <a:pos x="wd2" y="hd2"/>
              </a:cxn>
              <a:cxn ang="10800000">
                <a:pos x="wd2" y="hd2"/>
              </a:cxn>
              <a:cxn ang="16200000">
                <a:pos x="wd2" y="hd2"/>
              </a:cxn>
            </a:cxnLst>
            <a:rect l="0" t="0" r="r" b="b"/>
            <a:pathLst>
              <a:path w="21600" h="21600" extrusionOk="0">
                <a:moveTo>
                  <a:pt x="1016" y="20520"/>
                </a:moveTo>
                <a:cubicBezTo>
                  <a:pt x="1258" y="18675"/>
                  <a:pt x="2752" y="17923"/>
                  <a:pt x="4191" y="17361"/>
                </a:cubicBezTo>
                <a:cubicBezTo>
                  <a:pt x="5156" y="17087"/>
                  <a:pt x="6884" y="15971"/>
                  <a:pt x="6884" y="13567"/>
                </a:cubicBezTo>
                <a:cubicBezTo>
                  <a:pt x="6884" y="11510"/>
                  <a:pt x="6113" y="10507"/>
                  <a:pt x="5698" y="9969"/>
                </a:cubicBezTo>
                <a:cubicBezTo>
                  <a:pt x="5646" y="9902"/>
                  <a:pt x="5599" y="9842"/>
                  <a:pt x="5562" y="9786"/>
                </a:cubicBezTo>
                <a:cubicBezTo>
                  <a:pt x="5550" y="9769"/>
                  <a:pt x="5538" y="9752"/>
                  <a:pt x="5526" y="9735"/>
                </a:cubicBezTo>
                <a:cubicBezTo>
                  <a:pt x="5491" y="9662"/>
                  <a:pt x="5297" y="9177"/>
                  <a:pt x="5553" y="8011"/>
                </a:cubicBezTo>
                <a:cubicBezTo>
                  <a:pt x="5604" y="7777"/>
                  <a:pt x="5583" y="7531"/>
                  <a:pt x="5493" y="7312"/>
                </a:cubicBezTo>
                <a:cubicBezTo>
                  <a:pt x="5249" y="6721"/>
                  <a:pt x="4603" y="5151"/>
                  <a:pt x="5035" y="3988"/>
                </a:cubicBezTo>
                <a:cubicBezTo>
                  <a:pt x="5619" y="2411"/>
                  <a:pt x="6140" y="2099"/>
                  <a:pt x="7085" y="1642"/>
                </a:cubicBezTo>
                <a:cubicBezTo>
                  <a:pt x="7132" y="1619"/>
                  <a:pt x="7177" y="1592"/>
                  <a:pt x="7220" y="1562"/>
                </a:cubicBezTo>
                <a:cubicBezTo>
                  <a:pt x="7458" y="1393"/>
                  <a:pt x="8233" y="1080"/>
                  <a:pt x="9029" y="1080"/>
                </a:cubicBezTo>
                <a:cubicBezTo>
                  <a:pt x="9467" y="1080"/>
                  <a:pt x="9840" y="1172"/>
                  <a:pt x="10137" y="1353"/>
                </a:cubicBezTo>
                <a:cubicBezTo>
                  <a:pt x="10491" y="1569"/>
                  <a:pt x="10825" y="1968"/>
                  <a:pt x="11308" y="3213"/>
                </a:cubicBezTo>
                <a:cubicBezTo>
                  <a:pt x="11991" y="4974"/>
                  <a:pt x="11820" y="6477"/>
                  <a:pt x="11347" y="7186"/>
                </a:cubicBezTo>
                <a:cubicBezTo>
                  <a:pt x="11175" y="7442"/>
                  <a:pt x="11116" y="7769"/>
                  <a:pt x="11184" y="8078"/>
                </a:cubicBezTo>
                <a:cubicBezTo>
                  <a:pt x="11422" y="9164"/>
                  <a:pt x="11247" y="9602"/>
                  <a:pt x="11210" y="9679"/>
                </a:cubicBezTo>
                <a:cubicBezTo>
                  <a:pt x="11181" y="9712"/>
                  <a:pt x="11153" y="9748"/>
                  <a:pt x="11129" y="9786"/>
                </a:cubicBezTo>
                <a:cubicBezTo>
                  <a:pt x="11091" y="9842"/>
                  <a:pt x="11044" y="9902"/>
                  <a:pt x="10992" y="9969"/>
                </a:cubicBezTo>
                <a:cubicBezTo>
                  <a:pt x="10578" y="10507"/>
                  <a:pt x="9806" y="11510"/>
                  <a:pt x="9806" y="13567"/>
                </a:cubicBezTo>
                <a:cubicBezTo>
                  <a:pt x="9806" y="15972"/>
                  <a:pt x="11535" y="17087"/>
                  <a:pt x="12500" y="17361"/>
                </a:cubicBezTo>
                <a:cubicBezTo>
                  <a:pt x="13925" y="17916"/>
                  <a:pt x="15432" y="18665"/>
                  <a:pt x="15675" y="20520"/>
                </a:cubicBezTo>
                <a:cubicBezTo>
                  <a:pt x="15675" y="20520"/>
                  <a:pt x="1016" y="20520"/>
                  <a:pt x="1016" y="20520"/>
                </a:cubicBezTo>
                <a:close/>
                <a:moveTo>
                  <a:pt x="12782" y="16326"/>
                </a:moveTo>
                <a:cubicBezTo>
                  <a:pt x="12782" y="16326"/>
                  <a:pt x="10788" y="15813"/>
                  <a:pt x="10788" y="13567"/>
                </a:cubicBezTo>
                <a:cubicBezTo>
                  <a:pt x="10788" y="11595"/>
                  <a:pt x="11607" y="10900"/>
                  <a:pt x="11923" y="10420"/>
                </a:cubicBezTo>
                <a:cubicBezTo>
                  <a:pt x="11923" y="10420"/>
                  <a:pt x="12573" y="9806"/>
                  <a:pt x="12138" y="7825"/>
                </a:cubicBezTo>
                <a:cubicBezTo>
                  <a:pt x="12863" y="6740"/>
                  <a:pt x="12999" y="4821"/>
                  <a:pt x="12211" y="2789"/>
                </a:cubicBezTo>
                <a:cubicBezTo>
                  <a:pt x="11716" y="1514"/>
                  <a:pt x="11279" y="815"/>
                  <a:pt x="10613" y="409"/>
                </a:cubicBezTo>
                <a:cubicBezTo>
                  <a:pt x="10124" y="111"/>
                  <a:pt x="9569" y="0"/>
                  <a:pt x="9029" y="0"/>
                </a:cubicBezTo>
                <a:cubicBezTo>
                  <a:pt x="8023" y="0"/>
                  <a:pt x="7070" y="384"/>
                  <a:pt x="6690" y="653"/>
                </a:cubicBezTo>
                <a:cubicBezTo>
                  <a:pt x="5576" y="1192"/>
                  <a:pt x="4828" y="1688"/>
                  <a:pt x="4126" y="3579"/>
                </a:cubicBezTo>
                <a:cubicBezTo>
                  <a:pt x="3556" y="5114"/>
                  <a:pt x="4241" y="6891"/>
                  <a:pt x="4598" y="7757"/>
                </a:cubicBezTo>
                <a:cubicBezTo>
                  <a:pt x="4163" y="9739"/>
                  <a:pt x="4767" y="10420"/>
                  <a:pt x="4767" y="10420"/>
                </a:cubicBezTo>
                <a:cubicBezTo>
                  <a:pt x="5083" y="10900"/>
                  <a:pt x="5903" y="11595"/>
                  <a:pt x="5903" y="13567"/>
                </a:cubicBezTo>
                <a:cubicBezTo>
                  <a:pt x="5903" y="15813"/>
                  <a:pt x="3909" y="16326"/>
                  <a:pt x="3909" y="16326"/>
                </a:cubicBezTo>
                <a:cubicBezTo>
                  <a:pt x="2642" y="16817"/>
                  <a:pt x="0" y="17821"/>
                  <a:pt x="0" y="21060"/>
                </a:cubicBezTo>
                <a:cubicBezTo>
                  <a:pt x="0" y="21060"/>
                  <a:pt x="0" y="21600"/>
                  <a:pt x="491" y="21600"/>
                </a:cubicBezTo>
                <a:lnTo>
                  <a:pt x="16200" y="21600"/>
                </a:lnTo>
                <a:cubicBezTo>
                  <a:pt x="16691" y="21600"/>
                  <a:pt x="16691" y="21060"/>
                  <a:pt x="16691" y="21060"/>
                </a:cubicBezTo>
                <a:cubicBezTo>
                  <a:pt x="16691" y="17821"/>
                  <a:pt x="14048" y="16817"/>
                  <a:pt x="12782" y="16326"/>
                </a:cubicBezTo>
                <a:moveTo>
                  <a:pt x="18035" y="15774"/>
                </a:moveTo>
                <a:cubicBezTo>
                  <a:pt x="18035" y="15774"/>
                  <a:pt x="16217" y="15312"/>
                  <a:pt x="16217" y="13291"/>
                </a:cubicBezTo>
                <a:cubicBezTo>
                  <a:pt x="16217" y="11515"/>
                  <a:pt x="17087" y="10890"/>
                  <a:pt x="17376" y="10458"/>
                </a:cubicBezTo>
                <a:cubicBezTo>
                  <a:pt x="17376" y="10458"/>
                  <a:pt x="17968" y="9906"/>
                  <a:pt x="17572" y="8122"/>
                </a:cubicBezTo>
                <a:cubicBezTo>
                  <a:pt x="18232" y="7146"/>
                  <a:pt x="18387" y="5419"/>
                  <a:pt x="17669" y="3590"/>
                </a:cubicBezTo>
                <a:cubicBezTo>
                  <a:pt x="17218" y="2442"/>
                  <a:pt x="16666" y="1814"/>
                  <a:pt x="16059" y="1449"/>
                </a:cubicBezTo>
                <a:cubicBezTo>
                  <a:pt x="15612" y="1180"/>
                  <a:pt x="15107" y="1081"/>
                  <a:pt x="14614" y="1081"/>
                </a:cubicBezTo>
                <a:cubicBezTo>
                  <a:pt x="13880" y="1081"/>
                  <a:pt x="13182" y="1301"/>
                  <a:pt x="12753" y="1514"/>
                </a:cubicBezTo>
                <a:cubicBezTo>
                  <a:pt x="12878" y="1781"/>
                  <a:pt x="12997" y="2064"/>
                  <a:pt x="13115" y="2366"/>
                </a:cubicBezTo>
                <a:cubicBezTo>
                  <a:pt x="13131" y="2409"/>
                  <a:pt x="13143" y="2453"/>
                  <a:pt x="13159" y="2496"/>
                </a:cubicBezTo>
                <a:cubicBezTo>
                  <a:pt x="13436" y="2360"/>
                  <a:pt x="13994" y="2160"/>
                  <a:pt x="14614" y="2160"/>
                </a:cubicBezTo>
                <a:cubicBezTo>
                  <a:pt x="15001" y="2160"/>
                  <a:pt x="15328" y="2239"/>
                  <a:pt x="15588" y="2396"/>
                </a:cubicBezTo>
                <a:cubicBezTo>
                  <a:pt x="15893" y="2579"/>
                  <a:pt x="16347" y="2947"/>
                  <a:pt x="16767" y="4019"/>
                </a:cubicBezTo>
                <a:cubicBezTo>
                  <a:pt x="17366" y="5541"/>
                  <a:pt x="17207" y="6853"/>
                  <a:pt x="16784" y="7478"/>
                </a:cubicBezTo>
                <a:cubicBezTo>
                  <a:pt x="16610" y="7736"/>
                  <a:pt x="16549" y="8067"/>
                  <a:pt x="16618" y="8379"/>
                </a:cubicBezTo>
                <a:cubicBezTo>
                  <a:pt x="16817" y="9273"/>
                  <a:pt x="16689" y="9648"/>
                  <a:pt x="16656" y="9723"/>
                </a:cubicBezTo>
                <a:cubicBezTo>
                  <a:pt x="16631" y="9754"/>
                  <a:pt x="16607" y="9786"/>
                  <a:pt x="16584" y="9820"/>
                </a:cubicBezTo>
                <a:cubicBezTo>
                  <a:pt x="16565" y="9848"/>
                  <a:pt x="16497" y="9929"/>
                  <a:pt x="16447" y="9988"/>
                </a:cubicBezTo>
                <a:cubicBezTo>
                  <a:pt x="16023" y="10488"/>
                  <a:pt x="15236" y="11419"/>
                  <a:pt x="15236" y="13291"/>
                </a:cubicBezTo>
                <a:cubicBezTo>
                  <a:pt x="15236" y="15520"/>
                  <a:pt x="16851" y="16555"/>
                  <a:pt x="17757" y="16810"/>
                </a:cubicBezTo>
                <a:cubicBezTo>
                  <a:pt x="19050" y="17307"/>
                  <a:pt x="20311" y="17926"/>
                  <a:pt x="20570" y="19440"/>
                </a:cubicBezTo>
                <a:lnTo>
                  <a:pt x="17464" y="19440"/>
                </a:lnTo>
                <a:cubicBezTo>
                  <a:pt x="17553" y="19773"/>
                  <a:pt x="17615" y="20132"/>
                  <a:pt x="17645" y="20520"/>
                </a:cubicBezTo>
                <a:lnTo>
                  <a:pt x="21152" y="20520"/>
                </a:lnTo>
                <a:cubicBezTo>
                  <a:pt x="21600" y="20520"/>
                  <a:pt x="21600" y="20034"/>
                  <a:pt x="21600" y="20034"/>
                </a:cubicBezTo>
                <a:cubicBezTo>
                  <a:pt x="21600" y="17119"/>
                  <a:pt x="19191" y="16215"/>
                  <a:pt x="18035" y="15774"/>
                </a:cubicBezTo>
              </a:path>
            </a:pathLst>
          </a:custGeom>
          <a:solidFill>
            <a:srgbClr val="DF2680"/>
          </a:solidFill>
          <a:ln w="12700">
            <a:miter lim="400000"/>
          </a:ln>
        </p:spPr>
        <p:txBody>
          <a:bodyPr lIns="38100" tIns="38100" rIns="38100" bIns="38100" anchor="ctr"/>
          <a:lstStyle/>
          <a:p>
            <a:pPr defTabSz="4572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36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90" name="TextBox 44">
            <a:extLst>
              <a:ext uri="{FF2B5EF4-FFF2-40B4-BE49-F238E27FC236}">
                <a16:creationId xmlns:a16="http://schemas.microsoft.com/office/drawing/2014/main" id="{37715DDE-130A-41D0-AC3F-A98A1857474F}"/>
              </a:ext>
            </a:extLst>
          </p:cNvPr>
          <p:cNvSpPr txBox="1"/>
          <p:nvPr/>
        </p:nvSpPr>
        <p:spPr>
          <a:xfrm>
            <a:off x="9626024" y="3044718"/>
            <a:ext cx="2390922" cy="677108"/>
          </a:xfrm>
          <a:prstGeom prst="rect">
            <a:avLst/>
          </a:prstGeom>
          <a:noFill/>
          <a:ln>
            <a:noFill/>
          </a:ln>
        </p:spPr>
        <p:txBody>
          <a:bodyPr wrap="square" lIns="0" tIns="0" rIns="0" bIns="0" rtlCol="0">
            <a:spAutoFit/>
          </a:bodyPr>
          <a:lstStyle/>
          <a:p>
            <a:pPr defTabSz="685800">
              <a:defRPr/>
            </a:pPr>
            <a:r>
              <a:rPr lang="fr-FR" sz="1100" b="1">
                <a:solidFill>
                  <a:srgbClr val="21215A"/>
                </a:solidFill>
                <a:latin typeface="Arial"/>
              </a:rPr>
              <a:t>Je peux </a:t>
            </a:r>
            <a:r>
              <a:rPr lang="fr-FR" sz="1100" b="1">
                <a:solidFill>
                  <a:srgbClr val="5555C1"/>
                </a:solidFill>
                <a:latin typeface="Arial"/>
              </a:rPr>
              <a:t>télécharger l’application Mon espace </a:t>
            </a:r>
            <a:r>
              <a:rPr lang="fr-FR" sz="1100" b="1">
                <a:solidFill>
                  <a:srgbClr val="21215A"/>
                </a:solidFill>
                <a:latin typeface="Arial"/>
              </a:rPr>
              <a:t>santé et naviguer dans mon compte ou utiliser le mode invité pour me familiariser à l’outil</a:t>
            </a:r>
            <a:endParaRPr lang="fr-FR" sz="1000" b="1">
              <a:solidFill>
                <a:srgbClr val="21215A"/>
              </a:solidFill>
              <a:latin typeface="Arial"/>
            </a:endParaRPr>
          </a:p>
        </p:txBody>
      </p:sp>
      <p:sp>
        <p:nvSpPr>
          <p:cNvPr id="93" name="TextBox 44">
            <a:extLst>
              <a:ext uri="{FF2B5EF4-FFF2-40B4-BE49-F238E27FC236}">
                <a16:creationId xmlns:a16="http://schemas.microsoft.com/office/drawing/2014/main" id="{FE7F7736-0D9F-48B0-8F65-25242B56B4FA}"/>
              </a:ext>
            </a:extLst>
          </p:cNvPr>
          <p:cNvSpPr txBox="1"/>
          <p:nvPr/>
        </p:nvSpPr>
        <p:spPr>
          <a:xfrm>
            <a:off x="7874710" y="5777511"/>
            <a:ext cx="1898539" cy="784830"/>
          </a:xfrm>
          <a:prstGeom prst="rect">
            <a:avLst/>
          </a:prstGeom>
          <a:noFill/>
          <a:ln>
            <a:noFill/>
          </a:ln>
        </p:spPr>
        <p:txBody>
          <a:bodyPr wrap="square" lIns="0" tIns="0" rIns="0" bIns="0" rtlCol="0">
            <a:spAutoFit/>
          </a:bodyPr>
          <a:lstStyle/>
          <a:p>
            <a:pPr algn="r" defTabSz="685800">
              <a:defRPr/>
            </a:pPr>
            <a:r>
              <a:rPr lang="fr-FR" sz="1100" b="1">
                <a:solidFill>
                  <a:srgbClr val="21215A"/>
                </a:solidFill>
                <a:latin typeface="Arial"/>
              </a:rPr>
              <a:t>Je réalise mon atelier</a:t>
            </a:r>
          </a:p>
          <a:p>
            <a:pPr algn="r" defTabSz="685800">
              <a:defRPr/>
            </a:pPr>
            <a:r>
              <a:rPr lang="fr-FR" sz="1000" i="1">
                <a:solidFill>
                  <a:srgbClr val="21215A"/>
                </a:solidFill>
                <a:latin typeface="Arial"/>
              </a:rPr>
              <a:t>J’utilise le mode invité pour montrer l’application.</a:t>
            </a:r>
          </a:p>
          <a:p>
            <a:pPr algn="r" defTabSz="685800">
              <a:defRPr/>
            </a:pPr>
            <a:r>
              <a:rPr lang="fr-FR" sz="1000" i="1">
                <a:solidFill>
                  <a:srgbClr val="21215A"/>
                </a:solidFill>
                <a:latin typeface="Arial"/>
              </a:rPr>
              <a:t>Je note les questions, remarques et témoignages de l’auditoire</a:t>
            </a:r>
            <a:endParaRPr lang="fr-FR" sz="800" i="1">
              <a:solidFill>
                <a:srgbClr val="21215A"/>
              </a:solidFill>
              <a:latin typeface="Arial"/>
            </a:endParaRPr>
          </a:p>
        </p:txBody>
      </p:sp>
      <p:sp>
        <p:nvSpPr>
          <p:cNvPr id="94" name="Arc 93">
            <a:extLst>
              <a:ext uri="{FF2B5EF4-FFF2-40B4-BE49-F238E27FC236}">
                <a16:creationId xmlns:a16="http://schemas.microsoft.com/office/drawing/2014/main" id="{3CCB05B0-291D-4692-8E40-52BB4A4791CC}"/>
              </a:ext>
            </a:extLst>
          </p:cNvPr>
          <p:cNvSpPr/>
          <p:nvPr/>
        </p:nvSpPr>
        <p:spPr>
          <a:xfrm rot="10340573" flipH="1">
            <a:off x="9204846" y="4605213"/>
            <a:ext cx="1313083" cy="1464871"/>
          </a:xfrm>
          <a:prstGeom prst="arc">
            <a:avLst>
              <a:gd name="adj1" fmla="val 17202848"/>
              <a:gd name="adj2" fmla="val 19727088"/>
            </a:avLst>
          </a:prstGeom>
          <a:noFill/>
          <a:ln w="9525" cap="flat" cmpd="sng" algn="ctr">
            <a:solidFill>
              <a:srgbClr val="1F9EB7"/>
            </a:solidFill>
            <a:prstDash val="dash"/>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000000"/>
              </a:solidFill>
              <a:effectLst/>
              <a:uLnTx/>
              <a:uFillTx/>
              <a:latin typeface="Arial"/>
              <a:ea typeface="+mn-ea"/>
              <a:cs typeface="+mn-cs"/>
            </a:endParaRPr>
          </a:p>
        </p:txBody>
      </p:sp>
      <p:sp>
        <p:nvSpPr>
          <p:cNvPr id="95" name="TextBox 44">
            <a:extLst>
              <a:ext uri="{FF2B5EF4-FFF2-40B4-BE49-F238E27FC236}">
                <a16:creationId xmlns:a16="http://schemas.microsoft.com/office/drawing/2014/main" id="{1A555664-5228-4E28-AB91-C5A50D888D74}"/>
              </a:ext>
            </a:extLst>
          </p:cNvPr>
          <p:cNvSpPr txBox="1"/>
          <p:nvPr/>
        </p:nvSpPr>
        <p:spPr>
          <a:xfrm>
            <a:off x="9448209" y="4650654"/>
            <a:ext cx="1882066" cy="800219"/>
          </a:xfrm>
          <a:prstGeom prst="rect">
            <a:avLst/>
          </a:prstGeom>
          <a:noFill/>
          <a:ln>
            <a:noFill/>
          </a:ln>
        </p:spPr>
        <p:txBody>
          <a:bodyPr wrap="square" lIns="0" tIns="0" rIns="0" bIns="0" rtlCol="0">
            <a:spAutoFit/>
          </a:bodyPr>
          <a:lstStyle/>
          <a:p>
            <a:pPr algn="r" defTabSz="685800">
              <a:defRPr/>
            </a:pPr>
            <a:r>
              <a:rPr lang="fr-FR" sz="1100" b="1">
                <a:solidFill>
                  <a:srgbClr val="21215A"/>
                </a:solidFill>
                <a:latin typeface="Arial"/>
              </a:rPr>
              <a:t>J’informe mon coordinateur du déroulé de l’atelier</a:t>
            </a:r>
          </a:p>
          <a:p>
            <a:pPr algn="r" defTabSz="685800">
              <a:defRPr/>
            </a:pPr>
            <a:r>
              <a:rPr lang="fr-FR" sz="1000" i="1">
                <a:solidFill>
                  <a:srgbClr val="21215A"/>
                </a:solidFill>
                <a:latin typeface="Arial"/>
              </a:rPr>
              <a:t>Je remonte les éléments saillants et partage des photos de l’événement</a:t>
            </a:r>
            <a:endParaRPr lang="fr-FR" sz="800" i="1">
              <a:solidFill>
                <a:srgbClr val="21215A"/>
              </a:solidFill>
              <a:latin typeface="Arial"/>
            </a:endParaRPr>
          </a:p>
        </p:txBody>
      </p:sp>
      <p:sp>
        <p:nvSpPr>
          <p:cNvPr id="98" name="Arc 97">
            <a:extLst>
              <a:ext uri="{FF2B5EF4-FFF2-40B4-BE49-F238E27FC236}">
                <a16:creationId xmlns:a16="http://schemas.microsoft.com/office/drawing/2014/main" id="{754F3A47-D41B-4D19-A010-49D3B33F0FE4}"/>
              </a:ext>
            </a:extLst>
          </p:cNvPr>
          <p:cNvSpPr/>
          <p:nvPr/>
        </p:nvSpPr>
        <p:spPr>
          <a:xfrm rot="19891727">
            <a:off x="8122306" y="2826320"/>
            <a:ext cx="2055479" cy="1464871"/>
          </a:xfrm>
          <a:prstGeom prst="arc">
            <a:avLst>
              <a:gd name="adj1" fmla="val 17202848"/>
              <a:gd name="adj2" fmla="val 19727088"/>
            </a:avLst>
          </a:prstGeom>
          <a:noFill/>
          <a:ln w="9525" cap="flat" cmpd="sng" algn="ctr">
            <a:solidFill>
              <a:srgbClr val="1F9EB7"/>
            </a:solidFill>
            <a:prstDash val="dash"/>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000000"/>
              </a:solidFill>
              <a:effectLst/>
              <a:uLnTx/>
              <a:uFillTx/>
              <a:latin typeface="Arial"/>
              <a:ea typeface="+mn-ea"/>
              <a:cs typeface="+mn-cs"/>
            </a:endParaRPr>
          </a:p>
        </p:txBody>
      </p:sp>
      <p:pic>
        <p:nvPicPr>
          <p:cNvPr id="101" name="Graphic 100" descr="Smart Phone with solid fill">
            <a:extLst>
              <a:ext uri="{FF2B5EF4-FFF2-40B4-BE49-F238E27FC236}">
                <a16:creationId xmlns:a16="http://schemas.microsoft.com/office/drawing/2014/main" id="{EAAF1D2E-6749-4070-B934-62B2088BDE3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582531" y="2594399"/>
            <a:ext cx="312051" cy="312051"/>
          </a:xfrm>
          <a:prstGeom prst="rect">
            <a:avLst/>
          </a:prstGeom>
        </p:spPr>
      </p:pic>
      <p:sp>
        <p:nvSpPr>
          <p:cNvPr id="104" name="Arc 103">
            <a:extLst>
              <a:ext uri="{FF2B5EF4-FFF2-40B4-BE49-F238E27FC236}">
                <a16:creationId xmlns:a16="http://schemas.microsoft.com/office/drawing/2014/main" id="{B7C14DE6-B588-44AC-B442-FFF6C98D99AB}"/>
              </a:ext>
            </a:extLst>
          </p:cNvPr>
          <p:cNvSpPr/>
          <p:nvPr/>
        </p:nvSpPr>
        <p:spPr>
          <a:xfrm rot="16200000" flipH="1">
            <a:off x="3307623" y="4534393"/>
            <a:ext cx="1652306" cy="1464871"/>
          </a:xfrm>
          <a:prstGeom prst="arc">
            <a:avLst>
              <a:gd name="adj1" fmla="val 17202848"/>
              <a:gd name="adj2" fmla="val 19727088"/>
            </a:avLst>
          </a:prstGeom>
          <a:noFill/>
          <a:ln w="9525" cap="flat" cmpd="sng" algn="ctr">
            <a:solidFill>
              <a:srgbClr val="1F9EB7"/>
            </a:solidFill>
            <a:prstDash val="dash"/>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000000"/>
              </a:solidFill>
              <a:effectLst/>
              <a:uLnTx/>
              <a:uFillTx/>
              <a:latin typeface="Arial"/>
              <a:ea typeface="+mn-ea"/>
              <a:cs typeface="+mn-cs"/>
            </a:endParaRPr>
          </a:p>
        </p:txBody>
      </p:sp>
      <p:sp>
        <p:nvSpPr>
          <p:cNvPr id="105" name="Arc 104">
            <a:extLst>
              <a:ext uri="{FF2B5EF4-FFF2-40B4-BE49-F238E27FC236}">
                <a16:creationId xmlns:a16="http://schemas.microsoft.com/office/drawing/2014/main" id="{9D84974F-7060-4D3D-98F2-938E5A1714DD}"/>
              </a:ext>
            </a:extLst>
          </p:cNvPr>
          <p:cNvSpPr/>
          <p:nvPr/>
        </p:nvSpPr>
        <p:spPr>
          <a:xfrm rot="9129701" flipH="1">
            <a:off x="4696063" y="4739257"/>
            <a:ext cx="1652306" cy="1464871"/>
          </a:xfrm>
          <a:prstGeom prst="arc">
            <a:avLst>
              <a:gd name="adj1" fmla="val 17202848"/>
              <a:gd name="adj2" fmla="val 19727088"/>
            </a:avLst>
          </a:prstGeom>
          <a:noFill/>
          <a:ln w="9525" cap="flat" cmpd="sng" algn="ctr">
            <a:solidFill>
              <a:srgbClr val="1F9EB7"/>
            </a:solidFill>
            <a:prstDash val="dash"/>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000000"/>
              </a:solidFill>
              <a:effectLst/>
              <a:uLnTx/>
              <a:uFillTx/>
              <a:latin typeface="Arial"/>
              <a:ea typeface="+mn-ea"/>
              <a:cs typeface="+mn-cs"/>
            </a:endParaRPr>
          </a:p>
        </p:txBody>
      </p:sp>
      <p:sp>
        <p:nvSpPr>
          <p:cNvPr id="106" name="Arc 105">
            <a:extLst>
              <a:ext uri="{FF2B5EF4-FFF2-40B4-BE49-F238E27FC236}">
                <a16:creationId xmlns:a16="http://schemas.microsoft.com/office/drawing/2014/main" id="{10B67161-F401-4ABF-9183-955386D1747F}"/>
              </a:ext>
            </a:extLst>
          </p:cNvPr>
          <p:cNvSpPr/>
          <p:nvPr/>
        </p:nvSpPr>
        <p:spPr>
          <a:xfrm rot="16200000" flipH="1">
            <a:off x="7302527" y="4501853"/>
            <a:ext cx="1652306" cy="1464871"/>
          </a:xfrm>
          <a:prstGeom prst="arc">
            <a:avLst>
              <a:gd name="adj1" fmla="val 17202848"/>
              <a:gd name="adj2" fmla="val 19727088"/>
            </a:avLst>
          </a:prstGeom>
          <a:noFill/>
          <a:ln w="9525" cap="flat" cmpd="sng" algn="ctr">
            <a:solidFill>
              <a:srgbClr val="1F9EB7"/>
            </a:solidFill>
            <a:prstDash val="dash"/>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878207156"/>
      </p:ext>
    </p:extLst>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7727F541-F16B-4114-94C0-86FE50A942F8}"/>
              </a:ext>
            </a:extLst>
          </p:cNvPr>
          <p:cNvSpPr>
            <a:spLocks noGrp="1"/>
          </p:cNvSpPr>
          <p:nvPr>
            <p:ph type="sldNum" sz="quarter" idx="2"/>
          </p:nvPr>
        </p:nvSpPr>
        <p:spPr/>
        <p:txBody>
          <a:bodyPr/>
          <a:lstStyle/>
          <a:p>
            <a:fld id="{86CB4B4D-7CA3-9044-876B-883B54F8677D}" type="slidenum">
              <a:rPr lang="fr-FR" smtClean="0"/>
              <a:t>37</a:t>
            </a:fld>
            <a:endParaRPr lang="fr-FR"/>
          </a:p>
        </p:txBody>
      </p:sp>
      <p:sp>
        <p:nvSpPr>
          <p:cNvPr id="4" name="Titre 3">
            <a:extLst>
              <a:ext uri="{FF2B5EF4-FFF2-40B4-BE49-F238E27FC236}">
                <a16:creationId xmlns:a16="http://schemas.microsoft.com/office/drawing/2014/main" id="{7CC62463-E0A0-4947-A8CB-4C9789FB5532}"/>
              </a:ext>
            </a:extLst>
          </p:cNvPr>
          <p:cNvSpPr>
            <a:spLocks noGrp="1"/>
          </p:cNvSpPr>
          <p:nvPr>
            <p:ph type="title"/>
          </p:nvPr>
        </p:nvSpPr>
        <p:spPr>
          <a:xfrm>
            <a:off x="2313516" y="16625"/>
            <a:ext cx="9616345" cy="1133342"/>
          </a:xfrm>
        </p:spPr>
        <p:txBody>
          <a:bodyPr>
            <a:normAutofit/>
          </a:bodyPr>
          <a:lstStyle/>
          <a:p>
            <a:r>
              <a:rPr lang="fr-FR" kern="1200">
                <a:latin typeface="Arial"/>
                <a:cs typeface="Arial"/>
              </a:rPr>
              <a:t>Des exemples d’actions concrètes</a:t>
            </a:r>
            <a:endParaRPr lang="en-US"/>
          </a:p>
        </p:txBody>
      </p:sp>
      <p:sp>
        <p:nvSpPr>
          <p:cNvPr id="22" name="Rectangle 21">
            <a:extLst>
              <a:ext uri="{FF2B5EF4-FFF2-40B4-BE49-F238E27FC236}">
                <a16:creationId xmlns:a16="http://schemas.microsoft.com/office/drawing/2014/main" id="{B6BAF502-5AFE-4C4C-80ED-5A8276D96EE9}"/>
              </a:ext>
            </a:extLst>
          </p:cNvPr>
          <p:cNvSpPr/>
          <p:nvPr/>
        </p:nvSpPr>
        <p:spPr>
          <a:xfrm>
            <a:off x="1377036" y="1852212"/>
            <a:ext cx="1368000" cy="2016000"/>
          </a:xfrm>
          <a:prstGeom prst="rect">
            <a:avLst/>
          </a:prstGeom>
          <a:solidFill>
            <a:srgbClr val="EFF7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fr-FR"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23" name="Rectangle 22">
            <a:extLst>
              <a:ext uri="{FF2B5EF4-FFF2-40B4-BE49-F238E27FC236}">
                <a16:creationId xmlns:a16="http://schemas.microsoft.com/office/drawing/2014/main" id="{BF8549FF-64B9-42A7-A17A-CBC1C15A7A02}"/>
              </a:ext>
            </a:extLst>
          </p:cNvPr>
          <p:cNvSpPr/>
          <p:nvPr/>
        </p:nvSpPr>
        <p:spPr>
          <a:xfrm>
            <a:off x="6726800" y="1852212"/>
            <a:ext cx="1368000" cy="2016000"/>
          </a:xfrm>
          <a:prstGeom prst="rect">
            <a:avLst/>
          </a:prstGeom>
          <a:solidFill>
            <a:srgbClr val="EFF7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fr-FR"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24" name="Rectangle 23">
            <a:extLst>
              <a:ext uri="{FF2B5EF4-FFF2-40B4-BE49-F238E27FC236}">
                <a16:creationId xmlns:a16="http://schemas.microsoft.com/office/drawing/2014/main" id="{52489C87-9471-4AE9-8FAA-BF2D592A71AE}"/>
              </a:ext>
            </a:extLst>
          </p:cNvPr>
          <p:cNvSpPr/>
          <p:nvPr/>
        </p:nvSpPr>
        <p:spPr>
          <a:xfrm>
            <a:off x="6726800" y="4230489"/>
            <a:ext cx="1368000" cy="2016000"/>
          </a:xfrm>
          <a:prstGeom prst="rect">
            <a:avLst/>
          </a:prstGeom>
          <a:solidFill>
            <a:srgbClr val="EFF7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fr-FR"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25" name="Rectangle 24">
            <a:extLst>
              <a:ext uri="{FF2B5EF4-FFF2-40B4-BE49-F238E27FC236}">
                <a16:creationId xmlns:a16="http://schemas.microsoft.com/office/drawing/2014/main" id="{C04B5322-E92D-4BD3-B98A-31E53B55B1A7}"/>
              </a:ext>
            </a:extLst>
          </p:cNvPr>
          <p:cNvSpPr/>
          <p:nvPr/>
        </p:nvSpPr>
        <p:spPr>
          <a:xfrm>
            <a:off x="1377036" y="4230489"/>
            <a:ext cx="1368000" cy="2016000"/>
          </a:xfrm>
          <a:prstGeom prst="rect">
            <a:avLst/>
          </a:prstGeom>
          <a:solidFill>
            <a:srgbClr val="EFF7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fr-FR"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26" name="Rectangle 25">
            <a:extLst>
              <a:ext uri="{FF2B5EF4-FFF2-40B4-BE49-F238E27FC236}">
                <a16:creationId xmlns:a16="http://schemas.microsoft.com/office/drawing/2014/main" id="{BEB6260E-4EB8-4D7A-B240-0FAD4CA1FDD3}"/>
              </a:ext>
            </a:extLst>
          </p:cNvPr>
          <p:cNvSpPr/>
          <p:nvPr/>
        </p:nvSpPr>
        <p:spPr>
          <a:xfrm>
            <a:off x="7348235" y="4442236"/>
            <a:ext cx="3940501" cy="615553"/>
          </a:xfrm>
          <a:prstGeom prst="rect">
            <a:avLst/>
          </a:prstGeom>
          <a:noFill/>
        </p:spPr>
        <p:txBody>
          <a:bodyPr wrap="square">
            <a:spAutoFit/>
          </a:bodyPr>
          <a:lstStyle/>
          <a:p>
            <a:pPr defTabSz="914378">
              <a:defRPr/>
            </a:pPr>
            <a:r>
              <a:rPr lang="fr-FR" sz="2000" b="1">
                <a:solidFill>
                  <a:srgbClr val="D41374"/>
                </a:solidFill>
                <a:latin typeface="+mj-lt"/>
                <a:ea typeface="Geneva" charset="-128"/>
                <a:cs typeface="Arial" panose="020B0604020202020204" pitchFamily="34" charset="0"/>
              </a:rPr>
              <a:t>Accompagner</a:t>
            </a:r>
            <a:r>
              <a:rPr lang="fr-FR" sz="1400" b="1">
                <a:solidFill>
                  <a:prstClr val="black"/>
                </a:solidFill>
                <a:latin typeface="+mj-lt"/>
                <a:ea typeface="Geneva" charset="-128"/>
                <a:cs typeface="Arial" panose="020B0604020202020204" pitchFamily="34" charset="0"/>
              </a:rPr>
              <a:t> </a:t>
            </a:r>
            <a:r>
              <a:rPr lang="fr-FR" sz="1400">
                <a:solidFill>
                  <a:prstClr val="black"/>
                </a:solidFill>
                <a:latin typeface="+mj-lt"/>
                <a:ea typeface="Geneva" charset="-128"/>
                <a:cs typeface="Arial" panose="020B0604020202020204" pitchFamily="34" charset="0"/>
              </a:rPr>
              <a:t>à la prise en main de Mon espace santé</a:t>
            </a:r>
            <a:endParaRPr lang="en-US" sz="1400" i="1">
              <a:latin typeface="+mj-lt"/>
            </a:endParaRPr>
          </a:p>
        </p:txBody>
      </p:sp>
      <p:sp>
        <p:nvSpPr>
          <p:cNvPr id="27" name="Rectangle 26">
            <a:extLst>
              <a:ext uri="{FF2B5EF4-FFF2-40B4-BE49-F238E27FC236}">
                <a16:creationId xmlns:a16="http://schemas.microsoft.com/office/drawing/2014/main" id="{A46FEE31-D4EB-47DA-BEF2-457C98A7B180}"/>
              </a:ext>
            </a:extLst>
          </p:cNvPr>
          <p:cNvSpPr/>
          <p:nvPr/>
        </p:nvSpPr>
        <p:spPr>
          <a:xfrm>
            <a:off x="7557364" y="1979411"/>
            <a:ext cx="3940501" cy="830997"/>
          </a:xfrm>
          <a:prstGeom prst="rect">
            <a:avLst/>
          </a:prstGeom>
          <a:noFill/>
        </p:spPr>
        <p:txBody>
          <a:bodyPr wrap="square">
            <a:spAutoFit/>
          </a:bodyPr>
          <a:lstStyle/>
          <a:p>
            <a:pPr defTabSz="914378">
              <a:defRPr/>
            </a:pPr>
            <a:r>
              <a:rPr lang="fr-FR" sz="2000" b="1">
                <a:solidFill>
                  <a:srgbClr val="D41374"/>
                </a:solidFill>
                <a:latin typeface="+mj-lt"/>
                <a:ea typeface="Geneva" charset="-128"/>
                <a:cs typeface="Arial" panose="020B0604020202020204" pitchFamily="34" charset="0"/>
              </a:rPr>
              <a:t>Informer</a:t>
            </a:r>
            <a:r>
              <a:rPr lang="fr-FR" sz="1400" b="1">
                <a:solidFill>
                  <a:prstClr val="black"/>
                </a:solidFill>
                <a:latin typeface="+mj-lt"/>
                <a:ea typeface="Geneva" charset="-128"/>
                <a:cs typeface="Arial" panose="020B0604020202020204" pitchFamily="34" charset="0"/>
              </a:rPr>
              <a:t> </a:t>
            </a:r>
            <a:r>
              <a:rPr lang="fr-FR" sz="1400">
                <a:solidFill>
                  <a:prstClr val="black"/>
                </a:solidFill>
                <a:latin typeface="+mj-lt"/>
                <a:ea typeface="Geneva" charset="-128"/>
                <a:cs typeface="Arial" panose="020B0604020202020204" pitchFamily="34" charset="0"/>
              </a:rPr>
              <a:t>le citoyen sur ce qu’est Mon espace santé</a:t>
            </a:r>
            <a:br>
              <a:rPr lang="fr-FR" sz="1400">
                <a:latin typeface="+mj-lt"/>
              </a:rPr>
            </a:br>
            <a:endParaRPr lang="en-US" sz="1400" i="1">
              <a:latin typeface="+mj-lt"/>
            </a:endParaRPr>
          </a:p>
        </p:txBody>
      </p:sp>
      <p:sp>
        <p:nvSpPr>
          <p:cNvPr id="28" name="Rectangle 27">
            <a:extLst>
              <a:ext uri="{FF2B5EF4-FFF2-40B4-BE49-F238E27FC236}">
                <a16:creationId xmlns:a16="http://schemas.microsoft.com/office/drawing/2014/main" id="{D75D1DB7-FF87-4CAB-95D8-2D70E9B691FC}"/>
              </a:ext>
            </a:extLst>
          </p:cNvPr>
          <p:cNvSpPr/>
          <p:nvPr/>
        </p:nvSpPr>
        <p:spPr>
          <a:xfrm>
            <a:off x="2020397" y="1979411"/>
            <a:ext cx="3940501" cy="615553"/>
          </a:xfrm>
          <a:prstGeom prst="rect">
            <a:avLst/>
          </a:prstGeom>
          <a:noFill/>
        </p:spPr>
        <p:txBody>
          <a:bodyPr wrap="square">
            <a:spAutoFit/>
          </a:bodyPr>
          <a:lstStyle/>
          <a:p>
            <a:pPr defTabSz="914378">
              <a:defRPr/>
            </a:pPr>
            <a:r>
              <a:rPr lang="fr-FR" sz="2000" b="1">
                <a:solidFill>
                  <a:srgbClr val="D41374"/>
                </a:solidFill>
                <a:latin typeface="+mj-lt"/>
                <a:ea typeface="Geneva" charset="-128"/>
                <a:cs typeface="Arial" panose="020B0604020202020204" pitchFamily="34" charset="0"/>
              </a:rPr>
              <a:t>Communiquer </a:t>
            </a:r>
            <a:r>
              <a:rPr lang="fr-FR" sz="1400">
                <a:solidFill>
                  <a:prstClr val="black"/>
                </a:solidFill>
                <a:latin typeface="+mj-lt"/>
                <a:ea typeface="Geneva" charset="-128"/>
                <a:cs typeface="Arial" panose="020B0604020202020204" pitchFamily="34" charset="0"/>
              </a:rPr>
              <a:t>sur Mon espace santé</a:t>
            </a:r>
            <a:br>
              <a:rPr lang="fr-FR" sz="1400">
                <a:latin typeface="+mj-lt"/>
              </a:rPr>
            </a:br>
            <a:endParaRPr lang="en-US" sz="1400" i="1">
              <a:latin typeface="+mj-lt"/>
            </a:endParaRPr>
          </a:p>
        </p:txBody>
      </p:sp>
      <p:sp>
        <p:nvSpPr>
          <p:cNvPr id="29" name="Rectangle 28">
            <a:extLst>
              <a:ext uri="{FF2B5EF4-FFF2-40B4-BE49-F238E27FC236}">
                <a16:creationId xmlns:a16="http://schemas.microsoft.com/office/drawing/2014/main" id="{E6F16BE8-5973-4255-BD55-7716E60DA086}"/>
              </a:ext>
            </a:extLst>
          </p:cNvPr>
          <p:cNvSpPr/>
          <p:nvPr/>
        </p:nvSpPr>
        <p:spPr>
          <a:xfrm>
            <a:off x="2020398" y="2606124"/>
            <a:ext cx="2952000" cy="900246"/>
          </a:xfrm>
          <a:prstGeom prst="rect">
            <a:avLst/>
          </a:prstGeom>
          <a:noFill/>
        </p:spPr>
        <p:txBody>
          <a:bodyPr wrap="square" lIns="91440" tIns="45720" rIns="91440" bIns="45720" anchor="t">
            <a:spAutoFit/>
          </a:bodyPr>
          <a:lstStyle/>
          <a:p>
            <a:pPr marL="171450" indent="-171450" defTabSz="914378">
              <a:buFontTx/>
              <a:buChar char="-"/>
              <a:defRPr/>
            </a:pPr>
            <a:r>
              <a:rPr lang="en-US" sz="1050" i="1">
                <a:latin typeface="+mj-lt"/>
              </a:rPr>
              <a:t>Distribution de flyers</a:t>
            </a:r>
            <a:endParaRPr lang="en-US" sz="2800">
              <a:latin typeface="+mj-lt"/>
            </a:endParaRPr>
          </a:p>
          <a:p>
            <a:pPr marL="171450" indent="-171450" defTabSz="914378">
              <a:buFontTx/>
              <a:buChar char="-"/>
              <a:defRPr/>
            </a:pPr>
            <a:r>
              <a:rPr lang="en-US" sz="1050" i="1">
                <a:latin typeface="+mj-lt"/>
              </a:rPr>
              <a:t>Diffusion de </a:t>
            </a:r>
            <a:r>
              <a:rPr lang="en-US" sz="1050" i="1" err="1">
                <a:latin typeface="+mj-lt"/>
              </a:rPr>
              <a:t>vidéos</a:t>
            </a:r>
            <a:r>
              <a:rPr lang="en-US" sz="1050" i="1">
                <a:latin typeface="+mj-lt"/>
              </a:rPr>
              <a:t> </a:t>
            </a:r>
            <a:r>
              <a:rPr lang="en-US" sz="1050" i="1" err="1">
                <a:latin typeface="+mj-lt"/>
              </a:rPr>
              <a:t>promotionnelles</a:t>
            </a:r>
            <a:r>
              <a:rPr lang="en-US" sz="1050" i="1">
                <a:latin typeface="+mj-lt"/>
              </a:rPr>
              <a:t> au sein de la structure </a:t>
            </a:r>
          </a:p>
          <a:p>
            <a:pPr marL="171450" indent="-171450" defTabSz="914378">
              <a:buFontTx/>
              <a:buChar char="-"/>
              <a:defRPr/>
            </a:pPr>
            <a:r>
              <a:rPr lang="en-US" sz="1050" i="1" err="1">
                <a:latin typeface="+mj-lt"/>
              </a:rPr>
              <a:t>Affichage</a:t>
            </a:r>
            <a:r>
              <a:rPr lang="en-US" sz="1050" i="1">
                <a:latin typeface="+mj-lt"/>
              </a:rPr>
              <a:t> de communication dans la structure</a:t>
            </a:r>
          </a:p>
        </p:txBody>
      </p:sp>
      <p:sp>
        <p:nvSpPr>
          <p:cNvPr id="30" name="Rectangle 29">
            <a:extLst>
              <a:ext uri="{FF2B5EF4-FFF2-40B4-BE49-F238E27FC236}">
                <a16:creationId xmlns:a16="http://schemas.microsoft.com/office/drawing/2014/main" id="{3F7B0C43-9AC6-4B1B-92FC-0B2E79B101D4}"/>
              </a:ext>
            </a:extLst>
          </p:cNvPr>
          <p:cNvSpPr/>
          <p:nvPr/>
        </p:nvSpPr>
        <p:spPr>
          <a:xfrm>
            <a:off x="7348237" y="5148683"/>
            <a:ext cx="3511808" cy="1061829"/>
          </a:xfrm>
          <a:prstGeom prst="rect">
            <a:avLst/>
          </a:prstGeom>
          <a:noFill/>
        </p:spPr>
        <p:txBody>
          <a:bodyPr wrap="square" lIns="91440" tIns="45720" rIns="91440" bIns="45720" anchor="t">
            <a:spAutoFit/>
          </a:bodyPr>
          <a:lstStyle/>
          <a:p>
            <a:pPr marL="171450" indent="-171450" defTabSz="914378">
              <a:buFontTx/>
              <a:buChar char="-"/>
              <a:defRPr/>
            </a:pPr>
            <a:r>
              <a:rPr lang="fr-FR" sz="1050" i="1">
                <a:latin typeface="+mj-lt"/>
              </a:rPr>
              <a:t>Accompagnement de l'usager pour réaliser ses démarches dans Mon espace santé </a:t>
            </a:r>
            <a:br>
              <a:rPr lang="fr-FR" sz="1050" i="1">
                <a:latin typeface="+mj-lt"/>
              </a:rPr>
            </a:br>
            <a:r>
              <a:rPr lang="fr-FR" sz="1050" i="1">
                <a:latin typeface="+mj-lt"/>
              </a:rPr>
              <a:t>(remplir le profil, déposer des documents, interagir avec des professionnels de santé,…)</a:t>
            </a:r>
            <a:endParaRPr lang="fr-FR" sz="2800">
              <a:latin typeface="+mj-lt"/>
            </a:endParaRPr>
          </a:p>
          <a:p>
            <a:pPr marL="171450" indent="-171450" defTabSz="914378">
              <a:buFontTx/>
              <a:buChar char="-"/>
              <a:defRPr/>
            </a:pPr>
            <a:r>
              <a:rPr lang="fr-FR" sz="1050" i="1">
                <a:latin typeface="+mj-lt"/>
              </a:rPr>
              <a:t>Répondre aux questions d'autres structures</a:t>
            </a:r>
          </a:p>
          <a:p>
            <a:pPr marL="171450" indent="-171450" defTabSz="914378">
              <a:buFontTx/>
              <a:buChar char="-"/>
              <a:defRPr/>
            </a:pPr>
            <a:endParaRPr lang="en-US" sz="1050" i="1">
              <a:latin typeface="+mj-lt"/>
            </a:endParaRPr>
          </a:p>
        </p:txBody>
      </p:sp>
      <p:sp>
        <p:nvSpPr>
          <p:cNvPr id="31" name="Rectangle 30">
            <a:extLst>
              <a:ext uri="{FF2B5EF4-FFF2-40B4-BE49-F238E27FC236}">
                <a16:creationId xmlns:a16="http://schemas.microsoft.com/office/drawing/2014/main" id="{AB38E216-D940-470B-9FCC-15BD448336D6}"/>
              </a:ext>
            </a:extLst>
          </p:cNvPr>
          <p:cNvSpPr/>
          <p:nvPr/>
        </p:nvSpPr>
        <p:spPr>
          <a:xfrm>
            <a:off x="7557366" y="2606124"/>
            <a:ext cx="3162978" cy="577081"/>
          </a:xfrm>
          <a:prstGeom prst="rect">
            <a:avLst/>
          </a:prstGeom>
          <a:noFill/>
        </p:spPr>
        <p:txBody>
          <a:bodyPr wrap="square" lIns="91440" tIns="45720" rIns="91440" bIns="45720" anchor="t">
            <a:spAutoFit/>
          </a:bodyPr>
          <a:lstStyle/>
          <a:p>
            <a:pPr marL="171450" indent="-171450" defTabSz="914378">
              <a:buFontTx/>
              <a:buChar char="-"/>
              <a:defRPr/>
            </a:pPr>
            <a:r>
              <a:rPr lang="fr-FR" sz="1050" i="1">
                <a:latin typeface="+mj-lt"/>
                <a:ea typeface="Geneva"/>
              </a:rPr>
              <a:t>Parler proactivement de Mon espace santé</a:t>
            </a:r>
            <a:endParaRPr lang="en-US" sz="2800">
              <a:latin typeface="+mj-lt"/>
            </a:endParaRPr>
          </a:p>
          <a:p>
            <a:pPr marL="171450" indent="-171450" defTabSz="914378">
              <a:buFontTx/>
              <a:buChar char="-"/>
              <a:defRPr/>
            </a:pPr>
            <a:r>
              <a:rPr lang="fr-FR" sz="1050" i="1">
                <a:latin typeface="+mj-lt"/>
                <a:ea typeface="Geneva"/>
              </a:rPr>
              <a:t>Tenue de stand dans l’accueil de sa structure d’appartenance</a:t>
            </a:r>
          </a:p>
        </p:txBody>
      </p:sp>
      <p:pic>
        <p:nvPicPr>
          <p:cNvPr id="32" name="Graphic 13" descr="Marketing with solid fill">
            <a:extLst>
              <a:ext uri="{FF2B5EF4-FFF2-40B4-BE49-F238E27FC236}">
                <a16:creationId xmlns:a16="http://schemas.microsoft.com/office/drawing/2014/main" id="{CB31BAA7-B89E-49A5-B0C6-0D83651CABF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551288" y="1979411"/>
            <a:ext cx="540000" cy="540000"/>
          </a:xfrm>
          <a:prstGeom prst="rect">
            <a:avLst/>
          </a:prstGeom>
        </p:spPr>
      </p:pic>
      <p:pic>
        <p:nvPicPr>
          <p:cNvPr id="33" name="Graphic 14" descr="Shoe footprints with solid fill">
            <a:extLst>
              <a:ext uri="{FF2B5EF4-FFF2-40B4-BE49-F238E27FC236}">
                <a16:creationId xmlns:a16="http://schemas.microsoft.com/office/drawing/2014/main" id="{6B605F1D-DFEF-45E2-8E90-97984610FB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808237" y="4442236"/>
            <a:ext cx="540000" cy="540000"/>
          </a:xfrm>
          <a:prstGeom prst="rect">
            <a:avLst/>
          </a:prstGeom>
        </p:spPr>
      </p:pic>
      <p:pic>
        <p:nvPicPr>
          <p:cNvPr id="34" name="Graphic 15" descr="Postit Notes with solid fill">
            <a:extLst>
              <a:ext uri="{FF2B5EF4-FFF2-40B4-BE49-F238E27FC236}">
                <a16:creationId xmlns:a16="http://schemas.microsoft.com/office/drawing/2014/main" id="{2A700FFB-0003-450C-99D5-A99BB8BF0F4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01052" y="1979411"/>
            <a:ext cx="540000" cy="540000"/>
          </a:xfrm>
          <a:prstGeom prst="rect">
            <a:avLst/>
          </a:prstGeom>
        </p:spPr>
      </p:pic>
      <p:sp>
        <p:nvSpPr>
          <p:cNvPr id="35" name="Rectangle 34">
            <a:extLst>
              <a:ext uri="{FF2B5EF4-FFF2-40B4-BE49-F238E27FC236}">
                <a16:creationId xmlns:a16="http://schemas.microsoft.com/office/drawing/2014/main" id="{06469C98-0549-4656-B2FF-5E32A5106907}"/>
              </a:ext>
            </a:extLst>
          </p:cNvPr>
          <p:cNvSpPr/>
          <p:nvPr/>
        </p:nvSpPr>
        <p:spPr>
          <a:xfrm>
            <a:off x="2020397" y="4442236"/>
            <a:ext cx="3940501" cy="830997"/>
          </a:xfrm>
          <a:prstGeom prst="rect">
            <a:avLst/>
          </a:prstGeom>
          <a:noFill/>
        </p:spPr>
        <p:txBody>
          <a:bodyPr wrap="square">
            <a:spAutoFit/>
          </a:bodyPr>
          <a:lstStyle/>
          <a:p>
            <a:pPr defTabSz="914378">
              <a:defRPr/>
            </a:pPr>
            <a:r>
              <a:rPr lang="fr-FR" sz="2000" b="1">
                <a:solidFill>
                  <a:srgbClr val="D41374"/>
                </a:solidFill>
                <a:latin typeface="+mj-lt"/>
                <a:ea typeface="Geneva" charset="-128"/>
                <a:cs typeface="Arial" panose="020B0604020202020204" pitchFamily="34" charset="0"/>
              </a:rPr>
              <a:t>Présenter</a:t>
            </a:r>
            <a:r>
              <a:rPr lang="fr-FR" sz="1400">
                <a:solidFill>
                  <a:prstClr val="black"/>
                </a:solidFill>
                <a:latin typeface="+mj-lt"/>
                <a:ea typeface="Geneva" charset="-128"/>
                <a:cs typeface="Arial" panose="020B0604020202020204" pitchFamily="34" charset="0"/>
              </a:rPr>
              <a:t> Mon espace santé auprès des publics accompagnés</a:t>
            </a:r>
            <a:br>
              <a:rPr lang="fr-FR" sz="1400">
                <a:latin typeface="+mj-lt"/>
              </a:rPr>
            </a:br>
            <a:endParaRPr lang="en-US" sz="1400" i="1">
              <a:latin typeface="+mj-lt"/>
            </a:endParaRPr>
          </a:p>
        </p:txBody>
      </p:sp>
      <p:sp>
        <p:nvSpPr>
          <p:cNvPr id="36" name="Rectangle 35">
            <a:extLst>
              <a:ext uri="{FF2B5EF4-FFF2-40B4-BE49-F238E27FC236}">
                <a16:creationId xmlns:a16="http://schemas.microsoft.com/office/drawing/2014/main" id="{B0846366-3337-4C26-9F42-862B9A94B3C9}"/>
              </a:ext>
            </a:extLst>
          </p:cNvPr>
          <p:cNvSpPr/>
          <p:nvPr/>
        </p:nvSpPr>
        <p:spPr>
          <a:xfrm>
            <a:off x="2020398" y="5148683"/>
            <a:ext cx="3099246" cy="900246"/>
          </a:xfrm>
          <a:prstGeom prst="rect">
            <a:avLst/>
          </a:prstGeom>
          <a:noFill/>
        </p:spPr>
        <p:txBody>
          <a:bodyPr wrap="square" lIns="91440" tIns="45720" rIns="91440" bIns="45720" anchor="t">
            <a:spAutoFit/>
          </a:bodyPr>
          <a:lstStyle/>
          <a:p>
            <a:pPr marL="171450" indent="-171450" defTabSz="914378">
              <a:buFontTx/>
              <a:buChar char="-"/>
              <a:defRPr/>
            </a:pPr>
            <a:r>
              <a:rPr lang="fr-FR" sz="1050" i="1">
                <a:latin typeface="+mj-lt"/>
                <a:ea typeface="Geneva"/>
              </a:rPr>
              <a:t>Animation d’ateliers de présentation ou découverte de Mon espace santé</a:t>
            </a:r>
            <a:endParaRPr lang="en-US" sz="2800">
              <a:latin typeface="+mj-lt"/>
              <a:ea typeface="Geneva"/>
            </a:endParaRPr>
          </a:p>
          <a:p>
            <a:pPr marL="171450" indent="-171450" defTabSz="914378">
              <a:buFontTx/>
              <a:buChar char="-"/>
              <a:defRPr/>
            </a:pPr>
            <a:r>
              <a:rPr lang="fr-FR" sz="1050" i="1">
                <a:latin typeface="+mj-lt"/>
                <a:ea typeface="Geneva"/>
              </a:rPr>
              <a:t>Animation de webinaires à destination du grand public </a:t>
            </a:r>
            <a:br>
              <a:rPr lang="fr-FR" sz="1050">
                <a:latin typeface="+mj-lt"/>
              </a:rPr>
            </a:br>
            <a:endParaRPr lang="en-US" sz="1050" i="1">
              <a:latin typeface="+mj-lt"/>
            </a:endParaRPr>
          </a:p>
        </p:txBody>
      </p:sp>
      <p:pic>
        <p:nvPicPr>
          <p:cNvPr id="37" name="Graphic 19" descr="Teacher with solid fill">
            <a:extLst>
              <a:ext uri="{FF2B5EF4-FFF2-40B4-BE49-F238E27FC236}">
                <a16:creationId xmlns:a16="http://schemas.microsoft.com/office/drawing/2014/main" id="{1DC00FF6-A93F-4A77-A6F7-62D7A15ACF9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60077" y="4442236"/>
            <a:ext cx="540000" cy="540000"/>
          </a:xfrm>
          <a:prstGeom prst="rect">
            <a:avLst/>
          </a:prstGeom>
        </p:spPr>
      </p:pic>
    </p:spTree>
    <p:extLst>
      <p:ext uri="{BB962C8B-B14F-4D97-AF65-F5344CB8AC3E}">
        <p14:creationId xmlns:p14="http://schemas.microsoft.com/office/powerpoint/2010/main" val="567221131"/>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62C5FBFD-B6AD-411B-AA70-1C2B9A4E9321}"/>
              </a:ext>
            </a:extLst>
          </p:cNvPr>
          <p:cNvSpPr>
            <a:spLocks noGrp="1"/>
          </p:cNvSpPr>
          <p:nvPr>
            <p:ph type="sldNum" sz="quarter" idx="2"/>
          </p:nvPr>
        </p:nvSpPr>
        <p:spPr>
          <a:xfrm>
            <a:off x="11792336" y="6510245"/>
            <a:ext cx="166712" cy="241092"/>
          </a:xfrm>
        </p:spPr>
        <p:txBody>
          <a:bodyPr/>
          <a:lstStyle/>
          <a:p>
            <a:fld id="{86CB4B4D-7CA3-9044-876B-883B54F8677D}" type="slidenum">
              <a:rPr lang="fr-FR" smtClean="0"/>
              <a:t>38</a:t>
            </a:fld>
            <a:endParaRPr lang="fr-FR"/>
          </a:p>
        </p:txBody>
      </p:sp>
      <p:sp>
        <p:nvSpPr>
          <p:cNvPr id="4" name="Titre 3">
            <a:extLst>
              <a:ext uri="{FF2B5EF4-FFF2-40B4-BE49-F238E27FC236}">
                <a16:creationId xmlns:a16="http://schemas.microsoft.com/office/drawing/2014/main" id="{38EA9DC3-4DBC-48ED-90A4-8728EF7508B0}"/>
              </a:ext>
            </a:extLst>
          </p:cNvPr>
          <p:cNvSpPr>
            <a:spLocks noGrp="1"/>
          </p:cNvSpPr>
          <p:nvPr>
            <p:ph type="title"/>
          </p:nvPr>
        </p:nvSpPr>
        <p:spPr>
          <a:xfrm>
            <a:off x="2313517" y="16625"/>
            <a:ext cx="9243483" cy="1133342"/>
          </a:xfrm>
        </p:spPr>
        <p:txBody>
          <a:bodyPr>
            <a:normAutofit fontScale="90000"/>
          </a:bodyPr>
          <a:lstStyle/>
          <a:p>
            <a:r>
              <a:rPr lang="fr-FR" kern="1200">
                <a:cs typeface="Arial"/>
              </a:rPr>
              <a:t>Être habilité à manipuler des données de sante :</a:t>
            </a:r>
            <a:br>
              <a:rPr lang="fr-FR" kern="1200">
                <a:cs typeface="Arial"/>
              </a:rPr>
            </a:br>
            <a:r>
              <a:rPr lang="fr-FR" kern="1200">
                <a:cs typeface="Arial"/>
              </a:rPr>
              <a:t>Mandat CNIL et Aidant </a:t>
            </a:r>
            <a:r>
              <a:rPr lang="fr-FR" kern="1200" err="1">
                <a:cs typeface="Arial"/>
              </a:rPr>
              <a:t>connect</a:t>
            </a:r>
            <a:r>
              <a:rPr lang="fr-FR" kern="1200">
                <a:cs typeface="Arial"/>
              </a:rPr>
              <a:t> </a:t>
            </a:r>
            <a:endParaRPr lang="fr-FR" kern="1200">
              <a:cs typeface="Arial" panose="020B0604020202020204" pitchFamily="34" charset="0"/>
            </a:endParaRPr>
          </a:p>
        </p:txBody>
      </p:sp>
      <p:sp>
        <p:nvSpPr>
          <p:cNvPr id="6" name="Rectangle : coins arrondis 5">
            <a:extLst>
              <a:ext uri="{FF2B5EF4-FFF2-40B4-BE49-F238E27FC236}">
                <a16:creationId xmlns:a16="http://schemas.microsoft.com/office/drawing/2014/main" id="{A2179AF8-82D3-413C-85E2-EE0A725DAC78}"/>
              </a:ext>
            </a:extLst>
          </p:cNvPr>
          <p:cNvSpPr/>
          <p:nvPr/>
        </p:nvSpPr>
        <p:spPr>
          <a:xfrm>
            <a:off x="447686" y="3159898"/>
            <a:ext cx="5357951" cy="2639219"/>
          </a:xfrm>
          <a:prstGeom prst="roundRect">
            <a:avLst>
              <a:gd name="adj" fmla="val 5732"/>
            </a:avLst>
          </a:prstGeom>
          <a:solidFill>
            <a:srgbClr val="EFF7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fr-FR" sz="2000" b="1">
                <a:solidFill>
                  <a:srgbClr val="005DA9"/>
                </a:solidFill>
                <a:latin typeface="+mj-lt"/>
                <a:ea typeface="Helvetica Neue Medium"/>
                <a:cs typeface="Calibri" panose="020F0502020204030204" pitchFamily="34" charset="0"/>
                <a:sym typeface="Helvetica Neue Medium"/>
              </a:rPr>
              <a:t>Mandat CNIL</a:t>
            </a:r>
          </a:p>
          <a:p>
            <a:pPr marR="0" defTabSz="825500" rtl="0" fontAlgn="auto" latinLnBrk="0" hangingPunct="0">
              <a:lnSpc>
                <a:spcPct val="100000"/>
              </a:lnSpc>
              <a:spcBef>
                <a:spcPts val="0"/>
              </a:spcBef>
              <a:spcAft>
                <a:spcPts val="0"/>
              </a:spcAft>
              <a:buClrTx/>
              <a:buSzTx/>
              <a:tabLst/>
            </a:pPr>
            <a:endParaRPr lang="fr-FR" sz="1400">
              <a:latin typeface="+mj-lt"/>
              <a:ea typeface="Helvetica Neue Medium"/>
              <a:cs typeface="Calibri" panose="020F0502020204030204" pitchFamily="34" charset="0"/>
              <a:sym typeface="Helvetica Neue Medium"/>
            </a:endParaRPr>
          </a:p>
          <a:p>
            <a:pPr marL="285750" marR="0" indent="-285750" defTabSz="825500" rtl="0" fontAlgn="auto" latinLnBrk="0" hangingPunct="0">
              <a:lnSpc>
                <a:spcPct val="100000"/>
              </a:lnSpc>
              <a:spcBef>
                <a:spcPts val="0"/>
              </a:spcBef>
              <a:spcAft>
                <a:spcPts val="0"/>
              </a:spcAft>
              <a:buClrTx/>
              <a:buSzTx/>
              <a:buFont typeface="Arial" panose="020B0604020202020204" pitchFamily="34" charset="0"/>
              <a:buChar char="•"/>
              <a:tabLst/>
            </a:pPr>
            <a:r>
              <a:rPr kumimoji="0" lang="fr-FR" sz="1400" b="0" i="0" u="none" strike="noStrike" cap="none" spc="0" normalizeH="0" baseline="0">
                <a:ln>
                  <a:noFill/>
                </a:ln>
                <a:effectLst/>
                <a:uFillTx/>
                <a:latin typeface="+mj-lt"/>
                <a:ea typeface="Helvetica Neue Medium"/>
                <a:cs typeface="Calibri" panose="020F0502020204030204" pitchFamily="34" charset="0"/>
                <a:sym typeface="Helvetica Neue Medium"/>
              </a:rPr>
              <a:t>L'objet du mandat est exclusivement d'exercer les droits de la personne concernée en son nom et pour son compte. Il n'autorise donc pas en tant que telle la réutilisation des données personnelles collectées dans ce cadre par le mandataire pour son propre usage</a:t>
            </a:r>
          </a:p>
          <a:p>
            <a:pPr marL="285750" marR="0" indent="-285750" defTabSz="825500" rtl="0" fontAlgn="auto" latinLnBrk="0" hangingPunct="0">
              <a:lnSpc>
                <a:spcPct val="100000"/>
              </a:lnSpc>
              <a:spcBef>
                <a:spcPts val="0"/>
              </a:spcBef>
              <a:spcAft>
                <a:spcPts val="0"/>
              </a:spcAft>
              <a:buClrTx/>
              <a:buSzTx/>
              <a:buFont typeface="Arial" panose="020B0604020202020204" pitchFamily="34" charset="0"/>
              <a:buChar char="•"/>
              <a:tabLst/>
            </a:pPr>
            <a:endParaRPr lang="fr-FR" sz="1400">
              <a:latin typeface="+mj-lt"/>
              <a:ea typeface="Helvetica Neue Medium"/>
              <a:cs typeface="Calibri" panose="020F0502020204030204" pitchFamily="34" charset="0"/>
              <a:sym typeface="Helvetica Neue Medium"/>
            </a:endParaRPr>
          </a:p>
          <a:p>
            <a:pPr marL="285750" indent="-285750" defTabSz="825500" hangingPunct="0">
              <a:buFont typeface="Arial" panose="020B0604020202020204" pitchFamily="34" charset="0"/>
              <a:buChar char="•"/>
            </a:pPr>
            <a:r>
              <a:rPr lang="fr-FR" sz="1400">
                <a:latin typeface="+mj-lt"/>
                <a:ea typeface="Helvetica Neue Medium"/>
                <a:cs typeface="Calibri" panose="020F0502020204030204" pitchFamily="34" charset="0"/>
                <a:sym typeface="Helvetica Neue Medium"/>
              </a:rPr>
              <a:t>Toute personne peut accepter un mandat et faire des démarches administratives à la place d’un usager. Il n’y a donc pas de formation ou qualification spécifique à recevoir.</a:t>
            </a:r>
            <a:endParaRPr kumimoji="0" lang="fr-FR" sz="1400" b="0" i="0" u="none" strike="noStrike" cap="none" spc="0" normalizeH="0" baseline="0">
              <a:ln>
                <a:noFill/>
              </a:ln>
              <a:effectLst/>
              <a:uFillTx/>
              <a:latin typeface="+mj-lt"/>
              <a:ea typeface="Helvetica Neue Medium"/>
              <a:cs typeface="Helvetica Neue Medium"/>
              <a:sym typeface="Helvetica Neue Medium"/>
            </a:endParaRPr>
          </a:p>
        </p:txBody>
      </p:sp>
      <p:sp>
        <p:nvSpPr>
          <p:cNvPr id="7" name="Rectangle : coins arrondis 6">
            <a:extLst>
              <a:ext uri="{FF2B5EF4-FFF2-40B4-BE49-F238E27FC236}">
                <a16:creationId xmlns:a16="http://schemas.microsoft.com/office/drawing/2014/main" id="{6817A1D2-44A5-48E7-9652-63012F403CBA}"/>
              </a:ext>
            </a:extLst>
          </p:cNvPr>
          <p:cNvSpPr/>
          <p:nvPr/>
        </p:nvSpPr>
        <p:spPr>
          <a:xfrm>
            <a:off x="6125933" y="3159898"/>
            <a:ext cx="5749759" cy="3273246"/>
          </a:xfrm>
          <a:prstGeom prst="roundRect">
            <a:avLst>
              <a:gd name="adj" fmla="val 4699"/>
            </a:avLst>
          </a:prstGeom>
          <a:solidFill>
            <a:srgbClr val="EFF7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fr-FR" sz="2000" b="1">
                <a:solidFill>
                  <a:srgbClr val="005DA9"/>
                </a:solidFill>
                <a:latin typeface="+mj-lt"/>
                <a:ea typeface="Helvetica Neue Medium"/>
                <a:cs typeface="Calibri" panose="020F0502020204030204" pitchFamily="34" charset="0"/>
                <a:sym typeface="Helvetica Neue Medium"/>
              </a:rPr>
              <a:t>Aidant </a:t>
            </a:r>
            <a:r>
              <a:rPr lang="fr-FR" sz="2000" b="1" err="1">
                <a:solidFill>
                  <a:srgbClr val="005DA9"/>
                </a:solidFill>
                <a:latin typeface="+mj-lt"/>
                <a:ea typeface="Helvetica Neue Medium"/>
                <a:cs typeface="Calibri" panose="020F0502020204030204" pitchFamily="34" charset="0"/>
                <a:sym typeface="Helvetica Neue Medium"/>
              </a:rPr>
              <a:t>Connect</a:t>
            </a:r>
            <a:r>
              <a:rPr lang="fr-FR" sz="2000" b="1">
                <a:solidFill>
                  <a:srgbClr val="005DA9"/>
                </a:solidFill>
                <a:latin typeface="+mj-lt"/>
                <a:ea typeface="Helvetica Neue Medium"/>
                <a:cs typeface="Calibri" panose="020F0502020204030204" pitchFamily="34" charset="0"/>
                <a:sym typeface="Helvetica Neue Medium"/>
              </a:rPr>
              <a:t> </a:t>
            </a:r>
          </a:p>
          <a:p>
            <a:pPr marR="0" defTabSz="825500" rtl="0" fontAlgn="auto" latinLnBrk="0" hangingPunct="0">
              <a:lnSpc>
                <a:spcPct val="100000"/>
              </a:lnSpc>
              <a:spcBef>
                <a:spcPts val="0"/>
              </a:spcBef>
              <a:spcAft>
                <a:spcPts val="0"/>
              </a:spcAft>
              <a:buClrTx/>
              <a:buSzTx/>
              <a:tabLst/>
            </a:pPr>
            <a:endParaRPr lang="fr-FR" sz="1400">
              <a:latin typeface="+mj-lt"/>
              <a:ea typeface="Helvetica Neue Medium"/>
              <a:cs typeface="Calibri" panose="020F0502020204030204" pitchFamily="34" charset="0"/>
              <a:sym typeface="Helvetica Neue Medium"/>
            </a:endParaRPr>
          </a:p>
          <a:p>
            <a:pPr marL="285750" marR="0" indent="-285750" defTabSz="825500" rtl="0" fontAlgn="auto" latinLnBrk="0" hangingPunct="0">
              <a:lnSpc>
                <a:spcPct val="100000"/>
              </a:lnSpc>
              <a:spcBef>
                <a:spcPts val="0"/>
              </a:spcBef>
              <a:spcAft>
                <a:spcPts val="0"/>
              </a:spcAft>
              <a:buClrTx/>
              <a:buSzTx/>
              <a:buFont typeface="Arial" panose="020B0604020202020204" pitchFamily="34" charset="0"/>
              <a:buChar char="•"/>
              <a:tabLst/>
            </a:pPr>
            <a:r>
              <a:rPr kumimoji="0" lang="fr-FR" sz="1400" b="0" i="0" u="none" strike="noStrike" cap="none" spc="0" normalizeH="0" baseline="0">
                <a:ln>
                  <a:noFill/>
                </a:ln>
                <a:effectLst/>
                <a:uFillTx/>
                <a:latin typeface="+mj-lt"/>
                <a:ea typeface="Helvetica Neue Medium"/>
                <a:cs typeface="Calibri" panose="020F0502020204030204" pitchFamily="34" charset="0"/>
                <a:sym typeface="Helvetica Neue Medium"/>
              </a:rPr>
              <a:t>Le service Aidant </a:t>
            </a:r>
            <a:r>
              <a:rPr kumimoji="0" lang="fr-FR" sz="1400" b="0" i="0" u="none" strike="noStrike" cap="none" spc="0" normalizeH="0" baseline="0" err="1">
                <a:ln>
                  <a:noFill/>
                </a:ln>
                <a:effectLst/>
                <a:uFillTx/>
                <a:latin typeface="+mj-lt"/>
                <a:ea typeface="Helvetica Neue Medium"/>
                <a:cs typeface="Calibri" panose="020F0502020204030204" pitchFamily="34" charset="0"/>
                <a:sym typeface="Helvetica Neue Medium"/>
              </a:rPr>
              <a:t>Connect</a:t>
            </a:r>
            <a:r>
              <a:rPr kumimoji="0" lang="fr-FR" sz="1400" b="0" i="0" u="none" strike="noStrike" cap="none" spc="0" normalizeH="0" baseline="0">
                <a:ln>
                  <a:noFill/>
                </a:ln>
                <a:effectLst/>
                <a:uFillTx/>
                <a:latin typeface="+mj-lt"/>
                <a:ea typeface="Helvetica Neue Medium"/>
                <a:cs typeface="Calibri" panose="020F0502020204030204" pitchFamily="34" charset="0"/>
                <a:sym typeface="Helvetica Neue Medium"/>
              </a:rPr>
              <a:t> est  un label de l’ANCT,</a:t>
            </a:r>
            <a:r>
              <a:rPr kumimoji="0" lang="fr-FR" sz="1400" b="0" i="0" u="none" strike="noStrike" cap="none" spc="0" normalizeH="0">
                <a:ln>
                  <a:noFill/>
                </a:ln>
                <a:effectLst/>
                <a:uFillTx/>
                <a:latin typeface="+mj-lt"/>
                <a:ea typeface="Helvetica Neue Medium"/>
                <a:cs typeface="Calibri" panose="020F0502020204030204" pitchFamily="34" charset="0"/>
                <a:sym typeface="Helvetica Neue Medium"/>
              </a:rPr>
              <a:t> attribué à des structures </a:t>
            </a:r>
            <a:r>
              <a:rPr lang="fr-FR" sz="1400">
                <a:latin typeface="+mj-lt"/>
                <a:ea typeface="Helvetica Neue Medium"/>
                <a:cs typeface="Calibri" panose="020F0502020204030204" pitchFamily="34" charset="0"/>
                <a:sym typeface="Helvetica Neue Medium"/>
              </a:rPr>
              <a:t>employant des médiateurs numériques, </a:t>
            </a:r>
            <a:r>
              <a:rPr kumimoji="0" lang="fr-FR" sz="1400" b="0" i="0" u="none" strike="noStrike" cap="none" spc="0" normalizeH="0">
                <a:ln>
                  <a:noFill/>
                </a:ln>
                <a:effectLst/>
                <a:uFillTx/>
                <a:latin typeface="+mj-lt"/>
                <a:ea typeface="Helvetica Neue Medium"/>
                <a:cs typeface="Calibri" panose="020F0502020204030204" pitchFamily="34" charset="0"/>
                <a:sym typeface="Helvetica Neue Medium"/>
              </a:rPr>
              <a:t>qui nécessite </a:t>
            </a:r>
            <a:r>
              <a:rPr lang="fr-FR" sz="1400">
                <a:latin typeface="+mj-lt"/>
                <a:ea typeface="Helvetica Neue Medium"/>
                <a:cs typeface="Calibri" panose="020F0502020204030204" pitchFamily="34" charset="0"/>
                <a:sym typeface="Helvetica Neue Medium"/>
              </a:rPr>
              <a:t>d’avoir suivi une formation spécifique.</a:t>
            </a:r>
            <a:br>
              <a:rPr lang="fr-FR" sz="1400">
                <a:latin typeface="+mj-lt"/>
                <a:ea typeface="Helvetica Neue Medium"/>
                <a:cs typeface="Calibri" panose="020F0502020204030204" pitchFamily="34" charset="0"/>
                <a:sym typeface="Helvetica Neue Medium"/>
              </a:rPr>
            </a:br>
            <a:endParaRPr lang="fr-FR" sz="1400">
              <a:latin typeface="+mj-lt"/>
              <a:ea typeface="Helvetica Neue Medium"/>
              <a:cs typeface="Calibri" panose="020F0502020204030204" pitchFamily="34" charset="0"/>
              <a:sym typeface="Helvetica Neue Medium"/>
            </a:endParaRPr>
          </a:p>
          <a:p>
            <a:pPr marL="285750" marR="0" indent="-285750" defTabSz="825500" rtl="0" fontAlgn="auto" latinLnBrk="0" hangingPunct="0">
              <a:lnSpc>
                <a:spcPct val="100000"/>
              </a:lnSpc>
              <a:spcBef>
                <a:spcPts val="0"/>
              </a:spcBef>
              <a:spcAft>
                <a:spcPts val="0"/>
              </a:spcAft>
              <a:buClrTx/>
              <a:buSzTx/>
              <a:buFont typeface="Arial" panose="020B0604020202020204" pitchFamily="34" charset="0"/>
              <a:buChar char="•"/>
              <a:tabLst/>
            </a:pPr>
            <a:r>
              <a:rPr kumimoji="0" lang="fr-FR" sz="1400" b="0" i="0" u="none" strike="noStrike" cap="none" spc="0" normalizeH="0" baseline="0">
                <a:ln>
                  <a:noFill/>
                </a:ln>
                <a:effectLst/>
                <a:uFillTx/>
                <a:latin typeface="+mj-lt"/>
                <a:ea typeface="Helvetica Neue Medium"/>
                <a:cs typeface="Calibri" panose="020F0502020204030204" pitchFamily="34" charset="0"/>
                <a:sym typeface="Helvetica Neue Medium"/>
              </a:rPr>
              <a:t>Pour le moment réservé à des « aidants professionnel</a:t>
            </a:r>
            <a:r>
              <a:rPr lang="fr-FR" sz="1400">
                <a:latin typeface="+mj-lt"/>
                <a:ea typeface="Helvetica Neue Medium"/>
                <a:cs typeface="Calibri" panose="020F0502020204030204" pitchFamily="34" charset="0"/>
                <a:sym typeface="Helvetica Neue Medium"/>
              </a:rPr>
              <a:t>s</a:t>
            </a:r>
            <a:r>
              <a:rPr kumimoji="0" lang="fr-FR" sz="1400" b="0" i="0" u="none" strike="noStrike" cap="none" spc="0" normalizeH="0" baseline="0">
                <a:ln>
                  <a:noFill/>
                </a:ln>
                <a:effectLst/>
                <a:uFillTx/>
                <a:latin typeface="+mj-lt"/>
                <a:ea typeface="Helvetica Neue Medium"/>
                <a:cs typeface="Calibri" panose="020F0502020204030204" pitchFamily="34" charset="0"/>
                <a:sym typeface="Helvetica Neue Medium"/>
              </a:rPr>
              <a:t> » c’est-à-dire des personnes ayant un statut professionnel (Fonctionnaire, CDD ou CDI) tel que travailleur</a:t>
            </a:r>
            <a:r>
              <a:rPr lang="fr-FR" sz="1400">
                <a:latin typeface="+mj-lt"/>
                <a:ea typeface="Helvetica Neue Medium"/>
                <a:cs typeface="Calibri" panose="020F0502020204030204" pitchFamily="34" charset="0"/>
                <a:sym typeface="Helvetica Neue Medium"/>
              </a:rPr>
              <a:t>s</a:t>
            </a:r>
            <a:r>
              <a:rPr kumimoji="0" lang="fr-FR" sz="1400" b="0" i="0" u="none" strike="noStrike" cap="none" spc="0" normalizeH="0" baseline="0">
                <a:ln>
                  <a:noFill/>
                </a:ln>
                <a:effectLst/>
                <a:uFillTx/>
                <a:latin typeface="+mj-lt"/>
                <a:ea typeface="Helvetica Neue Medium"/>
                <a:cs typeface="Calibri" panose="020F0502020204030204" pitchFamily="34" charset="0"/>
                <a:sym typeface="Helvetica Neue Medium"/>
              </a:rPr>
              <a:t> sociaux, agents publics d’accueil ou médiateur</a:t>
            </a:r>
            <a:r>
              <a:rPr lang="fr-FR" sz="1400">
                <a:latin typeface="+mj-lt"/>
                <a:ea typeface="Helvetica Neue Medium"/>
                <a:cs typeface="Calibri" panose="020F0502020204030204" pitchFamily="34" charset="0"/>
                <a:sym typeface="Helvetica Neue Medium"/>
              </a:rPr>
              <a:t>s</a:t>
            </a:r>
            <a:r>
              <a:rPr kumimoji="0" lang="fr-FR" sz="1400" b="0" i="0" u="none" strike="noStrike" cap="none" spc="0" normalizeH="0" baseline="0">
                <a:ln>
                  <a:noFill/>
                </a:ln>
                <a:effectLst/>
                <a:uFillTx/>
                <a:latin typeface="+mj-lt"/>
                <a:ea typeface="Helvetica Neue Medium"/>
                <a:cs typeface="Calibri" panose="020F0502020204030204" pitchFamily="34" charset="0"/>
                <a:sym typeface="Helvetica Neue Medium"/>
              </a:rPr>
              <a:t> numériques salariés d’une structure de droit privé.</a:t>
            </a:r>
            <a:br>
              <a:rPr kumimoji="0" lang="fr-FR" sz="1400" b="0" i="0" u="none" strike="noStrike" cap="none" spc="0" normalizeH="0" baseline="0">
                <a:ln>
                  <a:noFill/>
                </a:ln>
                <a:effectLst/>
                <a:uFillTx/>
                <a:latin typeface="+mj-lt"/>
                <a:ea typeface="Helvetica Neue Medium"/>
                <a:cs typeface="Calibri" panose="020F0502020204030204" pitchFamily="34" charset="0"/>
                <a:sym typeface="Helvetica Neue Medium"/>
              </a:rPr>
            </a:br>
            <a:endParaRPr lang="fr-FR" sz="1400">
              <a:latin typeface="+mj-lt"/>
              <a:ea typeface="Helvetica Neue Medium"/>
              <a:cs typeface="Calibri" panose="020F0502020204030204" pitchFamily="34" charset="0"/>
              <a:sym typeface="Helvetica Neue Medium"/>
            </a:endParaRPr>
          </a:p>
          <a:p>
            <a:pPr marL="285750" marR="0" indent="-285750" defTabSz="825500" rtl="0" fontAlgn="auto" latinLnBrk="0" hangingPunct="0">
              <a:lnSpc>
                <a:spcPct val="100000"/>
              </a:lnSpc>
              <a:spcBef>
                <a:spcPts val="0"/>
              </a:spcBef>
              <a:spcAft>
                <a:spcPts val="0"/>
              </a:spcAft>
              <a:buClrTx/>
              <a:buSzTx/>
              <a:buFont typeface="Arial" panose="020B0604020202020204" pitchFamily="34" charset="0"/>
              <a:buChar char="•"/>
              <a:tabLst/>
            </a:pPr>
            <a:r>
              <a:rPr lang="fr-FR" sz="1400">
                <a:latin typeface="+mj-lt"/>
                <a:ea typeface="Helvetica Neue Medium"/>
                <a:cs typeface="Helvetica Neue Medium"/>
                <a:sym typeface="Helvetica Neue Medium"/>
              </a:rPr>
              <a:t>Le label Aidant </a:t>
            </a:r>
            <a:r>
              <a:rPr lang="fr-FR" sz="1400" err="1">
                <a:latin typeface="+mj-lt"/>
                <a:ea typeface="Helvetica Neue Medium"/>
                <a:cs typeface="Helvetica Neue Medium"/>
                <a:sym typeface="Helvetica Neue Medium"/>
              </a:rPr>
              <a:t>connect</a:t>
            </a:r>
            <a:r>
              <a:rPr lang="fr-FR" sz="1400">
                <a:latin typeface="+mj-lt"/>
                <a:ea typeface="Helvetica Neue Medium"/>
                <a:cs typeface="Helvetica Neue Medium"/>
                <a:sym typeface="Helvetica Neue Medium"/>
              </a:rPr>
              <a:t> permet de réaliser les démarches « à la place de », via une connexion France </a:t>
            </a:r>
            <a:r>
              <a:rPr lang="fr-FR" sz="1400" err="1">
                <a:latin typeface="+mj-lt"/>
                <a:ea typeface="Helvetica Neue Medium"/>
                <a:cs typeface="Helvetica Neue Medium"/>
                <a:sym typeface="Helvetica Neue Medium"/>
              </a:rPr>
              <a:t>Connect</a:t>
            </a:r>
            <a:r>
              <a:rPr lang="fr-FR" sz="1400">
                <a:latin typeface="+mj-lt"/>
                <a:ea typeface="Helvetica Neue Medium"/>
                <a:cs typeface="Helvetica Neue Medium"/>
                <a:sym typeface="Helvetica Neue Medium"/>
              </a:rPr>
              <a:t> et ils sont dispensés de la signature du mandat CNIL</a:t>
            </a:r>
            <a:endParaRPr kumimoji="0" lang="fr-FR" sz="1400" b="0" i="0" u="none" strike="noStrike" cap="none" spc="0" normalizeH="0" baseline="0">
              <a:ln>
                <a:noFill/>
              </a:ln>
              <a:effectLst/>
              <a:uFillTx/>
              <a:latin typeface="+mj-lt"/>
              <a:ea typeface="Helvetica Neue Medium"/>
              <a:cs typeface="Helvetica Neue Medium"/>
              <a:sym typeface="Helvetica Neue Medium"/>
            </a:endParaRPr>
          </a:p>
        </p:txBody>
      </p:sp>
      <p:sp>
        <p:nvSpPr>
          <p:cNvPr id="9" name="TextBox 8">
            <a:extLst>
              <a:ext uri="{FF2B5EF4-FFF2-40B4-BE49-F238E27FC236}">
                <a16:creationId xmlns:a16="http://schemas.microsoft.com/office/drawing/2014/main" id="{51FDA74E-B2C5-4D1F-A22E-5C32BF7DA2DB}"/>
              </a:ext>
            </a:extLst>
          </p:cNvPr>
          <p:cNvSpPr txBox="1"/>
          <p:nvPr/>
        </p:nvSpPr>
        <p:spPr>
          <a:xfrm>
            <a:off x="557212" y="1723794"/>
            <a:ext cx="11235123" cy="95410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fr-FR" sz="1400">
                <a:effectLst/>
                <a:latin typeface="+mj-lt"/>
                <a:ea typeface="Times New Roman" panose="02020603050405020304" pitchFamily="18" charset="0"/>
              </a:rPr>
              <a:t>Pour accompagner dans la saisie de données médicales, vous devez au choix :</a:t>
            </a:r>
          </a:p>
          <a:p>
            <a:pPr marL="285750" indent="-285750">
              <a:buFont typeface="Arial" panose="020B0604020202020204" pitchFamily="34" charset="0"/>
              <a:buChar char="•"/>
            </a:pPr>
            <a:r>
              <a:rPr lang="fr-FR" sz="1400">
                <a:effectLst/>
                <a:latin typeface="+mj-lt"/>
                <a:ea typeface="Times New Roman" panose="02020603050405020304" pitchFamily="18" charset="0"/>
              </a:rPr>
              <a:t>Avoir une habilitation Aidant </a:t>
            </a:r>
            <a:r>
              <a:rPr lang="fr-FR" sz="1400" err="1">
                <a:effectLst/>
                <a:latin typeface="+mj-lt"/>
                <a:ea typeface="Times New Roman" panose="02020603050405020304" pitchFamily="18" charset="0"/>
              </a:rPr>
              <a:t>Connect</a:t>
            </a:r>
            <a:r>
              <a:rPr lang="fr-FR" sz="1400">
                <a:effectLst/>
                <a:latin typeface="+mj-lt"/>
                <a:ea typeface="Times New Roman" panose="02020603050405020304" pitchFamily="18" charset="0"/>
              </a:rPr>
              <a:t> (dans le cas où votre structure emploie des aidants professionnels) disponible sur : </a:t>
            </a:r>
            <a:r>
              <a:rPr lang="fr-FR" sz="1400">
                <a:effectLst/>
                <a:latin typeface="+mj-lt"/>
                <a:ea typeface="Times New Roman" panose="02020603050405020304" pitchFamily="18" charset="0"/>
                <a:hlinkClick r:id="rId2"/>
              </a:rPr>
              <a:t>https://aidantsconnect.beta.gouv.fr/habilitation</a:t>
            </a:r>
            <a:r>
              <a:rPr lang="fr-FR" sz="1400">
                <a:effectLst/>
                <a:latin typeface="+mj-lt"/>
                <a:ea typeface="Times New Roman" panose="02020603050405020304" pitchFamily="18" charset="0"/>
              </a:rPr>
              <a:t> ;</a:t>
            </a:r>
          </a:p>
          <a:p>
            <a:pPr marL="285750" indent="-285750">
              <a:buFont typeface="Arial" panose="020B0604020202020204" pitchFamily="34" charset="0"/>
              <a:buChar char="•"/>
            </a:pPr>
            <a:r>
              <a:rPr lang="fr-FR" sz="1400">
                <a:effectLst/>
                <a:latin typeface="+mj-lt"/>
                <a:ea typeface="Times New Roman" panose="02020603050405020304" pitchFamily="18" charset="0"/>
              </a:rPr>
              <a:t>Faire signer un mandat CNIL à l’usager qui consent donc à la manipulation de ses données (mandat disponible dans le kit ambassadeur)</a:t>
            </a:r>
          </a:p>
        </p:txBody>
      </p:sp>
    </p:spTree>
    <p:extLst>
      <p:ext uri="{BB962C8B-B14F-4D97-AF65-F5344CB8AC3E}">
        <p14:creationId xmlns:p14="http://schemas.microsoft.com/office/powerpoint/2010/main" val="383236606"/>
      </p:ext>
    </p:extLst>
  </p:cSld>
  <p:clrMapOvr>
    <a:masterClrMapping/>
  </p:clrMapOvr>
  <p:transition spd="med"/>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DE7994F-10EA-4B2B-BF9A-01086FBF8FF8}"/>
              </a:ext>
            </a:extLst>
          </p:cNvPr>
          <p:cNvSpPr>
            <a:spLocks noGrp="1"/>
          </p:cNvSpPr>
          <p:nvPr>
            <p:ph type="sldNum" sz="quarter" idx="2"/>
          </p:nvPr>
        </p:nvSpPr>
        <p:spPr/>
        <p:txBody>
          <a:bodyPr/>
          <a:lstStyle/>
          <a:p>
            <a:fld id="{86CB4B4D-7CA3-9044-876B-883B54F8677D}" type="slidenum">
              <a:rPr lang="fr-FR" smtClean="0"/>
              <a:t>39</a:t>
            </a:fld>
            <a:endParaRPr lang="fr-FR"/>
          </a:p>
        </p:txBody>
      </p:sp>
      <p:sp>
        <p:nvSpPr>
          <p:cNvPr id="4" name="Title 3">
            <a:extLst>
              <a:ext uri="{FF2B5EF4-FFF2-40B4-BE49-F238E27FC236}">
                <a16:creationId xmlns:a16="http://schemas.microsoft.com/office/drawing/2014/main" id="{4434772D-99AE-4EA7-B781-D9B88C39004B}"/>
              </a:ext>
            </a:extLst>
          </p:cNvPr>
          <p:cNvSpPr>
            <a:spLocks noGrp="1"/>
          </p:cNvSpPr>
          <p:nvPr>
            <p:ph type="title"/>
          </p:nvPr>
        </p:nvSpPr>
        <p:spPr>
          <a:xfrm>
            <a:off x="2313517" y="16625"/>
            <a:ext cx="9306965" cy="1133342"/>
          </a:xfrm>
        </p:spPr>
        <p:txBody>
          <a:bodyPr>
            <a:normAutofit fontScale="90000"/>
          </a:bodyPr>
          <a:lstStyle/>
          <a:p>
            <a:r>
              <a:rPr lang="fr-FR"/>
              <a:t>Montrer Mon espace santé :</a:t>
            </a:r>
            <a:br>
              <a:rPr lang="fr-FR"/>
            </a:br>
            <a:r>
              <a:rPr lang="fr-FR"/>
              <a:t>Un mode invité est disponible dans l’application</a:t>
            </a:r>
          </a:p>
        </p:txBody>
      </p:sp>
      <p:pic>
        <p:nvPicPr>
          <p:cNvPr id="7" name="Picture 6">
            <a:extLst>
              <a:ext uri="{FF2B5EF4-FFF2-40B4-BE49-F238E27FC236}">
                <a16:creationId xmlns:a16="http://schemas.microsoft.com/office/drawing/2014/main" id="{549FD2B6-79B3-4B04-B839-95C23C28FDE4}"/>
              </a:ext>
            </a:extLst>
          </p:cNvPr>
          <p:cNvPicPr>
            <a:picLocks noChangeAspect="1"/>
          </p:cNvPicPr>
          <p:nvPr/>
        </p:nvPicPr>
        <p:blipFill>
          <a:blip r:embed="rId2"/>
          <a:stretch>
            <a:fillRect/>
          </a:stretch>
        </p:blipFill>
        <p:spPr>
          <a:xfrm>
            <a:off x="4432299" y="2619057"/>
            <a:ext cx="6209943" cy="2792539"/>
          </a:xfrm>
          <a:prstGeom prst="rect">
            <a:avLst/>
          </a:prstGeom>
        </p:spPr>
      </p:pic>
      <p:pic>
        <p:nvPicPr>
          <p:cNvPr id="8" name="Picture 7">
            <a:extLst>
              <a:ext uri="{FF2B5EF4-FFF2-40B4-BE49-F238E27FC236}">
                <a16:creationId xmlns:a16="http://schemas.microsoft.com/office/drawing/2014/main" id="{281F6A4D-57C0-43DB-A615-625A344BBB35}"/>
              </a:ext>
            </a:extLst>
          </p:cNvPr>
          <p:cNvPicPr>
            <a:picLocks noChangeAspect="1"/>
          </p:cNvPicPr>
          <p:nvPr/>
        </p:nvPicPr>
        <p:blipFill>
          <a:blip r:embed="rId3"/>
          <a:stretch>
            <a:fillRect/>
          </a:stretch>
        </p:blipFill>
        <p:spPr>
          <a:xfrm>
            <a:off x="1368568" y="1744733"/>
            <a:ext cx="2290512" cy="4541189"/>
          </a:xfrm>
          <a:prstGeom prst="rect">
            <a:avLst/>
          </a:prstGeom>
        </p:spPr>
      </p:pic>
      <p:sp>
        <p:nvSpPr>
          <p:cNvPr id="9" name="Oval 8">
            <a:extLst>
              <a:ext uri="{FF2B5EF4-FFF2-40B4-BE49-F238E27FC236}">
                <a16:creationId xmlns:a16="http://schemas.microsoft.com/office/drawing/2014/main" id="{A5EA01AA-D970-4528-B0CF-ECA691E12C20}"/>
              </a:ext>
            </a:extLst>
          </p:cNvPr>
          <p:cNvSpPr/>
          <p:nvPr/>
        </p:nvSpPr>
        <p:spPr>
          <a:xfrm>
            <a:off x="3024808" y="2027732"/>
            <a:ext cx="560438" cy="270968"/>
          </a:xfrm>
          <a:prstGeom prst="ellipse">
            <a:avLst/>
          </a:prstGeom>
          <a:noFill/>
          <a:ln w="12700" cap="flat">
            <a:solidFill>
              <a:srgbClr val="DF268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fr-FR"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cxnSp>
        <p:nvCxnSpPr>
          <p:cNvPr id="11" name="Straight Arrow Connector 10">
            <a:extLst>
              <a:ext uri="{FF2B5EF4-FFF2-40B4-BE49-F238E27FC236}">
                <a16:creationId xmlns:a16="http://schemas.microsoft.com/office/drawing/2014/main" id="{4F6BB109-C83E-482F-B3FB-95DA59892240}"/>
              </a:ext>
            </a:extLst>
          </p:cNvPr>
          <p:cNvCxnSpPr>
            <a:cxnSpLocks/>
          </p:cNvCxnSpPr>
          <p:nvPr/>
        </p:nvCxnSpPr>
        <p:spPr>
          <a:xfrm flipH="1">
            <a:off x="3585246" y="2163216"/>
            <a:ext cx="783554" cy="0"/>
          </a:xfrm>
          <a:prstGeom prst="straightConnector1">
            <a:avLst/>
          </a:prstGeom>
          <a:noFill/>
          <a:ln w="6350" cap="flat">
            <a:solidFill>
              <a:srgbClr val="DF2680"/>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15" name="ZoneTexte 20">
            <a:extLst>
              <a:ext uri="{FF2B5EF4-FFF2-40B4-BE49-F238E27FC236}">
                <a16:creationId xmlns:a16="http://schemas.microsoft.com/office/drawing/2014/main" id="{AFC44919-6BDE-4B96-93B2-AA79F20815B6}"/>
              </a:ext>
            </a:extLst>
          </p:cNvPr>
          <p:cNvSpPr txBox="1"/>
          <p:nvPr/>
        </p:nvSpPr>
        <p:spPr>
          <a:xfrm>
            <a:off x="4522860" y="1947446"/>
            <a:ext cx="7073900" cy="338554"/>
          </a:xfrm>
          <a:prstGeom prst="rect">
            <a:avLst/>
          </a:prstGeom>
          <a:noFill/>
        </p:spPr>
        <p:txBody>
          <a:bodyPr wrap="square" lIns="91440" tIns="45720" rIns="91440" bIns="45720" rtlCol="0" anchor="t">
            <a:spAutoFit/>
          </a:bodyPr>
          <a:lstStyle/>
          <a:p>
            <a:pPr defTabSz="914377"/>
            <a:r>
              <a:rPr lang="fr-FR" sz="1600" b="1">
                <a:latin typeface="Arial" panose="020B0604020202020204"/>
                <a:cs typeface="Arial"/>
              </a:rPr>
              <a:t>A l’entrée dans l’application, cliquer ici pour accéder au mode invité</a:t>
            </a:r>
          </a:p>
        </p:txBody>
      </p:sp>
      <p:sp>
        <p:nvSpPr>
          <p:cNvPr id="16" name="TextBox 15">
            <a:extLst>
              <a:ext uri="{FF2B5EF4-FFF2-40B4-BE49-F238E27FC236}">
                <a16:creationId xmlns:a16="http://schemas.microsoft.com/office/drawing/2014/main" id="{5F49E1C1-B42D-4F76-BBA3-00228BDDF8AA}"/>
              </a:ext>
            </a:extLst>
          </p:cNvPr>
          <p:cNvSpPr txBox="1"/>
          <p:nvPr/>
        </p:nvSpPr>
        <p:spPr>
          <a:xfrm>
            <a:off x="4549920" y="5575649"/>
            <a:ext cx="5952980"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fr-FR" sz="1400">
                <a:effectLst/>
                <a:latin typeface="+mj-lt"/>
                <a:ea typeface="Times New Roman" panose="02020603050405020304" pitchFamily="18" charset="0"/>
              </a:rPr>
              <a:t>Je peux montrer et naviguer dans de nombreuses fonctionnalités de Mon espace santé sans montrer mes informations personnelles</a:t>
            </a:r>
          </a:p>
        </p:txBody>
      </p:sp>
    </p:spTree>
    <p:extLst>
      <p:ext uri="{BB962C8B-B14F-4D97-AF65-F5344CB8AC3E}">
        <p14:creationId xmlns:p14="http://schemas.microsoft.com/office/powerpoint/2010/main" val="4031696654"/>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2"/>
          </p:nvPr>
        </p:nvSpPr>
        <p:spPr/>
        <p:txBody>
          <a:bodyPr/>
          <a:lstStyle/>
          <a:p>
            <a:fld id="{86CB4B4D-7CA3-9044-876B-883B54F8677D}" type="slidenum">
              <a:rPr lang="fr-FR" smtClean="0"/>
              <a:t>4</a:t>
            </a:fld>
            <a:endParaRPr lang="fr-FR"/>
          </a:p>
        </p:txBody>
      </p:sp>
      <p:sp>
        <p:nvSpPr>
          <p:cNvPr id="4" name="Titre 3"/>
          <p:cNvSpPr>
            <a:spLocks noGrp="1"/>
          </p:cNvSpPr>
          <p:nvPr>
            <p:ph type="title"/>
          </p:nvPr>
        </p:nvSpPr>
        <p:spPr>
          <a:xfrm>
            <a:off x="2313517" y="16625"/>
            <a:ext cx="8113593" cy="1133342"/>
          </a:xfrm>
        </p:spPr>
        <p:txBody>
          <a:bodyPr>
            <a:normAutofit/>
          </a:bodyPr>
          <a:lstStyle/>
          <a:p>
            <a:r>
              <a:rPr lang="fr-FR" sz="3500" b="1" spc="-70">
                <a:solidFill>
                  <a:srgbClr val="005C9B"/>
                </a:solidFill>
                <a:latin typeface="Arial" panose="020B0604020202020204" pitchFamily="34" charset="0"/>
                <a:cs typeface="Arial" panose="020B0604020202020204" pitchFamily="34" charset="0"/>
                <a:sym typeface="Arial"/>
              </a:rPr>
              <a:t>Les difficultés de déploiement du DMP</a:t>
            </a:r>
            <a:endParaRPr lang="fr-FR" sz="3500" b="1" spc="-70">
              <a:solidFill>
                <a:srgbClr val="005C9B"/>
              </a:solidFill>
              <a:latin typeface="Arial" panose="020B0604020202020204" pitchFamily="34" charset="0"/>
              <a:cs typeface="Arial" panose="020B0604020202020204" pitchFamily="34" charset="0"/>
            </a:endParaRPr>
          </a:p>
        </p:txBody>
      </p:sp>
      <p:sp>
        <p:nvSpPr>
          <p:cNvPr id="10" name="Espace réservé du texte 1"/>
          <p:cNvSpPr txBox="1">
            <a:spLocks/>
          </p:cNvSpPr>
          <p:nvPr/>
        </p:nvSpPr>
        <p:spPr>
          <a:xfrm>
            <a:off x="6313344" y="1788677"/>
            <a:ext cx="5669348" cy="3767137"/>
          </a:xfrm>
          <a:prstGeom prst="rect">
            <a:avLst/>
          </a:prstGeom>
          <a:ln w="3175">
            <a:noFill/>
          </a:ln>
        </p:spPr>
        <p:txBody>
          <a:bodyPr vert="horz" lIns="91440" tIns="45720" rIns="91440" bIns="45720" rtlCol="0">
            <a:normAutofit/>
          </a:bodyPr>
          <a:lstStyle>
            <a:lvl1pPr marL="0" indent="0" algn="l" defTabSz="914400" rtl="0" eaLnBrk="1" latinLnBrk="0" hangingPunct="1">
              <a:lnSpc>
                <a:spcPct val="110000"/>
              </a:lnSpc>
              <a:spcBef>
                <a:spcPts val="600"/>
              </a:spcBef>
              <a:spcAft>
                <a:spcPts val="0"/>
              </a:spcAft>
              <a:buClr>
                <a:schemeClr val="tx2"/>
              </a:buClr>
              <a:buFont typeface="Symbol" panose="05050102010706020507" pitchFamily="18" charset="2"/>
              <a:buNone/>
              <a:defRPr sz="2000" b="0" kern="1200">
                <a:solidFill>
                  <a:schemeClr val="tx2"/>
                </a:solidFill>
                <a:latin typeface="+mn-lt"/>
                <a:ea typeface="+mn-ea"/>
                <a:cs typeface="+mn-cs"/>
              </a:defRPr>
            </a:lvl1pPr>
            <a:lvl2pPr marL="174625" indent="-174625" algn="l" defTabSz="914400" rtl="0" eaLnBrk="1" latinLnBrk="0" hangingPunct="1">
              <a:lnSpc>
                <a:spcPct val="110000"/>
              </a:lnSpc>
              <a:spcBef>
                <a:spcPts val="600"/>
              </a:spcBef>
              <a:spcAft>
                <a:spcPts val="0"/>
              </a:spcAft>
              <a:buClr>
                <a:schemeClr val="tx2"/>
              </a:buClr>
              <a:buSzPct val="120000"/>
              <a:buFont typeface="Arial" panose="020B0604020202020204" pitchFamily="34" charset="0"/>
              <a:buChar char="•"/>
              <a:defRPr sz="1600" b="1" i="0" kern="1200">
                <a:solidFill>
                  <a:schemeClr val="tx1"/>
                </a:solidFill>
                <a:latin typeface="+mn-lt"/>
                <a:ea typeface="+mn-ea"/>
                <a:cs typeface="+mn-cs"/>
              </a:defRPr>
            </a:lvl2pPr>
            <a:lvl3pPr marL="358775" indent="-184150" algn="l" defTabSz="914400" rtl="0" eaLnBrk="1" latinLnBrk="0" hangingPunct="1">
              <a:lnSpc>
                <a:spcPct val="110000"/>
              </a:lnSpc>
              <a:spcBef>
                <a:spcPts val="300"/>
              </a:spcBef>
              <a:spcAft>
                <a:spcPts val="0"/>
              </a:spcAft>
              <a:buClr>
                <a:schemeClr val="tx2"/>
              </a:buClr>
              <a:buFont typeface="Arial" panose="020B0604020202020204" pitchFamily="34" charset="0"/>
              <a:buChar char="-"/>
              <a:defRPr sz="1600" b="0" kern="1200">
                <a:solidFill>
                  <a:schemeClr val="tx1"/>
                </a:solidFill>
                <a:latin typeface="+mn-lt"/>
                <a:ea typeface="+mn-ea"/>
                <a:cs typeface="+mn-cs"/>
              </a:defRPr>
            </a:lvl3pPr>
            <a:lvl4pPr marL="530225" indent="-171450" algn="l" defTabSz="914400" rtl="0" eaLnBrk="1" latinLnBrk="0" hangingPunct="1">
              <a:lnSpc>
                <a:spcPct val="110000"/>
              </a:lnSpc>
              <a:spcBef>
                <a:spcPts val="0"/>
              </a:spcBef>
              <a:spcAft>
                <a:spcPts val="0"/>
              </a:spcAft>
              <a:buClr>
                <a:schemeClr val="tx2"/>
              </a:buClr>
              <a:buSzPct val="100000"/>
              <a:buFont typeface="Arial" panose="020B0604020202020204" pitchFamily="34" charset="0"/>
              <a:buChar char="•"/>
              <a:defRPr sz="1200" b="0" kern="1200">
                <a:solidFill>
                  <a:schemeClr val="tx1"/>
                </a:solidFill>
                <a:latin typeface="+mn-lt"/>
                <a:ea typeface="+mn-ea"/>
                <a:cs typeface="+mn-cs"/>
              </a:defRPr>
            </a:lvl4pPr>
            <a:lvl5pPr marL="538163" indent="-80963" algn="l" defTabSz="914400" rtl="0" eaLnBrk="1" latinLnBrk="0" hangingPunct="1">
              <a:lnSpc>
                <a:spcPct val="110000"/>
              </a:lnSpc>
              <a:spcBef>
                <a:spcPts val="0"/>
              </a:spcBef>
              <a:spcAft>
                <a:spcPts val="0"/>
              </a:spcAft>
              <a:buFont typeface="Arial" panose="020B0604020202020204" pitchFamily="34" charset="0"/>
              <a:buNone/>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0"/>
              </a:spcAft>
              <a:buClr>
                <a:srgbClr val="007FAD"/>
              </a:buClr>
              <a:buSzTx/>
              <a:buFont typeface="Symbol" panose="05050102010706020507" pitchFamily="18" charset="2"/>
              <a:buNone/>
              <a:tabLst/>
              <a:defRPr/>
            </a:pPr>
            <a:r>
              <a:rPr kumimoji="0" lang="fr-FR" sz="2000" b="1" i="0" u="none" strike="noStrike" kern="1200" cap="none" spc="0" normalizeH="0" baseline="0" noProof="0">
                <a:ln>
                  <a:noFill/>
                </a:ln>
                <a:solidFill>
                  <a:srgbClr val="0C419A"/>
                </a:solidFill>
                <a:effectLst/>
                <a:uLnTx/>
                <a:uFillTx/>
                <a:latin typeface="Arial" panose="020B0604020202020204"/>
                <a:ea typeface="+mn-ea"/>
                <a:cs typeface="+mn-cs"/>
              </a:rPr>
              <a:t>Interopérabilité des logiciels </a:t>
            </a:r>
          </a:p>
          <a:p>
            <a:pPr marL="0" marR="0" lvl="0" indent="0" algn="l" defTabSz="914400" rtl="0" eaLnBrk="1" fontAlgn="auto" latinLnBrk="0" hangingPunct="1">
              <a:lnSpc>
                <a:spcPct val="110000"/>
              </a:lnSpc>
              <a:spcBef>
                <a:spcPts val="600"/>
              </a:spcBef>
              <a:spcAft>
                <a:spcPts val="0"/>
              </a:spcAft>
              <a:buClr>
                <a:srgbClr val="007FAD"/>
              </a:buClr>
              <a:buSzTx/>
              <a:buFont typeface="Symbol" panose="05050102010706020507" pitchFamily="18" charset="2"/>
              <a:buNone/>
              <a:tabLst/>
              <a:defRPr/>
            </a:pPr>
            <a:endParaRPr kumimoji="0" lang="fr-FR" sz="1100" b="1" i="0" u="none" strike="noStrike" kern="1200" cap="none" spc="0" normalizeH="0" baseline="0" noProof="0">
              <a:ln>
                <a:noFill/>
              </a:ln>
              <a:solidFill>
                <a:srgbClr val="0C419A"/>
              </a:solidFill>
              <a:effectLst/>
              <a:uLnTx/>
              <a:uFillTx/>
              <a:latin typeface="Arial" panose="020B0604020202020204"/>
              <a:ea typeface="+mn-ea"/>
              <a:cs typeface="+mn-cs"/>
            </a:endParaRPr>
          </a:p>
          <a:p>
            <a:pPr marL="0" marR="0" lvl="0" indent="0" algn="l" defTabSz="914400" rtl="0" eaLnBrk="1" fontAlgn="auto" latinLnBrk="0" hangingPunct="1">
              <a:lnSpc>
                <a:spcPct val="110000"/>
              </a:lnSpc>
              <a:spcBef>
                <a:spcPts val="600"/>
              </a:spcBef>
              <a:spcAft>
                <a:spcPts val="0"/>
              </a:spcAft>
              <a:buClr>
                <a:srgbClr val="007FAD"/>
              </a:buClr>
              <a:buSzTx/>
              <a:buFont typeface="Symbol" panose="05050102010706020507" pitchFamily="18" charset="2"/>
              <a:buNone/>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mn-cs"/>
              </a:rPr>
              <a:t>Pour qu’un professionnel de santé ou un établissement puisse envoyer un document à un patient dans le DMP, il faut que les documents soient structurés de la même manière. </a:t>
            </a:r>
          </a:p>
          <a:p>
            <a:pPr marL="0" marR="0" lvl="0" indent="0" algn="l" defTabSz="914400" rtl="0" eaLnBrk="1" fontAlgn="auto" latinLnBrk="0" hangingPunct="1">
              <a:lnSpc>
                <a:spcPct val="110000"/>
              </a:lnSpc>
              <a:spcBef>
                <a:spcPts val="600"/>
              </a:spcBef>
              <a:spcAft>
                <a:spcPts val="0"/>
              </a:spcAft>
              <a:buClr>
                <a:srgbClr val="007FAD"/>
              </a:buClr>
              <a:buSzTx/>
              <a:buFont typeface="Symbol" panose="05050102010706020507" pitchFamily="18" charset="2"/>
              <a:buNone/>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mn-cs"/>
              </a:rPr>
              <a:t>Tous les logiciels doivent respecter les mêmes normes.</a:t>
            </a:r>
          </a:p>
        </p:txBody>
      </p:sp>
      <p:sp>
        <p:nvSpPr>
          <p:cNvPr id="11" name="Espace réservé du texte 1"/>
          <p:cNvSpPr txBox="1">
            <a:spLocks/>
          </p:cNvSpPr>
          <p:nvPr/>
        </p:nvSpPr>
        <p:spPr>
          <a:xfrm>
            <a:off x="714684" y="1788676"/>
            <a:ext cx="5381316" cy="4728971"/>
          </a:xfrm>
          <a:prstGeom prst="rect">
            <a:avLst/>
          </a:prstGeom>
          <a:ln w="3175">
            <a:noFill/>
          </a:ln>
        </p:spPr>
        <p:txBody>
          <a:bodyPr vert="horz" lIns="91440" tIns="45720" rIns="91440" bIns="45720" rtlCol="0">
            <a:normAutofit fontScale="92500" lnSpcReduction="20000"/>
          </a:bodyPr>
          <a:lstStyle>
            <a:lvl1pPr marL="0" indent="0" algn="l" defTabSz="914400" rtl="0" eaLnBrk="1" latinLnBrk="0" hangingPunct="1">
              <a:lnSpc>
                <a:spcPct val="110000"/>
              </a:lnSpc>
              <a:spcBef>
                <a:spcPts val="600"/>
              </a:spcBef>
              <a:spcAft>
                <a:spcPts val="0"/>
              </a:spcAft>
              <a:buClr>
                <a:schemeClr val="tx2"/>
              </a:buClr>
              <a:buFont typeface="Symbol" panose="05050102010706020507" pitchFamily="18" charset="2"/>
              <a:buNone/>
              <a:defRPr sz="2000" b="0" kern="1200">
                <a:solidFill>
                  <a:schemeClr val="tx2"/>
                </a:solidFill>
                <a:latin typeface="+mn-lt"/>
                <a:ea typeface="+mn-ea"/>
                <a:cs typeface="+mn-cs"/>
              </a:defRPr>
            </a:lvl1pPr>
            <a:lvl2pPr marL="174625" indent="-174625" algn="l" defTabSz="914400" rtl="0" eaLnBrk="1" latinLnBrk="0" hangingPunct="1">
              <a:lnSpc>
                <a:spcPct val="110000"/>
              </a:lnSpc>
              <a:spcBef>
                <a:spcPts val="600"/>
              </a:spcBef>
              <a:spcAft>
                <a:spcPts val="0"/>
              </a:spcAft>
              <a:buClr>
                <a:schemeClr val="tx2"/>
              </a:buClr>
              <a:buSzPct val="120000"/>
              <a:buFont typeface="Arial" panose="020B0604020202020204" pitchFamily="34" charset="0"/>
              <a:buChar char="•"/>
              <a:defRPr sz="1600" b="1" i="0" kern="1200">
                <a:solidFill>
                  <a:schemeClr val="tx1"/>
                </a:solidFill>
                <a:latin typeface="+mn-lt"/>
                <a:ea typeface="+mn-ea"/>
                <a:cs typeface="+mn-cs"/>
              </a:defRPr>
            </a:lvl2pPr>
            <a:lvl3pPr marL="358775" indent="-184150" algn="l" defTabSz="914400" rtl="0" eaLnBrk="1" latinLnBrk="0" hangingPunct="1">
              <a:lnSpc>
                <a:spcPct val="110000"/>
              </a:lnSpc>
              <a:spcBef>
                <a:spcPts val="300"/>
              </a:spcBef>
              <a:spcAft>
                <a:spcPts val="0"/>
              </a:spcAft>
              <a:buClr>
                <a:schemeClr val="tx2"/>
              </a:buClr>
              <a:buFont typeface="Arial" panose="020B0604020202020204" pitchFamily="34" charset="0"/>
              <a:buChar char="-"/>
              <a:defRPr sz="1600" b="0" kern="1200">
                <a:solidFill>
                  <a:schemeClr val="tx1"/>
                </a:solidFill>
                <a:latin typeface="+mn-lt"/>
                <a:ea typeface="+mn-ea"/>
                <a:cs typeface="+mn-cs"/>
              </a:defRPr>
            </a:lvl3pPr>
            <a:lvl4pPr marL="530225" indent="-171450" algn="l" defTabSz="914400" rtl="0" eaLnBrk="1" latinLnBrk="0" hangingPunct="1">
              <a:lnSpc>
                <a:spcPct val="110000"/>
              </a:lnSpc>
              <a:spcBef>
                <a:spcPts val="0"/>
              </a:spcBef>
              <a:spcAft>
                <a:spcPts val="0"/>
              </a:spcAft>
              <a:buClr>
                <a:schemeClr val="tx2"/>
              </a:buClr>
              <a:buSzPct val="100000"/>
              <a:buFont typeface="Arial" panose="020B0604020202020204" pitchFamily="34" charset="0"/>
              <a:buChar char="•"/>
              <a:defRPr sz="1200" b="0" kern="1200">
                <a:solidFill>
                  <a:schemeClr val="tx1"/>
                </a:solidFill>
                <a:latin typeface="+mn-lt"/>
                <a:ea typeface="+mn-ea"/>
                <a:cs typeface="+mn-cs"/>
              </a:defRPr>
            </a:lvl4pPr>
            <a:lvl5pPr marL="538163" indent="-80963" algn="l" defTabSz="914400" rtl="0" eaLnBrk="1" latinLnBrk="0" hangingPunct="1">
              <a:lnSpc>
                <a:spcPct val="110000"/>
              </a:lnSpc>
              <a:spcBef>
                <a:spcPts val="0"/>
              </a:spcBef>
              <a:spcAft>
                <a:spcPts val="0"/>
              </a:spcAft>
              <a:buFont typeface="Arial" panose="020B0604020202020204" pitchFamily="34" charset="0"/>
              <a:buNone/>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7FAD"/>
              </a:buClr>
            </a:pPr>
            <a:r>
              <a:rPr lang="fr-FR" sz="2600" b="1">
                <a:solidFill>
                  <a:srgbClr val="0C419A"/>
                </a:solidFill>
                <a:latin typeface="Arial" panose="020B0604020202020204"/>
              </a:rPr>
              <a:t>Cercle vicieux de l’alimentation</a:t>
            </a:r>
          </a:p>
          <a:p>
            <a:pPr>
              <a:buClr>
                <a:srgbClr val="007FAD"/>
              </a:buClr>
            </a:pPr>
            <a:endParaRPr lang="fr-FR" b="1">
              <a:solidFill>
                <a:srgbClr val="007FAD"/>
              </a:solidFill>
              <a:latin typeface="Arial" panose="020B0604020202020204"/>
            </a:endParaRPr>
          </a:p>
          <a:p>
            <a:pPr>
              <a:buClr>
                <a:srgbClr val="007FAD"/>
              </a:buClr>
            </a:pPr>
            <a:r>
              <a:rPr lang="fr-FR" b="1">
                <a:solidFill>
                  <a:srgbClr val="007FAD"/>
                </a:solidFill>
                <a:latin typeface="Arial" panose="020B0604020202020204"/>
              </a:rPr>
              <a:t> </a:t>
            </a:r>
          </a:p>
          <a:p>
            <a:pPr>
              <a:buClr>
                <a:srgbClr val="007FAD"/>
              </a:buClr>
            </a:pPr>
            <a:endParaRPr lang="fr-FR" b="1">
              <a:solidFill>
                <a:srgbClr val="007FAD"/>
              </a:solidFill>
              <a:latin typeface="Arial" panose="020B0604020202020204"/>
            </a:endParaRPr>
          </a:p>
          <a:p>
            <a:pPr>
              <a:buClr>
                <a:srgbClr val="007FAD"/>
              </a:buClr>
            </a:pPr>
            <a:endParaRPr lang="fr-FR" b="1">
              <a:solidFill>
                <a:srgbClr val="007FAD"/>
              </a:solidFill>
              <a:latin typeface="Arial" panose="020B0604020202020204"/>
            </a:endParaRPr>
          </a:p>
          <a:p>
            <a:pPr>
              <a:buClr>
                <a:srgbClr val="007FAD"/>
              </a:buClr>
            </a:pPr>
            <a:endParaRPr lang="fr-FR" b="1">
              <a:solidFill>
                <a:srgbClr val="007FAD"/>
              </a:solidFill>
              <a:latin typeface="Arial" panose="020B0604020202020204"/>
            </a:endParaRPr>
          </a:p>
          <a:p>
            <a:pPr>
              <a:buClr>
                <a:srgbClr val="007FAD"/>
              </a:buClr>
            </a:pPr>
            <a:endParaRPr lang="fr-FR" b="1">
              <a:solidFill>
                <a:srgbClr val="007FAD"/>
              </a:solidFill>
              <a:latin typeface="Arial" panose="020B0604020202020204"/>
            </a:endParaRPr>
          </a:p>
          <a:p>
            <a:pPr>
              <a:buClr>
                <a:srgbClr val="007FAD"/>
              </a:buClr>
            </a:pPr>
            <a:endParaRPr lang="fr-FR" b="1">
              <a:solidFill>
                <a:srgbClr val="007FAD"/>
              </a:solidFill>
              <a:latin typeface="Arial" panose="020B0604020202020204"/>
            </a:endParaRPr>
          </a:p>
          <a:p>
            <a:pPr>
              <a:buClr>
                <a:srgbClr val="007FAD"/>
              </a:buClr>
            </a:pPr>
            <a:endParaRPr lang="fr-FR" b="1">
              <a:solidFill>
                <a:srgbClr val="007FAD"/>
              </a:solidFill>
              <a:latin typeface="Arial" panose="020B0604020202020204"/>
            </a:endParaRPr>
          </a:p>
          <a:p>
            <a:pPr>
              <a:lnSpc>
                <a:spcPct val="130000"/>
              </a:lnSpc>
              <a:buClr>
                <a:srgbClr val="007FAD"/>
              </a:buClr>
            </a:pPr>
            <a:r>
              <a:rPr lang="fr-FR" sz="1500">
                <a:solidFill>
                  <a:srgbClr val="545859"/>
                </a:solidFill>
                <a:latin typeface="Arial" panose="020B0604020202020204"/>
              </a:rPr>
              <a:t>Les DMP ne sont pas créés parce qu’ils ne sont pas consultés. </a:t>
            </a:r>
            <a:br>
              <a:rPr lang="fr-FR" sz="1500">
                <a:solidFill>
                  <a:srgbClr val="545859"/>
                </a:solidFill>
                <a:latin typeface="Arial" panose="020B0604020202020204"/>
              </a:rPr>
            </a:br>
            <a:r>
              <a:rPr lang="fr-FR" sz="1500">
                <a:solidFill>
                  <a:srgbClr val="545859"/>
                </a:solidFill>
                <a:latin typeface="Arial" panose="020B0604020202020204"/>
              </a:rPr>
              <a:t>Ils ne sont pas consultés parce qu’ils ne sont pas alimentés. Ils ne sont pas alimentés parce qu’ils ne sont pas créés. Et créer le DMP pour l’alimenter est trop chronophage pour un professionnel de santé.</a:t>
            </a:r>
          </a:p>
          <a:p>
            <a:pPr>
              <a:buClr>
                <a:srgbClr val="007FAD"/>
              </a:buClr>
            </a:pPr>
            <a:endParaRPr lang="fr-FR" b="1">
              <a:solidFill>
                <a:srgbClr val="007FAD"/>
              </a:solidFill>
              <a:latin typeface="Arial" panose="020B0604020202020204"/>
            </a:endParaRPr>
          </a:p>
        </p:txBody>
      </p:sp>
      <p:pic>
        <p:nvPicPr>
          <p:cNvPr id="12" name="Picture 2" descr="https://www.dedalus-france.fr/wp-content/uploads/2020/10/Sch%C3%A9ma-web-Orbis-F-parc.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20136" y="3717032"/>
            <a:ext cx="2736304" cy="214202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3" name="Diagramme 12"/>
          <p:cNvGraphicFramePr/>
          <p:nvPr/>
        </p:nvGraphicFramePr>
        <p:xfrm>
          <a:off x="839416" y="2276873"/>
          <a:ext cx="4824536" cy="21602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99320269"/>
      </p:ext>
    </p:extLst>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DE7994F-10EA-4B2B-BF9A-01086FBF8FF8}"/>
              </a:ext>
            </a:extLst>
          </p:cNvPr>
          <p:cNvSpPr>
            <a:spLocks noGrp="1"/>
          </p:cNvSpPr>
          <p:nvPr>
            <p:ph type="sldNum" sz="quarter" idx="2"/>
          </p:nvPr>
        </p:nvSpPr>
        <p:spPr/>
        <p:txBody>
          <a:bodyPr/>
          <a:lstStyle/>
          <a:p>
            <a:fld id="{86CB4B4D-7CA3-9044-876B-883B54F8677D}" type="slidenum">
              <a:rPr lang="fr-FR" smtClean="0"/>
              <a:t>40</a:t>
            </a:fld>
            <a:endParaRPr lang="fr-FR"/>
          </a:p>
        </p:txBody>
      </p:sp>
      <p:sp>
        <p:nvSpPr>
          <p:cNvPr id="4" name="Title 3">
            <a:extLst>
              <a:ext uri="{FF2B5EF4-FFF2-40B4-BE49-F238E27FC236}">
                <a16:creationId xmlns:a16="http://schemas.microsoft.com/office/drawing/2014/main" id="{4434772D-99AE-4EA7-B781-D9B88C39004B}"/>
              </a:ext>
            </a:extLst>
          </p:cNvPr>
          <p:cNvSpPr>
            <a:spLocks noGrp="1"/>
          </p:cNvSpPr>
          <p:nvPr>
            <p:ph type="title"/>
          </p:nvPr>
        </p:nvSpPr>
        <p:spPr>
          <a:xfrm>
            <a:off x="2313517" y="16625"/>
            <a:ext cx="9306965" cy="1133342"/>
          </a:xfrm>
        </p:spPr>
        <p:txBody>
          <a:bodyPr>
            <a:normAutofit/>
          </a:bodyPr>
          <a:lstStyle/>
          <a:p>
            <a:r>
              <a:rPr lang="fr-FR" dirty="0"/>
              <a:t>Inscription / recueil d’actions / KIT</a:t>
            </a:r>
          </a:p>
        </p:txBody>
      </p:sp>
      <p:sp>
        <p:nvSpPr>
          <p:cNvPr id="2" name="ZoneTexte 1">
            <a:extLst>
              <a:ext uri="{FF2B5EF4-FFF2-40B4-BE49-F238E27FC236}">
                <a16:creationId xmlns:a16="http://schemas.microsoft.com/office/drawing/2014/main" id="{52FE8C3D-59DD-4B3F-2522-E29000D4698E}"/>
              </a:ext>
            </a:extLst>
          </p:cNvPr>
          <p:cNvSpPr txBox="1"/>
          <p:nvPr/>
        </p:nvSpPr>
        <p:spPr>
          <a:xfrm flipH="1">
            <a:off x="320040" y="1647200"/>
            <a:ext cx="5266944" cy="5950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2438338" rtl="0" fontAlgn="auto" latinLnBrk="0" hangingPunct="0">
              <a:lnSpc>
                <a:spcPct val="100000"/>
              </a:lnSpc>
              <a:spcBef>
                <a:spcPts val="0"/>
              </a:spcBef>
              <a:spcAft>
                <a:spcPts val="0"/>
              </a:spcAft>
              <a:buClrTx/>
              <a:buSzTx/>
              <a:buFontTx/>
              <a:buNone/>
              <a:tabLst/>
            </a:pPr>
            <a:r>
              <a:rPr lang="fr-FR" sz="1600" dirty="0">
                <a:hlinkClick r:id="rId2"/>
              </a:rPr>
              <a:t>Inscription ambassadeurs Mon espace santé (esegur-normandie.fr)</a:t>
            </a:r>
            <a:endParaRPr kumimoji="0" lang="fr-FR" sz="1600" b="0" i="0" u="none" strike="noStrike" cap="none" spc="0" normalizeH="0" baseline="0" dirty="0">
              <a:ln>
                <a:noFill/>
              </a:ln>
              <a:solidFill>
                <a:srgbClr val="5E5E5E"/>
              </a:solidFill>
              <a:effectLst/>
              <a:uFillTx/>
              <a:latin typeface="+mn-lt"/>
              <a:ea typeface="+mn-ea"/>
              <a:cs typeface="+mn-cs"/>
              <a:sym typeface="Helvetica Neue"/>
            </a:endParaRPr>
          </a:p>
        </p:txBody>
      </p:sp>
      <p:pic>
        <p:nvPicPr>
          <p:cNvPr id="6" name="Image 5">
            <a:extLst>
              <a:ext uri="{FF2B5EF4-FFF2-40B4-BE49-F238E27FC236}">
                <a16:creationId xmlns:a16="http://schemas.microsoft.com/office/drawing/2014/main" id="{658F7B74-516C-5116-6545-C81524E682F5}"/>
              </a:ext>
            </a:extLst>
          </p:cNvPr>
          <p:cNvPicPr>
            <a:picLocks noChangeAspect="1"/>
          </p:cNvPicPr>
          <p:nvPr/>
        </p:nvPicPr>
        <p:blipFill>
          <a:blip r:embed="rId3"/>
          <a:stretch>
            <a:fillRect/>
          </a:stretch>
        </p:blipFill>
        <p:spPr>
          <a:xfrm>
            <a:off x="857653" y="2312153"/>
            <a:ext cx="4367349" cy="3347239"/>
          </a:xfrm>
          <a:prstGeom prst="rect">
            <a:avLst/>
          </a:prstGeom>
        </p:spPr>
      </p:pic>
      <p:sp>
        <p:nvSpPr>
          <p:cNvPr id="12" name="ZoneTexte 11">
            <a:extLst>
              <a:ext uri="{FF2B5EF4-FFF2-40B4-BE49-F238E27FC236}">
                <a16:creationId xmlns:a16="http://schemas.microsoft.com/office/drawing/2014/main" id="{07DE20C9-3D4A-109D-B755-7B00E3E18CCB}"/>
              </a:ext>
            </a:extLst>
          </p:cNvPr>
          <p:cNvSpPr txBox="1"/>
          <p:nvPr/>
        </p:nvSpPr>
        <p:spPr>
          <a:xfrm>
            <a:off x="6621000" y="1665822"/>
            <a:ext cx="4999482"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fr-FR" dirty="0">
                <a:hlinkClick r:id="rId4"/>
              </a:rPr>
              <a:t>Recueil des actions ambassadeurs Mon espace </a:t>
            </a:r>
            <a:r>
              <a:rPr lang="fr-FR" sz="1600" dirty="0">
                <a:hlinkClick r:id="rId4"/>
              </a:rPr>
              <a:t>santé</a:t>
            </a:r>
            <a:r>
              <a:rPr lang="fr-FR" dirty="0">
                <a:hlinkClick r:id="rId4"/>
              </a:rPr>
              <a:t> (esegur-normandie.fr)</a:t>
            </a:r>
            <a:endParaRPr lang="fr-FR" dirty="0"/>
          </a:p>
        </p:txBody>
      </p:sp>
      <p:pic>
        <p:nvPicPr>
          <p:cNvPr id="14" name="Image 13">
            <a:extLst>
              <a:ext uri="{FF2B5EF4-FFF2-40B4-BE49-F238E27FC236}">
                <a16:creationId xmlns:a16="http://schemas.microsoft.com/office/drawing/2014/main" id="{8772F513-C650-1051-33D8-5343BC351D60}"/>
              </a:ext>
            </a:extLst>
          </p:cNvPr>
          <p:cNvPicPr>
            <a:picLocks noChangeAspect="1"/>
          </p:cNvPicPr>
          <p:nvPr/>
        </p:nvPicPr>
        <p:blipFill>
          <a:blip r:embed="rId5"/>
          <a:stretch>
            <a:fillRect/>
          </a:stretch>
        </p:blipFill>
        <p:spPr>
          <a:xfrm>
            <a:off x="6966999" y="2312153"/>
            <a:ext cx="4180352" cy="3689974"/>
          </a:xfrm>
          <a:prstGeom prst="rect">
            <a:avLst/>
          </a:prstGeom>
        </p:spPr>
      </p:pic>
      <p:sp>
        <p:nvSpPr>
          <p:cNvPr id="18" name="ZoneTexte 17">
            <a:extLst>
              <a:ext uri="{FF2B5EF4-FFF2-40B4-BE49-F238E27FC236}">
                <a16:creationId xmlns:a16="http://schemas.microsoft.com/office/drawing/2014/main" id="{BE12D1DF-0D51-7DCF-DEC1-DDF66365BB9E}"/>
              </a:ext>
            </a:extLst>
          </p:cNvPr>
          <p:cNvSpPr txBox="1"/>
          <p:nvPr/>
        </p:nvSpPr>
        <p:spPr>
          <a:xfrm>
            <a:off x="2617470" y="5967169"/>
            <a:ext cx="8529881" cy="3385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fr-FR" sz="1600" dirty="0">
                <a:hlinkClick r:id="rId6"/>
              </a:rPr>
              <a:t>Programme ambassadeur | Agence du Numérique en Santé (esante.gouv.fr)</a:t>
            </a:r>
            <a:endParaRPr lang="fr-FR" sz="1600" dirty="0"/>
          </a:p>
        </p:txBody>
      </p:sp>
      <p:sp>
        <p:nvSpPr>
          <p:cNvPr id="19" name="ZoneTexte 18">
            <a:extLst>
              <a:ext uri="{FF2B5EF4-FFF2-40B4-BE49-F238E27FC236}">
                <a16:creationId xmlns:a16="http://schemas.microsoft.com/office/drawing/2014/main" id="{FBDE6B08-BB23-35AB-D785-02F35CB4B59C}"/>
              </a:ext>
            </a:extLst>
          </p:cNvPr>
          <p:cNvSpPr txBox="1"/>
          <p:nvPr/>
        </p:nvSpPr>
        <p:spPr>
          <a:xfrm>
            <a:off x="1809039" y="5900484"/>
            <a:ext cx="850477" cy="4719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2438338" rtl="0" fontAlgn="auto" latinLnBrk="0" hangingPunct="0">
              <a:lnSpc>
                <a:spcPct val="100000"/>
              </a:lnSpc>
              <a:spcBef>
                <a:spcPts val="0"/>
              </a:spcBef>
              <a:spcAft>
                <a:spcPts val="0"/>
              </a:spcAft>
              <a:buClrTx/>
              <a:buSzTx/>
              <a:buFontTx/>
              <a:buNone/>
              <a:tabLst/>
            </a:pPr>
            <a:r>
              <a:rPr kumimoji="0" lang="fr-FR" sz="2400" b="0" i="0" u="none" strike="noStrike" cap="none" spc="0" normalizeH="0" baseline="0" dirty="0">
                <a:ln>
                  <a:noFill/>
                </a:ln>
                <a:solidFill>
                  <a:srgbClr val="5E5E5E"/>
                </a:solidFill>
                <a:effectLst/>
                <a:uFillTx/>
                <a:latin typeface="+mn-lt"/>
                <a:ea typeface="+mn-ea"/>
                <a:cs typeface="+mn-cs"/>
                <a:sym typeface="Helvetica Neue"/>
              </a:rPr>
              <a:t>KIT</a:t>
            </a:r>
          </a:p>
        </p:txBody>
      </p:sp>
    </p:spTree>
    <p:extLst>
      <p:ext uri="{BB962C8B-B14F-4D97-AF65-F5344CB8AC3E}">
        <p14:creationId xmlns:p14="http://schemas.microsoft.com/office/powerpoint/2010/main" val="1419833386"/>
      </p:ext>
    </p:extLst>
  </p:cSld>
  <p:clrMapOvr>
    <a:masterClrMapping/>
  </p:clrMapOvr>
  <p:transition spd="med"/>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DE7994F-10EA-4B2B-BF9A-01086FBF8FF8}"/>
              </a:ext>
            </a:extLst>
          </p:cNvPr>
          <p:cNvSpPr>
            <a:spLocks noGrp="1"/>
          </p:cNvSpPr>
          <p:nvPr>
            <p:ph type="sldNum" sz="quarter" idx="2"/>
          </p:nvPr>
        </p:nvSpPr>
        <p:spPr/>
        <p:txBody>
          <a:bodyPr/>
          <a:lstStyle/>
          <a:p>
            <a:fld id="{86CB4B4D-7CA3-9044-876B-883B54F8677D}" type="slidenum">
              <a:rPr lang="fr-FR" smtClean="0"/>
              <a:t>41</a:t>
            </a:fld>
            <a:endParaRPr lang="fr-FR"/>
          </a:p>
        </p:txBody>
      </p:sp>
      <p:sp>
        <p:nvSpPr>
          <p:cNvPr id="4" name="Title 3">
            <a:extLst>
              <a:ext uri="{FF2B5EF4-FFF2-40B4-BE49-F238E27FC236}">
                <a16:creationId xmlns:a16="http://schemas.microsoft.com/office/drawing/2014/main" id="{4434772D-99AE-4EA7-B781-D9B88C39004B}"/>
              </a:ext>
            </a:extLst>
          </p:cNvPr>
          <p:cNvSpPr>
            <a:spLocks noGrp="1"/>
          </p:cNvSpPr>
          <p:nvPr>
            <p:ph type="title"/>
          </p:nvPr>
        </p:nvSpPr>
        <p:spPr>
          <a:xfrm>
            <a:off x="2313517" y="16625"/>
            <a:ext cx="9306965" cy="1133342"/>
          </a:xfrm>
        </p:spPr>
        <p:txBody>
          <a:bodyPr>
            <a:normAutofit/>
          </a:bodyPr>
          <a:lstStyle/>
          <a:p>
            <a:r>
              <a:rPr lang="fr-FR"/>
              <a:t>Quelques éléments de langage</a:t>
            </a:r>
          </a:p>
        </p:txBody>
      </p:sp>
      <p:sp>
        <p:nvSpPr>
          <p:cNvPr id="12" name="TextBox 11">
            <a:extLst>
              <a:ext uri="{FF2B5EF4-FFF2-40B4-BE49-F238E27FC236}">
                <a16:creationId xmlns:a16="http://schemas.microsoft.com/office/drawing/2014/main" id="{8E7F8FAE-8DE9-4B45-A97B-09B0733173D3}"/>
              </a:ext>
            </a:extLst>
          </p:cNvPr>
          <p:cNvSpPr txBox="1"/>
          <p:nvPr/>
        </p:nvSpPr>
        <p:spPr>
          <a:xfrm>
            <a:off x="762000" y="2318080"/>
            <a:ext cx="10744200" cy="210826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
              <a:spcBef>
                <a:spcPts val="300"/>
              </a:spcBef>
            </a:pPr>
            <a:r>
              <a:rPr lang="fr-FR" sz="1400">
                <a:effectLst/>
                <a:latin typeface="+mj-lt"/>
                <a:ea typeface="Calibri" panose="020F0502020204030204" pitchFamily="34" charset="0"/>
                <a:cs typeface="Times New Roman" panose="02020603050405020304" pitchFamily="18" charset="0"/>
              </a:rPr>
              <a:t>La sensibilisation de Mon espace santé concerne à la fois le citoyen pour </a:t>
            </a:r>
            <a:r>
              <a:rPr lang="fr-FR" sz="1400" b="1">
                <a:effectLst/>
                <a:latin typeface="+mj-lt"/>
                <a:ea typeface="Calibri" panose="020F0502020204030204" pitchFamily="34" charset="0"/>
                <a:cs typeface="Times New Roman" panose="02020603050405020304" pitchFamily="18" charset="0"/>
              </a:rPr>
              <a:t>reprendre en main l'usage de ces données de santé</a:t>
            </a:r>
            <a:r>
              <a:rPr lang="fr-FR" sz="1400">
                <a:effectLst/>
                <a:latin typeface="+mj-lt"/>
                <a:ea typeface="Calibri" panose="020F0502020204030204" pitchFamily="34" charset="0"/>
                <a:cs typeface="Times New Roman" panose="02020603050405020304" pitchFamily="18" charset="0"/>
              </a:rPr>
              <a:t>, mais aussi la possibilité pour le professionnel de santé de mieux le prendre en charge. Cela permettra aux professionnels de santé d'avoir un suivi de sa situation médicale et ainsi lui prodiguer des soins adaptés à sa situation. </a:t>
            </a:r>
          </a:p>
          <a:p>
            <a:pPr algn="just">
              <a:spcBef>
                <a:spcPts val="300"/>
              </a:spcBef>
            </a:pPr>
            <a:r>
              <a:rPr lang="fr-FR" sz="1400" b="1">
                <a:effectLst/>
                <a:latin typeface="+mj-lt"/>
                <a:ea typeface="Calibri" panose="020F0502020204030204" pitchFamily="34" charset="0"/>
                <a:cs typeface="Times New Roman" panose="02020603050405020304" pitchFamily="18" charset="0"/>
              </a:rPr>
              <a:t>Ainsi, un citoyen ayant des difficultés avec le numérique peut avoir Mon espace santé alimenté par ses professionnels, en cas d’oubli de documents de sa part lors de ses rendez-vous médicaux ou d’urgence vitale, ses informations de santé seront disponibles pour une meilleure prise en charge. </a:t>
            </a:r>
          </a:p>
          <a:p>
            <a:pPr algn="just">
              <a:spcBef>
                <a:spcPts val="300"/>
              </a:spcBef>
            </a:pPr>
            <a:r>
              <a:rPr lang="fr-FR" sz="1400">
                <a:effectLst/>
                <a:latin typeface="+mj-lt"/>
                <a:ea typeface="Calibri" panose="020F0502020204030204" pitchFamily="34" charset="0"/>
                <a:cs typeface="Times New Roman" panose="02020603050405020304" pitchFamily="18" charset="0"/>
              </a:rPr>
              <a:t>Pour aider le citoyen à développer ses compétences numériques, l’accompagnant peut le réorienter vers les structures de médiations numériques existantes (ex : conseillers numériques France Service, agents France Service, …). Ces espaces lui permettront de développer les compétences nécessaires afin d’être en capacité de mieux prendre en main son service Mon espace santé. </a:t>
            </a:r>
          </a:p>
        </p:txBody>
      </p:sp>
      <p:sp>
        <p:nvSpPr>
          <p:cNvPr id="13" name="TextBox 12">
            <a:extLst>
              <a:ext uri="{FF2B5EF4-FFF2-40B4-BE49-F238E27FC236}">
                <a16:creationId xmlns:a16="http://schemas.microsoft.com/office/drawing/2014/main" id="{D9969BA0-00E6-406F-B07E-C86BD4DCBF99}"/>
              </a:ext>
            </a:extLst>
          </p:cNvPr>
          <p:cNvSpPr txBox="1"/>
          <p:nvPr/>
        </p:nvSpPr>
        <p:spPr>
          <a:xfrm>
            <a:off x="762000" y="1678570"/>
            <a:ext cx="10668000" cy="67191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
              <a:lnSpc>
                <a:spcPct val="107000"/>
              </a:lnSpc>
              <a:spcAft>
                <a:spcPts val="800"/>
              </a:spcAft>
            </a:pPr>
            <a:r>
              <a:rPr lang="fr-FR" sz="1800" b="1">
                <a:solidFill>
                  <a:srgbClr val="E83182"/>
                </a:solidFill>
                <a:effectLst/>
                <a:latin typeface="Calibri" panose="020F0502020204030204" pitchFamily="34" charset="0"/>
                <a:ea typeface="Calibri" panose="020F0502020204030204" pitchFamily="34" charset="0"/>
                <a:cs typeface="Calibri" panose="020F0502020204030204" pitchFamily="34" charset="0"/>
              </a:rPr>
              <a:t>COMMENT SENSIBILISER UN CITOYEN DEJA ELOIGNE DU NUMERIQUE A LA NECESSITE DE CREER SON </a:t>
            </a:r>
            <a:r>
              <a:rPr lang="fr-FR" b="1">
                <a:solidFill>
                  <a:srgbClr val="E83182"/>
                </a:solidFill>
                <a:latin typeface="Calibri" panose="020F0502020204030204" pitchFamily="34" charset="0"/>
                <a:ea typeface="Calibri" panose="020F0502020204030204" pitchFamily="34" charset="0"/>
                <a:cs typeface="Calibri" panose="020F0502020204030204" pitchFamily="34" charset="0"/>
              </a:rPr>
              <a:t>PROFIL MON </a:t>
            </a:r>
            <a:r>
              <a:rPr lang="fr-FR" sz="1800" b="1">
                <a:solidFill>
                  <a:srgbClr val="E83182"/>
                </a:solidFill>
                <a:effectLst/>
                <a:latin typeface="Calibri" panose="020F0502020204030204" pitchFamily="34" charset="0"/>
                <a:ea typeface="Calibri" panose="020F0502020204030204" pitchFamily="34" charset="0"/>
                <a:cs typeface="Calibri" panose="020F0502020204030204" pitchFamily="34" charset="0"/>
              </a:rPr>
              <a:t>ESPACE SANTE, QU'IL AURA DU MAL A "MANIPULER"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7" name="TextBox 16">
            <a:extLst>
              <a:ext uri="{FF2B5EF4-FFF2-40B4-BE49-F238E27FC236}">
                <a16:creationId xmlns:a16="http://schemas.microsoft.com/office/drawing/2014/main" id="{5A8F425E-823A-47B7-ABF3-0E69816704D8}"/>
              </a:ext>
            </a:extLst>
          </p:cNvPr>
          <p:cNvSpPr txBox="1"/>
          <p:nvPr/>
        </p:nvSpPr>
        <p:spPr>
          <a:xfrm>
            <a:off x="762000" y="4918325"/>
            <a:ext cx="10744200" cy="116955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
            <a:r>
              <a:rPr lang="fr-FR" sz="1400">
                <a:effectLst/>
                <a:latin typeface="+mj-lt"/>
                <a:ea typeface="Calibri" panose="020F0502020204030204" pitchFamily="34" charset="0"/>
                <a:cs typeface="Times New Roman" panose="02020603050405020304" pitchFamily="18" charset="0"/>
              </a:rPr>
              <a:t>Les données personnelles de santé contenues dans Mon espace santé sont hébergées en France sur des serveurs répondant aux plus hautes normes de sécurité (notamment la certification « hébergeur des données de santé » - HDS). Leur confidentialité et leur sécurité sont garanties par le Ministère de la santé et de la prévention ainsi que l’Assurance Maladie, avec un accompagnement de l’Agence nationale de sécurité des systèmes d’information (ANSSI). Le traitement de ces données sensibles à caractère personnel est soumis aux standards RGPD et fait l’objet d’une surveillance de la CNIL.</a:t>
            </a:r>
          </a:p>
        </p:txBody>
      </p:sp>
      <p:sp>
        <p:nvSpPr>
          <p:cNvPr id="18" name="TextBox 17">
            <a:extLst>
              <a:ext uri="{FF2B5EF4-FFF2-40B4-BE49-F238E27FC236}">
                <a16:creationId xmlns:a16="http://schemas.microsoft.com/office/drawing/2014/main" id="{D7AAC6D8-F914-4773-A1A4-99B00219A07E}"/>
              </a:ext>
            </a:extLst>
          </p:cNvPr>
          <p:cNvSpPr txBox="1"/>
          <p:nvPr/>
        </p:nvSpPr>
        <p:spPr>
          <a:xfrm>
            <a:off x="762000" y="4589707"/>
            <a:ext cx="10940265" cy="375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07000"/>
              </a:lnSpc>
              <a:spcAft>
                <a:spcPts val="800"/>
              </a:spcAft>
            </a:pPr>
            <a:r>
              <a:rPr lang="fr-FR" sz="1800" b="1">
                <a:solidFill>
                  <a:srgbClr val="E83182"/>
                </a:solidFill>
                <a:effectLst/>
                <a:latin typeface="Calibri" panose="020F0502020204030204" pitchFamily="34" charset="0"/>
                <a:ea typeface="Calibri" panose="020F0502020204030204" pitchFamily="34" charset="0"/>
                <a:cs typeface="Calibri" panose="020F0502020204030204" pitchFamily="34" charset="0"/>
              </a:rPr>
              <a:t>COMMENT RASSURER LE CITOYEN SUR LA SECURISATION DE SES DONNEES DE SANTE DE MON ESPACE SANTE ?</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097194420"/>
      </p:ext>
    </p:extLst>
  </p:cSld>
  <p:clrMapOvr>
    <a:masterClrMapping/>
  </p:clrMapOvr>
  <p:transition spd="med"/>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DE7994F-10EA-4B2B-BF9A-01086FBF8FF8}"/>
              </a:ext>
            </a:extLst>
          </p:cNvPr>
          <p:cNvSpPr>
            <a:spLocks noGrp="1"/>
          </p:cNvSpPr>
          <p:nvPr>
            <p:ph type="sldNum" sz="quarter" idx="2"/>
          </p:nvPr>
        </p:nvSpPr>
        <p:spPr/>
        <p:txBody>
          <a:bodyPr/>
          <a:lstStyle/>
          <a:p>
            <a:fld id="{86CB4B4D-7CA3-9044-876B-883B54F8677D}" type="slidenum">
              <a:rPr lang="fr-FR" smtClean="0"/>
              <a:t>42</a:t>
            </a:fld>
            <a:endParaRPr lang="fr-FR"/>
          </a:p>
        </p:txBody>
      </p:sp>
      <p:sp>
        <p:nvSpPr>
          <p:cNvPr id="4" name="Title 3">
            <a:extLst>
              <a:ext uri="{FF2B5EF4-FFF2-40B4-BE49-F238E27FC236}">
                <a16:creationId xmlns:a16="http://schemas.microsoft.com/office/drawing/2014/main" id="{4434772D-99AE-4EA7-B781-D9B88C39004B}"/>
              </a:ext>
            </a:extLst>
          </p:cNvPr>
          <p:cNvSpPr>
            <a:spLocks noGrp="1"/>
          </p:cNvSpPr>
          <p:nvPr>
            <p:ph type="title"/>
          </p:nvPr>
        </p:nvSpPr>
        <p:spPr>
          <a:xfrm>
            <a:off x="2313517" y="16625"/>
            <a:ext cx="9306965" cy="1133342"/>
          </a:xfrm>
        </p:spPr>
        <p:txBody>
          <a:bodyPr>
            <a:normAutofit/>
          </a:bodyPr>
          <a:lstStyle/>
          <a:p>
            <a:r>
              <a:rPr lang="fr-FR"/>
              <a:t>Quelques éléments de langage</a:t>
            </a:r>
          </a:p>
        </p:txBody>
      </p:sp>
      <p:sp>
        <p:nvSpPr>
          <p:cNvPr id="12" name="TextBox 11">
            <a:extLst>
              <a:ext uri="{FF2B5EF4-FFF2-40B4-BE49-F238E27FC236}">
                <a16:creationId xmlns:a16="http://schemas.microsoft.com/office/drawing/2014/main" id="{8E7F8FAE-8DE9-4B45-A97B-09B0733173D3}"/>
              </a:ext>
            </a:extLst>
          </p:cNvPr>
          <p:cNvSpPr txBox="1"/>
          <p:nvPr/>
        </p:nvSpPr>
        <p:spPr>
          <a:xfrm>
            <a:off x="762000" y="2092052"/>
            <a:ext cx="10744200" cy="18543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algn="just"/>
            <a:r>
              <a:rPr lang="fr-FR" sz="1400">
                <a:ea typeface="+mn-lt"/>
                <a:cs typeface="+mn-lt"/>
                <a:sym typeface="Wingdings" panose="05000000000000000000" pitchFamily="2" charset="2"/>
              </a:rPr>
              <a:t> </a:t>
            </a:r>
            <a:r>
              <a:rPr lang="fr-FR" sz="1400">
                <a:ea typeface="+mn-lt"/>
                <a:cs typeface="+mn-lt"/>
              </a:rPr>
              <a:t>Vous contrôlez l’accès aux documents stockés dans votre profil </a:t>
            </a:r>
            <a:r>
              <a:rPr lang="fr-FR" sz="1400">
                <a:effectLst/>
                <a:ea typeface="+mn-lt"/>
                <a:cs typeface="+mn-lt"/>
              </a:rPr>
              <a:t>Mon espace santé.</a:t>
            </a:r>
            <a:r>
              <a:rPr lang="fr-FR" sz="1400">
                <a:ea typeface="+mn-lt"/>
                <a:cs typeface="+mn-lt"/>
              </a:rPr>
              <a:t> </a:t>
            </a:r>
            <a:endParaRPr lang="fr-FR" sz="1400">
              <a:effectLst/>
              <a:ea typeface="+mn-lt"/>
              <a:cs typeface="+mn-lt"/>
            </a:endParaRPr>
          </a:p>
          <a:p>
            <a:pPr algn="just"/>
            <a:r>
              <a:rPr lang="fr-FR" sz="1400">
                <a:ea typeface="+mn-lt"/>
                <a:cs typeface="+mn-lt"/>
                <a:sym typeface="Wingdings" panose="05000000000000000000" pitchFamily="2" charset="2"/>
              </a:rPr>
              <a:t></a:t>
            </a:r>
            <a:r>
              <a:rPr lang="fr-FR" sz="1400">
                <a:ea typeface="+mn-lt"/>
                <a:cs typeface="+mn-lt"/>
              </a:rPr>
              <a:t> Seuls les </a:t>
            </a:r>
            <a:r>
              <a:rPr lang="fr-FR" sz="1400">
                <a:effectLst/>
                <a:ea typeface="+mn-lt"/>
                <a:cs typeface="+mn-lt"/>
              </a:rPr>
              <a:t>professionnels</a:t>
            </a:r>
            <a:r>
              <a:rPr lang="fr-FR" sz="1400">
                <a:ea typeface="+mn-lt"/>
                <a:cs typeface="+mn-lt"/>
              </a:rPr>
              <a:t> que vous autorisez accèdent aux </a:t>
            </a:r>
            <a:r>
              <a:rPr lang="fr-FR" sz="1400">
                <a:effectLst/>
                <a:ea typeface="+mn-lt"/>
                <a:cs typeface="+mn-lt"/>
              </a:rPr>
              <a:t>documents de </a:t>
            </a:r>
            <a:r>
              <a:rPr lang="fr-FR" sz="1400">
                <a:ea typeface="+mn-lt"/>
                <a:cs typeface="+mn-lt"/>
              </a:rPr>
              <a:t>votre profil.</a:t>
            </a:r>
          </a:p>
          <a:p>
            <a:pPr algn="just"/>
            <a:r>
              <a:rPr lang="fr-FR" sz="1400">
                <a:ea typeface="+mn-lt"/>
                <a:cs typeface="+mn-lt"/>
                <a:sym typeface="Wingdings" panose="05000000000000000000" pitchFamily="2" charset="2"/>
              </a:rPr>
              <a:t></a:t>
            </a:r>
            <a:r>
              <a:rPr lang="fr-FR" sz="1400">
                <a:ea typeface="+mn-lt"/>
                <a:cs typeface="+mn-lt"/>
              </a:rPr>
              <a:t> Vous recevez </a:t>
            </a:r>
            <a:r>
              <a:rPr lang="fr-FR" sz="1400">
                <a:effectLst/>
                <a:ea typeface="+mn-lt"/>
                <a:cs typeface="+mn-lt"/>
              </a:rPr>
              <a:t>une </a:t>
            </a:r>
            <a:r>
              <a:rPr lang="fr-FR" sz="1400">
                <a:ea typeface="+mn-lt"/>
                <a:cs typeface="+mn-lt"/>
              </a:rPr>
              <a:t>notification dès qu’un professionnel s’y connecte</a:t>
            </a:r>
            <a:r>
              <a:rPr lang="fr-FR" sz="1400">
                <a:effectLst/>
                <a:ea typeface="+mn-lt"/>
                <a:cs typeface="+mn-lt"/>
              </a:rPr>
              <a:t>.</a:t>
            </a:r>
          </a:p>
          <a:p>
            <a:pPr algn="just"/>
            <a:r>
              <a:rPr lang="fr-FR" sz="1400">
                <a:ea typeface="+mn-lt"/>
                <a:cs typeface="+mn-lt"/>
                <a:sym typeface="Wingdings" panose="05000000000000000000" pitchFamily="2" charset="2"/>
              </a:rPr>
              <a:t></a:t>
            </a:r>
            <a:r>
              <a:rPr lang="fr-FR" sz="1400">
                <a:ea typeface="+mn-lt"/>
                <a:cs typeface="+mn-lt"/>
              </a:rPr>
              <a:t> Vous pouvez choisir de bloquer l’accès </a:t>
            </a:r>
            <a:r>
              <a:rPr lang="fr-FR" sz="1400">
                <a:effectLst/>
                <a:ea typeface="+mn-lt"/>
                <a:cs typeface="+mn-lt"/>
              </a:rPr>
              <a:t>à </a:t>
            </a:r>
            <a:r>
              <a:rPr lang="fr-FR" sz="1400">
                <a:ea typeface="+mn-lt"/>
                <a:cs typeface="+mn-lt"/>
              </a:rPr>
              <a:t>un professionnel depuis la rubrique « Confidentialité » dans </a:t>
            </a:r>
            <a:r>
              <a:rPr lang="fr-FR" sz="1400">
                <a:effectLst/>
                <a:ea typeface="+mn-lt"/>
                <a:cs typeface="+mn-lt"/>
              </a:rPr>
              <a:t>les </a:t>
            </a:r>
            <a:r>
              <a:rPr lang="fr-FR" sz="1400">
                <a:ea typeface="+mn-lt"/>
                <a:cs typeface="+mn-lt"/>
              </a:rPr>
              <a:t>paramètres </a:t>
            </a:r>
            <a:r>
              <a:rPr lang="fr-FR" sz="1400">
                <a:effectLst/>
                <a:ea typeface="+mn-lt"/>
                <a:cs typeface="+mn-lt"/>
              </a:rPr>
              <a:t>de </a:t>
            </a:r>
            <a:r>
              <a:rPr lang="fr-FR" sz="1400">
                <a:ea typeface="+mn-lt"/>
                <a:cs typeface="+mn-lt"/>
              </a:rPr>
              <a:t>votre compte.</a:t>
            </a:r>
          </a:p>
          <a:p>
            <a:pPr algn="just"/>
            <a:r>
              <a:rPr lang="fr-FR" sz="1400">
                <a:ea typeface="+mn-lt"/>
                <a:cs typeface="+mn-lt"/>
                <a:sym typeface="Wingdings" panose="05000000000000000000" pitchFamily="2" charset="2"/>
              </a:rPr>
              <a:t></a:t>
            </a:r>
            <a:r>
              <a:rPr lang="fr-FR" sz="1400">
                <a:ea typeface="+mn-lt"/>
                <a:cs typeface="+mn-lt"/>
              </a:rPr>
              <a:t> Les données personnelles </a:t>
            </a:r>
            <a:r>
              <a:rPr lang="fr-FR" sz="1400">
                <a:effectLst/>
                <a:ea typeface="+mn-lt"/>
                <a:cs typeface="+mn-lt"/>
              </a:rPr>
              <a:t>de </a:t>
            </a:r>
            <a:r>
              <a:rPr lang="fr-FR" sz="1400">
                <a:ea typeface="+mn-lt"/>
                <a:cs typeface="+mn-lt"/>
              </a:rPr>
              <a:t>santé contenues dans </a:t>
            </a:r>
            <a:r>
              <a:rPr lang="fr-FR" sz="1400">
                <a:effectLst/>
                <a:ea typeface="+mn-lt"/>
                <a:cs typeface="+mn-lt"/>
              </a:rPr>
              <a:t>Mon espace santé</a:t>
            </a:r>
            <a:r>
              <a:rPr lang="fr-FR" sz="1400">
                <a:ea typeface="+mn-lt"/>
                <a:cs typeface="+mn-lt"/>
              </a:rPr>
              <a:t> sont hébergées en France sur des serveurs répondant aux plus hautes normes de sécurité</a:t>
            </a:r>
            <a:r>
              <a:rPr lang="fr-FR" sz="1400">
                <a:effectLst/>
                <a:ea typeface="+mn-lt"/>
                <a:cs typeface="+mn-lt"/>
              </a:rPr>
              <a:t>.</a:t>
            </a:r>
            <a:endParaRPr lang="fr-FR" sz="1400">
              <a:ea typeface="+mn-lt"/>
              <a:cs typeface="+mn-lt"/>
            </a:endParaRPr>
          </a:p>
          <a:p>
            <a:pPr algn="just">
              <a:spcBef>
                <a:spcPts val="300"/>
              </a:spcBef>
            </a:pPr>
            <a:endParaRPr lang="fr-FR" sz="1400">
              <a:effectLst/>
              <a:latin typeface="+mj-lt"/>
              <a:ea typeface="Calibri" panose="020F0502020204030204" pitchFamily="34" charset="0"/>
              <a:cs typeface="Times New Roman" panose="02020603050405020304" pitchFamily="18" charset="0"/>
            </a:endParaRPr>
          </a:p>
        </p:txBody>
      </p:sp>
      <p:sp>
        <p:nvSpPr>
          <p:cNvPr id="13" name="TextBox 12">
            <a:extLst>
              <a:ext uri="{FF2B5EF4-FFF2-40B4-BE49-F238E27FC236}">
                <a16:creationId xmlns:a16="http://schemas.microsoft.com/office/drawing/2014/main" id="{D9969BA0-00E6-406F-B07E-C86BD4DCBF99}"/>
              </a:ext>
            </a:extLst>
          </p:cNvPr>
          <p:cNvSpPr txBox="1"/>
          <p:nvPr/>
        </p:nvSpPr>
        <p:spPr>
          <a:xfrm>
            <a:off x="762000" y="1678570"/>
            <a:ext cx="10668000" cy="375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algn="just">
              <a:lnSpc>
                <a:spcPct val="107000"/>
              </a:lnSpc>
              <a:spcAft>
                <a:spcPts val="800"/>
              </a:spcAft>
            </a:pPr>
            <a:r>
              <a:rPr lang="fr-FR" b="1">
                <a:solidFill>
                  <a:srgbClr val="E83182"/>
                </a:solidFill>
                <a:latin typeface="Calibri"/>
                <a:ea typeface="+mn-lt"/>
                <a:cs typeface="Calibri"/>
              </a:rPr>
              <a:t>N’IMPORTE QUI POURRA ACCEDER </a:t>
            </a:r>
            <a:r>
              <a:rPr lang="fr-FR" sz="1800" b="1">
                <a:solidFill>
                  <a:srgbClr val="E83182"/>
                </a:solidFill>
                <a:effectLst/>
                <a:latin typeface="Calibri"/>
                <a:ea typeface="+mn-lt"/>
                <a:cs typeface="Calibri"/>
              </a:rPr>
              <a:t>A </a:t>
            </a:r>
            <a:r>
              <a:rPr lang="fr-FR" b="1">
                <a:solidFill>
                  <a:srgbClr val="E83182"/>
                </a:solidFill>
                <a:latin typeface="Calibri"/>
                <a:ea typeface="+mn-lt"/>
                <a:cs typeface="Calibri"/>
              </a:rPr>
              <a:t>MES DONNEES </a:t>
            </a:r>
            <a:r>
              <a:rPr lang="fr-FR" sz="1800" b="1">
                <a:solidFill>
                  <a:srgbClr val="E83182"/>
                </a:solidFill>
                <a:effectLst/>
                <a:latin typeface="Calibri"/>
                <a:ea typeface="+mn-lt"/>
                <a:cs typeface="Calibri"/>
              </a:rPr>
              <a:t>DE SANTE</a:t>
            </a:r>
            <a:r>
              <a:rPr lang="fr-FR" b="1">
                <a:solidFill>
                  <a:srgbClr val="E83182"/>
                </a:solidFill>
                <a:latin typeface="Calibri"/>
                <a:ea typeface="+mn-lt"/>
                <a:cs typeface="Calibri"/>
              </a:rPr>
              <a:t>…</a:t>
            </a:r>
            <a:endParaRPr lang="fr-FR" b="1">
              <a:solidFill>
                <a:srgbClr val="E83182"/>
              </a:solidFill>
              <a:effectLst/>
              <a:latin typeface="Calibri"/>
              <a:ea typeface="+mn-lt"/>
              <a:cs typeface="Calibri"/>
            </a:endParaRPr>
          </a:p>
        </p:txBody>
      </p:sp>
      <p:sp>
        <p:nvSpPr>
          <p:cNvPr id="17" name="TextBox 16">
            <a:extLst>
              <a:ext uri="{FF2B5EF4-FFF2-40B4-BE49-F238E27FC236}">
                <a16:creationId xmlns:a16="http://schemas.microsoft.com/office/drawing/2014/main" id="{5A8F425E-823A-47B7-ABF3-0E69816704D8}"/>
              </a:ext>
            </a:extLst>
          </p:cNvPr>
          <p:cNvSpPr txBox="1"/>
          <p:nvPr/>
        </p:nvSpPr>
        <p:spPr>
          <a:xfrm>
            <a:off x="762000" y="5021065"/>
            <a:ext cx="10744200" cy="116955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
            <a:r>
              <a:rPr lang="fr-FR" sz="1400">
                <a:effectLst/>
                <a:latin typeface="+mj-lt"/>
                <a:ea typeface="Calibri" panose="020F0502020204030204" pitchFamily="34" charset="0"/>
                <a:cs typeface="Times New Roman" panose="02020603050405020304" pitchFamily="18" charset="0"/>
                <a:sym typeface="Wingdings" panose="05000000000000000000" pitchFamily="2" charset="2"/>
              </a:rPr>
              <a:t></a:t>
            </a:r>
            <a:r>
              <a:rPr lang="fr-FR" sz="1400">
                <a:effectLst/>
                <a:latin typeface="+mj-lt"/>
                <a:ea typeface="Calibri" panose="020F0502020204030204" pitchFamily="34" charset="0"/>
                <a:cs typeface="Times New Roman" panose="02020603050405020304" pitchFamily="18" charset="0"/>
              </a:rPr>
              <a:t> En cas d’urgence ou d’hospitalisation, les professionnels de santé pourront consulter les documents nécessaires à votre prise en charge si vous les y avez préalablement autorisés. Ils peuvent par exemple également accéder votre à votre profil médical et être informés de vos allergies. </a:t>
            </a:r>
          </a:p>
          <a:p>
            <a:pPr algn="just"/>
            <a:r>
              <a:rPr lang="fr-FR" sz="1400">
                <a:effectLst/>
                <a:latin typeface="+mj-lt"/>
                <a:ea typeface="Calibri" panose="020F0502020204030204" pitchFamily="34" charset="0"/>
                <a:cs typeface="Times New Roman" panose="02020603050405020304" pitchFamily="18" charset="0"/>
                <a:sym typeface="Wingdings" panose="05000000000000000000" pitchFamily="2" charset="2"/>
              </a:rPr>
              <a:t></a:t>
            </a:r>
            <a:r>
              <a:rPr lang="fr-FR" sz="1400">
                <a:effectLst/>
                <a:latin typeface="+mj-lt"/>
                <a:ea typeface="Calibri" panose="020F0502020204030204" pitchFamily="34" charset="0"/>
                <a:cs typeface="Times New Roman" panose="02020603050405020304" pitchFamily="18" charset="0"/>
              </a:rPr>
              <a:t> Vous pouvez consulter et télécharger l’ensemble de vos documents de santé stockés sur Mon espace santé en cas de besoin pour des démarches administratives par exemple. </a:t>
            </a:r>
          </a:p>
        </p:txBody>
      </p:sp>
      <p:sp>
        <p:nvSpPr>
          <p:cNvPr id="18" name="TextBox 17">
            <a:extLst>
              <a:ext uri="{FF2B5EF4-FFF2-40B4-BE49-F238E27FC236}">
                <a16:creationId xmlns:a16="http://schemas.microsoft.com/office/drawing/2014/main" id="{D7AAC6D8-F914-4773-A1A4-99B00219A07E}"/>
              </a:ext>
            </a:extLst>
          </p:cNvPr>
          <p:cNvSpPr txBox="1"/>
          <p:nvPr/>
        </p:nvSpPr>
        <p:spPr>
          <a:xfrm>
            <a:off x="762000" y="4692447"/>
            <a:ext cx="10940265" cy="375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07000"/>
              </a:lnSpc>
              <a:spcAft>
                <a:spcPts val="800"/>
              </a:spcAft>
            </a:pPr>
            <a:r>
              <a:rPr lang="fr-FR" sz="1800" b="1">
                <a:solidFill>
                  <a:srgbClr val="E83182"/>
                </a:solidFill>
                <a:effectLst/>
                <a:latin typeface="Calibri" panose="020F0502020204030204" pitchFamily="34" charset="0"/>
                <a:ea typeface="Calibri" panose="020F0502020204030204" pitchFamily="34" charset="0"/>
                <a:cs typeface="Calibri" panose="020F0502020204030204" pitchFamily="34" charset="0"/>
              </a:rPr>
              <a:t>JE NE SUIS JAMAIS MALADE, CELA N’A PAS D’INTÉRÊT POUR MOI</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8" name="TextBox 7">
            <a:extLst>
              <a:ext uri="{FF2B5EF4-FFF2-40B4-BE49-F238E27FC236}">
                <a16:creationId xmlns:a16="http://schemas.microsoft.com/office/drawing/2014/main" id="{17AF6D1B-3478-46E8-91CB-8D3AE793368D}"/>
              </a:ext>
            </a:extLst>
          </p:cNvPr>
          <p:cNvSpPr txBox="1"/>
          <p:nvPr/>
        </p:nvSpPr>
        <p:spPr>
          <a:xfrm>
            <a:off x="762000" y="4061249"/>
            <a:ext cx="10744200"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
            <a:r>
              <a:rPr lang="fr-FR" sz="1400">
                <a:effectLst/>
                <a:latin typeface="+mj-lt"/>
                <a:ea typeface="Calibri" panose="020F0502020204030204" pitchFamily="34" charset="0"/>
                <a:cs typeface="Times New Roman" panose="02020603050405020304" pitchFamily="18" charset="0"/>
                <a:sym typeface="Wingdings" panose="05000000000000000000" pitchFamily="2" charset="2"/>
              </a:rPr>
              <a:t></a:t>
            </a:r>
            <a:r>
              <a:rPr lang="fr-FR" sz="1400">
                <a:effectLst/>
                <a:latin typeface="+mj-lt"/>
                <a:ea typeface="Calibri" panose="020F0502020204030204" pitchFamily="34" charset="0"/>
                <a:cs typeface="Times New Roman" panose="02020603050405020304" pitchFamily="18" charset="0"/>
              </a:rPr>
              <a:t> Un support téléphonique dédié (3422) ainsi que des conseillers numériques formés seront à votre disposition pour vous accompagner dans la prise en main du service. </a:t>
            </a:r>
          </a:p>
        </p:txBody>
      </p:sp>
      <p:sp>
        <p:nvSpPr>
          <p:cNvPr id="9" name="TextBox 8">
            <a:extLst>
              <a:ext uri="{FF2B5EF4-FFF2-40B4-BE49-F238E27FC236}">
                <a16:creationId xmlns:a16="http://schemas.microsoft.com/office/drawing/2014/main" id="{03CB4A7A-11CF-4C70-865B-8EAB02F6BB0B}"/>
              </a:ext>
            </a:extLst>
          </p:cNvPr>
          <p:cNvSpPr txBox="1"/>
          <p:nvPr/>
        </p:nvSpPr>
        <p:spPr>
          <a:xfrm>
            <a:off x="762000" y="3732631"/>
            <a:ext cx="10940265" cy="375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07000"/>
              </a:lnSpc>
              <a:spcAft>
                <a:spcPts val="800"/>
              </a:spcAft>
            </a:pPr>
            <a:r>
              <a:rPr lang="fr-FR" sz="1800" b="1">
                <a:solidFill>
                  <a:srgbClr val="E83182"/>
                </a:solidFill>
                <a:effectLst/>
                <a:latin typeface="Calibri" panose="020F0502020204030204" pitchFamily="34" charset="0"/>
                <a:ea typeface="Calibri" panose="020F0502020204030204" pitchFamily="34" charset="0"/>
                <a:cs typeface="Calibri" panose="020F0502020204030204" pitchFamily="34" charset="0"/>
              </a:rPr>
              <a:t>MON ESPACE SANTÉ C’EST TROP COMPLIQUÉ À MANIPULER ?</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044734953"/>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2"/>
          </p:nvPr>
        </p:nvSpPr>
        <p:spPr/>
        <p:txBody>
          <a:bodyPr/>
          <a:lstStyle/>
          <a:p>
            <a:fld id="{86CB4B4D-7CA3-9044-876B-883B54F8677D}" type="slidenum">
              <a:rPr lang="fr-FR" smtClean="0"/>
              <a:t>5</a:t>
            </a:fld>
            <a:endParaRPr lang="fr-FR"/>
          </a:p>
        </p:txBody>
      </p:sp>
      <p:sp>
        <p:nvSpPr>
          <p:cNvPr id="4" name="Titre 3"/>
          <p:cNvSpPr>
            <a:spLocks noGrp="1"/>
          </p:cNvSpPr>
          <p:nvPr>
            <p:ph type="title"/>
          </p:nvPr>
        </p:nvSpPr>
        <p:spPr>
          <a:xfrm>
            <a:off x="2313517" y="16625"/>
            <a:ext cx="8113593" cy="1133342"/>
          </a:xfrm>
        </p:spPr>
        <p:txBody>
          <a:bodyPr>
            <a:normAutofit/>
          </a:bodyPr>
          <a:lstStyle/>
          <a:p>
            <a:r>
              <a:rPr lang="fr-FR" sz="3500" b="1" spc="-70">
                <a:solidFill>
                  <a:srgbClr val="005C9B"/>
                </a:solidFill>
                <a:latin typeface="Arial" panose="020B0604020202020204" pitchFamily="34" charset="0"/>
                <a:cs typeface="Arial" panose="020B0604020202020204" pitchFamily="34" charset="0"/>
                <a:sym typeface="Arial"/>
              </a:rPr>
              <a:t>Une loi passe en juillet 2019 pour transformer le DMP</a:t>
            </a:r>
            <a:endParaRPr lang="fr-FR" sz="3500" b="1" spc="-70">
              <a:solidFill>
                <a:srgbClr val="005C9B"/>
              </a:solidFill>
              <a:latin typeface="Arial" panose="020B0604020202020204" pitchFamily="34" charset="0"/>
              <a:cs typeface="Arial" panose="020B0604020202020204" pitchFamily="34" charset="0"/>
            </a:endParaRPr>
          </a:p>
        </p:txBody>
      </p:sp>
      <p:sp>
        <p:nvSpPr>
          <p:cNvPr id="8" name="Espace réservé du texte 1">
            <a:extLst>
              <a:ext uri="{FF2B5EF4-FFF2-40B4-BE49-F238E27FC236}">
                <a16:creationId xmlns:a16="http://schemas.microsoft.com/office/drawing/2014/main" id="{30796EA1-BE56-45CF-8F83-2B238BB41355}"/>
              </a:ext>
            </a:extLst>
          </p:cNvPr>
          <p:cNvSpPr txBox="1">
            <a:spLocks/>
          </p:cNvSpPr>
          <p:nvPr/>
        </p:nvSpPr>
        <p:spPr>
          <a:xfrm>
            <a:off x="1809413" y="1793628"/>
            <a:ext cx="9506288" cy="4537869"/>
          </a:xfrm>
          <a:prstGeom prst="rect">
            <a:avLst/>
          </a:prstGeom>
          <a:ln w="3175">
            <a:noFill/>
          </a:ln>
        </p:spPr>
        <p:txBody>
          <a:bodyPr vert="horz" lIns="91440" tIns="45720" rIns="91440" bIns="45720" rtlCol="0">
            <a:normAutofit/>
          </a:bodyPr>
          <a:lstStyle>
            <a:lvl1pPr marL="0" indent="0" algn="l" defTabSz="914400" rtl="0" eaLnBrk="1" latinLnBrk="0" hangingPunct="1">
              <a:lnSpc>
                <a:spcPct val="110000"/>
              </a:lnSpc>
              <a:spcBef>
                <a:spcPts val="600"/>
              </a:spcBef>
              <a:spcAft>
                <a:spcPts val="0"/>
              </a:spcAft>
              <a:buClr>
                <a:schemeClr val="tx2"/>
              </a:buClr>
              <a:buFont typeface="Symbol" panose="05050102010706020507" pitchFamily="18" charset="2"/>
              <a:buNone/>
              <a:defRPr sz="2000" b="0" kern="1200">
                <a:solidFill>
                  <a:schemeClr val="tx2"/>
                </a:solidFill>
                <a:latin typeface="+mn-lt"/>
                <a:ea typeface="+mn-ea"/>
                <a:cs typeface="+mn-cs"/>
              </a:defRPr>
            </a:lvl1pPr>
            <a:lvl2pPr marL="174625" indent="-174625" algn="l" defTabSz="914400" rtl="0" eaLnBrk="1" latinLnBrk="0" hangingPunct="1">
              <a:lnSpc>
                <a:spcPct val="110000"/>
              </a:lnSpc>
              <a:spcBef>
                <a:spcPts val="600"/>
              </a:spcBef>
              <a:spcAft>
                <a:spcPts val="0"/>
              </a:spcAft>
              <a:buClr>
                <a:schemeClr val="tx2"/>
              </a:buClr>
              <a:buSzPct val="120000"/>
              <a:buFont typeface="Arial" panose="020B0604020202020204" pitchFamily="34" charset="0"/>
              <a:buChar char="•"/>
              <a:defRPr sz="1600" b="1" i="0" kern="1200">
                <a:solidFill>
                  <a:schemeClr val="tx1"/>
                </a:solidFill>
                <a:latin typeface="+mn-lt"/>
                <a:ea typeface="+mn-ea"/>
                <a:cs typeface="+mn-cs"/>
              </a:defRPr>
            </a:lvl2pPr>
            <a:lvl3pPr marL="358775" indent="-184150" algn="l" defTabSz="914400" rtl="0" eaLnBrk="1" latinLnBrk="0" hangingPunct="1">
              <a:lnSpc>
                <a:spcPct val="110000"/>
              </a:lnSpc>
              <a:spcBef>
                <a:spcPts val="300"/>
              </a:spcBef>
              <a:spcAft>
                <a:spcPts val="0"/>
              </a:spcAft>
              <a:buClr>
                <a:schemeClr val="tx2"/>
              </a:buClr>
              <a:buFont typeface="Arial" panose="020B0604020202020204" pitchFamily="34" charset="0"/>
              <a:buChar char="-"/>
              <a:defRPr sz="1600" b="0" kern="1200">
                <a:solidFill>
                  <a:schemeClr val="tx1"/>
                </a:solidFill>
                <a:latin typeface="+mn-lt"/>
                <a:ea typeface="+mn-ea"/>
                <a:cs typeface="+mn-cs"/>
              </a:defRPr>
            </a:lvl3pPr>
            <a:lvl4pPr marL="530225" indent="-171450" algn="l" defTabSz="914400" rtl="0" eaLnBrk="1" latinLnBrk="0" hangingPunct="1">
              <a:lnSpc>
                <a:spcPct val="110000"/>
              </a:lnSpc>
              <a:spcBef>
                <a:spcPts val="0"/>
              </a:spcBef>
              <a:spcAft>
                <a:spcPts val="0"/>
              </a:spcAft>
              <a:buClr>
                <a:schemeClr val="tx2"/>
              </a:buClr>
              <a:buSzPct val="100000"/>
              <a:buFont typeface="Arial" panose="020B0604020202020204" pitchFamily="34" charset="0"/>
              <a:buChar char="•"/>
              <a:defRPr sz="1200" b="0" kern="1200">
                <a:solidFill>
                  <a:schemeClr val="tx1"/>
                </a:solidFill>
                <a:latin typeface="+mn-lt"/>
                <a:ea typeface="+mn-ea"/>
                <a:cs typeface="+mn-cs"/>
              </a:defRPr>
            </a:lvl4pPr>
            <a:lvl5pPr marL="538163" indent="-80963" algn="l" defTabSz="914400" rtl="0" eaLnBrk="1" latinLnBrk="0" hangingPunct="1">
              <a:lnSpc>
                <a:spcPct val="110000"/>
              </a:lnSpc>
              <a:spcBef>
                <a:spcPts val="0"/>
              </a:spcBef>
              <a:spcAft>
                <a:spcPts val="0"/>
              </a:spcAft>
              <a:buFont typeface="Arial" panose="020B0604020202020204" pitchFamily="34" charset="0"/>
              <a:buNone/>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488" marR="0" lvl="2" indent="0" defTabSz="914400" rtl="0" eaLnBrk="1" fontAlgn="auto" latinLnBrk="0" hangingPunct="1">
              <a:lnSpc>
                <a:spcPct val="85000"/>
              </a:lnSpc>
              <a:spcBef>
                <a:spcPts val="0"/>
              </a:spcBef>
              <a:spcAft>
                <a:spcPts val="800"/>
              </a:spcAft>
              <a:buClr>
                <a:srgbClr val="1F4E79"/>
              </a:buClr>
              <a:buSzPct val="70000"/>
              <a:buFont typeface="Arial" panose="020B0604020202020204" pitchFamily="34" charset="0"/>
              <a:buNone/>
              <a:tabLst/>
              <a:defRPr/>
            </a:pPr>
            <a:r>
              <a:rPr kumimoji="0" lang="fr-FR" sz="1800" b="0" i="0" u="none" strike="noStrike" kern="1200" cap="none" spc="0" normalizeH="0" baseline="0" noProof="0">
                <a:ln>
                  <a:noFill/>
                </a:ln>
                <a:solidFill>
                  <a:srgbClr val="545859"/>
                </a:solidFill>
                <a:effectLst/>
                <a:uLnTx/>
                <a:uFillTx/>
                <a:latin typeface="Arial" panose="020B0604020202020204" pitchFamily="34" charset="0"/>
                <a:ea typeface="+mn-ea"/>
                <a:cs typeface="Arial" panose="020B0604020202020204" pitchFamily="34" charset="0"/>
              </a:rPr>
              <a:t>La loi prévoit l’arrivée </a:t>
            </a:r>
            <a:r>
              <a:rPr kumimoji="0" lang="fr-FR" sz="2400" b="1" i="0" u="none" strike="noStrike" kern="1200" cap="none" spc="0" normalizeH="0" baseline="0" noProof="0">
                <a:ln>
                  <a:noFill/>
                </a:ln>
                <a:solidFill>
                  <a:srgbClr val="DF2680"/>
                </a:solidFill>
                <a:effectLst/>
                <a:uLnTx/>
                <a:uFillTx/>
                <a:latin typeface="Arial" panose="020B0604020202020204" pitchFamily="34" charset="0"/>
                <a:ea typeface="+mn-ea"/>
                <a:cs typeface="Arial" panose="020B0604020202020204" pitchFamily="34" charset="0"/>
              </a:rPr>
              <a:t>d’un espace numérique de santé </a:t>
            </a:r>
            <a:r>
              <a:rPr kumimoji="0" lang="fr-FR" sz="1800" b="0" i="0" u="none" strike="noStrike" kern="1200" cap="none" spc="0" normalizeH="0" baseline="0" noProof="0">
                <a:ln>
                  <a:noFill/>
                </a:ln>
                <a:solidFill>
                  <a:srgbClr val="545859"/>
                </a:solidFill>
                <a:effectLst/>
                <a:uLnTx/>
                <a:uFillTx/>
                <a:latin typeface="Arial" panose="020B0604020202020204" pitchFamily="34" charset="0"/>
                <a:ea typeface="+mn-ea"/>
                <a:cs typeface="Arial" panose="020B0604020202020204" pitchFamily="34" charset="0"/>
              </a:rPr>
              <a:t>pour toute personne au 1</a:t>
            </a:r>
            <a:r>
              <a:rPr kumimoji="0" lang="fr-FR" sz="1800" b="0" i="0" u="none" strike="noStrike" kern="1200" cap="none" spc="0" normalizeH="0" baseline="30000" noProof="0">
                <a:ln>
                  <a:noFill/>
                </a:ln>
                <a:solidFill>
                  <a:srgbClr val="545859"/>
                </a:solidFill>
                <a:effectLst/>
                <a:uLnTx/>
                <a:uFillTx/>
                <a:latin typeface="Arial" panose="020B0604020202020204" pitchFamily="34" charset="0"/>
                <a:ea typeface="+mn-ea"/>
                <a:cs typeface="Arial" panose="020B0604020202020204" pitchFamily="34" charset="0"/>
              </a:rPr>
              <a:t>er</a:t>
            </a:r>
            <a:r>
              <a:rPr kumimoji="0" lang="fr-FR" sz="1800" b="0" i="0" u="none" strike="noStrike" kern="1200" cap="none" spc="0" normalizeH="0" baseline="0" noProof="0">
                <a:ln>
                  <a:noFill/>
                </a:ln>
                <a:solidFill>
                  <a:srgbClr val="545859"/>
                </a:solidFill>
                <a:effectLst/>
                <a:uLnTx/>
                <a:uFillTx/>
                <a:latin typeface="Arial" panose="020B0604020202020204" pitchFamily="34" charset="0"/>
                <a:ea typeface="+mn-ea"/>
                <a:cs typeface="Arial" panose="020B0604020202020204" pitchFamily="34" charset="0"/>
              </a:rPr>
              <a:t> janvier 2022.</a:t>
            </a:r>
          </a:p>
          <a:p>
            <a:pPr marL="90488" marR="0" lvl="2" indent="0" defTabSz="914400" rtl="0" eaLnBrk="1" fontAlgn="auto" latinLnBrk="0" hangingPunct="1">
              <a:lnSpc>
                <a:spcPct val="85000"/>
              </a:lnSpc>
              <a:spcBef>
                <a:spcPts val="0"/>
              </a:spcBef>
              <a:spcAft>
                <a:spcPts val="800"/>
              </a:spcAft>
              <a:buClr>
                <a:srgbClr val="1F4E79"/>
              </a:buClr>
              <a:buSzPct val="70000"/>
              <a:buFont typeface="Arial" panose="020B0604020202020204" pitchFamily="34" charset="0"/>
              <a:buNone/>
              <a:tabLst/>
              <a:defRPr/>
            </a:pPr>
            <a:endParaRPr kumimoji="0" lang="fr-FR" sz="1800" b="0" i="0" u="none" strike="noStrike" kern="1200" cap="none" spc="0" normalizeH="0" baseline="0" noProof="0">
              <a:ln>
                <a:noFill/>
              </a:ln>
              <a:solidFill>
                <a:srgbClr val="545859"/>
              </a:solidFill>
              <a:effectLst/>
              <a:uLnTx/>
              <a:uFillTx/>
              <a:latin typeface="Arial" panose="020B0604020202020204" pitchFamily="34" charset="0"/>
              <a:ea typeface="+mn-ea"/>
              <a:cs typeface="Arial" panose="020B0604020202020204" pitchFamily="34" charset="0"/>
            </a:endParaRPr>
          </a:p>
          <a:p>
            <a:pPr marL="90488" marR="0" lvl="2" indent="0" defTabSz="914400" rtl="0" eaLnBrk="1" fontAlgn="auto" latinLnBrk="0" hangingPunct="1">
              <a:lnSpc>
                <a:spcPct val="85000"/>
              </a:lnSpc>
              <a:spcBef>
                <a:spcPts val="0"/>
              </a:spcBef>
              <a:spcAft>
                <a:spcPts val="800"/>
              </a:spcAft>
              <a:buClr>
                <a:srgbClr val="1F4E79"/>
              </a:buClr>
              <a:buSzPct val="70000"/>
              <a:buFont typeface="Arial" panose="020B0604020202020204" pitchFamily="34" charset="0"/>
              <a:buNone/>
              <a:tabLst/>
              <a:defRPr/>
            </a:pPr>
            <a:r>
              <a:rPr kumimoji="0" lang="fr-FR" sz="1800" b="0" i="0" u="none" strike="noStrike" kern="1200" cap="none" spc="0" normalizeH="0" baseline="0" noProof="0">
                <a:ln>
                  <a:noFill/>
                </a:ln>
                <a:solidFill>
                  <a:srgbClr val="545859"/>
                </a:solidFill>
                <a:effectLst/>
                <a:uLnTx/>
                <a:uFillTx/>
                <a:latin typeface="Arial" panose="020B0604020202020204" pitchFamily="34" charset="0"/>
                <a:ea typeface="+mn-ea"/>
                <a:cs typeface="Arial" panose="020B0604020202020204" pitchFamily="34" charset="0"/>
              </a:rPr>
              <a:t>L’ambition</a:t>
            </a:r>
            <a:r>
              <a:rPr kumimoji="0" lang="fr-FR" sz="1800" b="0" i="0" u="none" strike="noStrike" kern="1200" cap="none" spc="0" normalizeH="0" noProof="0">
                <a:ln>
                  <a:noFill/>
                </a:ln>
                <a:solidFill>
                  <a:srgbClr val="545859"/>
                </a:solidFill>
                <a:effectLst/>
                <a:uLnTx/>
                <a:uFillTx/>
                <a:latin typeface="Arial" panose="020B0604020202020204" pitchFamily="34" charset="0"/>
                <a:ea typeface="+mn-ea"/>
                <a:cs typeface="Arial" panose="020B0604020202020204" pitchFamily="34" charset="0"/>
              </a:rPr>
              <a:t> </a:t>
            </a:r>
            <a:r>
              <a:rPr lang="fr-FR" sz="1800">
                <a:solidFill>
                  <a:srgbClr val="545859"/>
                </a:solidFill>
                <a:latin typeface="Arial" panose="020B0604020202020204" pitchFamily="34" charset="0"/>
                <a:cs typeface="Arial" panose="020B0604020202020204" pitchFamily="34" charset="0"/>
              </a:rPr>
              <a:t>est</a:t>
            </a:r>
            <a:r>
              <a:rPr kumimoji="0" lang="fr-FR" sz="1800" b="0" i="0" u="none" strike="noStrike" kern="1200" cap="none" spc="0" normalizeH="0" noProof="0">
                <a:ln>
                  <a:noFill/>
                </a:ln>
                <a:solidFill>
                  <a:srgbClr val="545859"/>
                </a:solidFill>
                <a:effectLst/>
                <a:uLnTx/>
                <a:uFillTx/>
                <a:latin typeface="Arial" panose="020B0604020202020204" pitchFamily="34" charset="0"/>
                <a:ea typeface="+mn-ea"/>
                <a:cs typeface="Arial" panose="020B0604020202020204" pitchFamily="34" charset="0"/>
              </a:rPr>
              <a:t> de </a:t>
            </a:r>
            <a:r>
              <a:rPr kumimoji="0" lang="fr-FR" sz="2400" b="1" i="0" u="none" strike="noStrike" kern="1200" cap="none" spc="0" normalizeH="0" baseline="0" noProof="0">
                <a:ln>
                  <a:noFill/>
                </a:ln>
                <a:solidFill>
                  <a:srgbClr val="DF2680"/>
                </a:solidFill>
                <a:effectLst/>
                <a:uLnTx/>
                <a:uFillTx/>
                <a:latin typeface="Arial" panose="020B0604020202020204" pitchFamily="34" charset="0"/>
                <a:ea typeface="+mn-ea"/>
                <a:cs typeface="Arial" panose="020B0604020202020204" pitchFamily="34" charset="0"/>
              </a:rPr>
              <a:t>donner la main au patient </a:t>
            </a:r>
            <a:r>
              <a:rPr kumimoji="0" lang="fr-FR" sz="1800" b="0" i="0" u="none" strike="noStrike" kern="1200" cap="none" spc="0" normalizeH="0" baseline="0" noProof="0">
                <a:ln>
                  <a:noFill/>
                </a:ln>
                <a:solidFill>
                  <a:srgbClr val="545859"/>
                </a:solidFill>
                <a:effectLst/>
                <a:uLnTx/>
                <a:uFillTx/>
                <a:latin typeface="Arial" panose="020B0604020202020204" pitchFamily="34" charset="0"/>
                <a:ea typeface="+mn-ea"/>
                <a:cs typeface="Arial" panose="020B0604020202020204" pitchFamily="34" charset="0"/>
              </a:rPr>
              <a:t>pour gérer ses données de santé et pour faciliter la coordination des soins entre professionnels.</a:t>
            </a:r>
          </a:p>
          <a:p>
            <a:pPr marL="90488" marR="0" lvl="2" indent="0" defTabSz="914400" rtl="0" eaLnBrk="1" fontAlgn="auto" latinLnBrk="0" hangingPunct="1">
              <a:lnSpc>
                <a:spcPct val="85000"/>
              </a:lnSpc>
              <a:spcBef>
                <a:spcPts val="0"/>
              </a:spcBef>
              <a:spcAft>
                <a:spcPts val="800"/>
              </a:spcAft>
              <a:buClr>
                <a:srgbClr val="1F4E79"/>
              </a:buClr>
              <a:buSzPct val="70000"/>
              <a:buFont typeface="Arial" panose="020B0604020202020204" pitchFamily="34" charset="0"/>
              <a:buNone/>
              <a:tabLst/>
              <a:defRPr/>
            </a:pPr>
            <a:endParaRPr kumimoji="0" lang="fr-FR" sz="1800" b="0" i="0" u="none" strike="noStrike" kern="1200" cap="none" spc="0" normalizeH="0" baseline="0" noProof="0">
              <a:ln>
                <a:noFill/>
              </a:ln>
              <a:solidFill>
                <a:srgbClr val="545859"/>
              </a:solidFill>
              <a:effectLst/>
              <a:uLnTx/>
              <a:uFillTx/>
              <a:latin typeface="Arial" panose="020B0604020202020204" pitchFamily="34" charset="0"/>
              <a:ea typeface="+mn-ea"/>
              <a:cs typeface="Arial" panose="020B0604020202020204" pitchFamily="34" charset="0"/>
            </a:endParaRPr>
          </a:p>
          <a:p>
            <a:pPr marL="90488" marR="0" lvl="2" indent="0" defTabSz="914400" rtl="0" eaLnBrk="1" fontAlgn="auto" latinLnBrk="0" hangingPunct="1">
              <a:lnSpc>
                <a:spcPct val="85000"/>
              </a:lnSpc>
              <a:spcBef>
                <a:spcPts val="0"/>
              </a:spcBef>
              <a:spcAft>
                <a:spcPts val="800"/>
              </a:spcAft>
              <a:buClr>
                <a:srgbClr val="1F4E79"/>
              </a:buClr>
              <a:buSzPct val="70000"/>
              <a:buFont typeface="Arial" panose="020B0604020202020204" pitchFamily="34" charset="0"/>
              <a:buNone/>
              <a:tabLst/>
              <a:defRPr/>
            </a:pPr>
            <a:r>
              <a:rPr kumimoji="0" lang="fr-FR" sz="1800" b="0" i="0" u="none" strike="noStrike" kern="1200" cap="none" spc="0" normalizeH="0" baseline="0" noProof="0">
                <a:ln>
                  <a:noFill/>
                </a:ln>
                <a:solidFill>
                  <a:srgbClr val="545859"/>
                </a:solidFill>
                <a:effectLst/>
                <a:uLnTx/>
                <a:uFillTx/>
                <a:latin typeface="Arial" panose="020B0604020202020204" pitchFamily="34" charset="0"/>
                <a:ea typeface="+mn-ea"/>
                <a:cs typeface="Arial" panose="020B0604020202020204" pitchFamily="34" charset="0"/>
              </a:rPr>
              <a:t>La loi définit les grands principes de fonctionnement de l’espace numérique de santé : fonctionnalité et mode d’accès des professionnels et établissements de santé. </a:t>
            </a:r>
            <a:r>
              <a:rPr lang="fr-FR" sz="1800">
                <a:solidFill>
                  <a:srgbClr val="545859"/>
                </a:solidFill>
                <a:latin typeface="Arial" panose="020B0604020202020204" pitchFamily="34" charset="0"/>
                <a:cs typeface="Arial" panose="020B0604020202020204" pitchFamily="34" charset="0"/>
              </a:rPr>
              <a:t>Elle</a:t>
            </a:r>
            <a:r>
              <a:rPr kumimoji="0" lang="fr-FR" sz="2000" b="1" i="0" u="none" strike="noStrike" kern="1200" cap="none" spc="0" normalizeH="0" baseline="0" noProof="0">
                <a:ln>
                  <a:noFill/>
                </a:ln>
                <a:solidFill>
                  <a:srgbClr val="545859"/>
                </a:solidFill>
                <a:effectLst/>
                <a:uLnTx/>
                <a:uFillTx/>
                <a:latin typeface="Arial" panose="020B0604020202020204" pitchFamily="34" charset="0"/>
                <a:ea typeface="+mn-ea"/>
                <a:cs typeface="Arial" panose="020B0604020202020204" pitchFamily="34" charset="0"/>
              </a:rPr>
              <a:t> </a:t>
            </a:r>
            <a:r>
              <a:rPr lang="fr-FR" sz="2400" b="1">
                <a:solidFill>
                  <a:srgbClr val="DF2680"/>
                </a:solidFill>
                <a:latin typeface="Arial" panose="020B0604020202020204" pitchFamily="34" charset="0"/>
                <a:cs typeface="Arial" panose="020B0604020202020204" pitchFamily="34" charset="0"/>
              </a:rPr>
              <a:t>élargit le périmètre du DMP</a:t>
            </a:r>
            <a:r>
              <a:rPr kumimoji="0" lang="fr-FR" sz="1800" b="0" i="0" u="none" strike="noStrike" kern="1200" cap="none" spc="0" normalizeH="0" baseline="0" noProof="0">
                <a:ln>
                  <a:noFill/>
                </a:ln>
                <a:solidFill>
                  <a:srgbClr val="545859"/>
                </a:solidFill>
                <a:effectLst/>
                <a:uLnTx/>
                <a:uFillTx/>
                <a:latin typeface="Arial" panose="020B0604020202020204" pitchFamily="34" charset="0"/>
                <a:ea typeface="+mn-ea"/>
                <a:cs typeface="Arial" panose="020B0604020202020204" pitchFamily="34" charset="0"/>
              </a:rPr>
              <a:t>, qui devient une brique de Mon espace santé.</a:t>
            </a:r>
          </a:p>
          <a:p>
            <a:pPr marL="90488" marR="0" lvl="2" indent="0" defTabSz="914400" rtl="0" eaLnBrk="1" fontAlgn="auto" latinLnBrk="0" hangingPunct="1">
              <a:lnSpc>
                <a:spcPct val="85000"/>
              </a:lnSpc>
              <a:spcBef>
                <a:spcPts val="0"/>
              </a:spcBef>
              <a:spcAft>
                <a:spcPts val="800"/>
              </a:spcAft>
              <a:buClr>
                <a:srgbClr val="1F4E79"/>
              </a:buClr>
              <a:buSzPct val="70000"/>
              <a:buFont typeface="Arial" panose="020B0604020202020204" pitchFamily="34" charset="0"/>
              <a:buNone/>
              <a:tabLst/>
              <a:defRPr/>
            </a:pPr>
            <a:endParaRPr kumimoji="0" lang="fr-FR" sz="1800" b="0" i="0" u="none" strike="noStrike" kern="1200" cap="none" spc="0" normalizeH="0" baseline="0" noProof="0">
              <a:ln>
                <a:noFill/>
              </a:ln>
              <a:solidFill>
                <a:srgbClr val="545859"/>
              </a:solidFill>
              <a:effectLst/>
              <a:uLnTx/>
              <a:uFillTx/>
              <a:latin typeface="Arial" panose="020B0604020202020204" pitchFamily="34" charset="0"/>
              <a:ea typeface="+mn-ea"/>
              <a:cs typeface="Arial" panose="020B0604020202020204" pitchFamily="34" charset="0"/>
            </a:endParaRPr>
          </a:p>
          <a:p>
            <a:pPr marL="90488" marR="0" lvl="2" indent="0" defTabSz="914400" rtl="0" eaLnBrk="1" fontAlgn="auto" latinLnBrk="0" hangingPunct="1">
              <a:lnSpc>
                <a:spcPct val="85000"/>
              </a:lnSpc>
              <a:spcBef>
                <a:spcPts val="0"/>
              </a:spcBef>
              <a:spcAft>
                <a:spcPts val="800"/>
              </a:spcAft>
              <a:buClr>
                <a:srgbClr val="1F4E79"/>
              </a:buClr>
              <a:buSzPct val="70000"/>
              <a:buFont typeface="Arial" panose="020B0604020202020204" pitchFamily="34" charset="0"/>
              <a:buNone/>
              <a:tabLst/>
              <a:defRPr/>
            </a:pPr>
            <a:r>
              <a:rPr kumimoji="0" lang="fr-FR" sz="1800" b="0" i="0" u="none" strike="noStrike" kern="1200" cap="none" spc="0" normalizeH="0" baseline="0" noProof="0">
                <a:ln>
                  <a:noFill/>
                </a:ln>
                <a:solidFill>
                  <a:srgbClr val="545859"/>
                </a:solidFill>
                <a:effectLst/>
                <a:uLnTx/>
                <a:uFillTx/>
                <a:latin typeface="Arial" panose="020B0604020202020204" pitchFamily="34" charset="0"/>
                <a:ea typeface="+mn-ea"/>
                <a:cs typeface="Arial" panose="020B0604020202020204" pitchFamily="34" charset="0"/>
              </a:rPr>
              <a:t>Elle instaure le principe de </a:t>
            </a:r>
            <a:r>
              <a:rPr kumimoji="0" lang="fr-FR" sz="2000" b="1" i="0" u="none" strike="noStrike" kern="1200" cap="none" spc="0" normalizeH="0" baseline="0" noProof="0">
                <a:ln>
                  <a:noFill/>
                </a:ln>
                <a:solidFill>
                  <a:srgbClr val="DF2680"/>
                </a:solidFill>
                <a:effectLst/>
                <a:uLnTx/>
                <a:uFillTx/>
                <a:latin typeface="Arial" panose="020B0604020202020204" pitchFamily="34" charset="0"/>
                <a:ea typeface="+mn-ea"/>
                <a:cs typeface="Arial" panose="020B0604020202020204" pitchFamily="34" charset="0"/>
              </a:rPr>
              <a:t>création automatique, sauf opposition </a:t>
            </a:r>
            <a:r>
              <a:rPr kumimoji="0" lang="fr-FR" sz="1800" b="0" i="0" u="none" strike="noStrike" kern="1200" cap="none" spc="0" normalizeH="0" baseline="0" noProof="0">
                <a:ln>
                  <a:noFill/>
                </a:ln>
                <a:solidFill>
                  <a:srgbClr val="545859"/>
                </a:solidFill>
                <a:effectLst/>
                <a:uLnTx/>
                <a:uFillTx/>
                <a:latin typeface="Arial" panose="020B0604020202020204" pitchFamily="34" charset="0"/>
                <a:ea typeface="+mn-ea"/>
                <a:cs typeface="Arial" panose="020B0604020202020204" pitchFamily="34" charset="0"/>
              </a:rPr>
              <a:t>de la personne ou de son représentant légal (principe d’« opt-out »)</a:t>
            </a:r>
            <a:endParaRPr kumimoji="0" lang="fr-FR" sz="2800" b="0" i="0" u="none" strike="noStrike" kern="1200" cap="none" spc="0" normalizeH="0" baseline="0" noProof="0">
              <a:ln>
                <a:noFill/>
              </a:ln>
              <a:solidFill>
                <a:srgbClr val="007FAD"/>
              </a:solidFill>
              <a:effectLst/>
              <a:uLnTx/>
              <a:uFillTx/>
              <a:latin typeface="Arial" panose="020B0604020202020204"/>
              <a:ea typeface="+mn-ea"/>
              <a:cs typeface="+mn-cs"/>
            </a:endParaRPr>
          </a:p>
        </p:txBody>
      </p:sp>
      <p:pic>
        <p:nvPicPr>
          <p:cNvPr id="9" name="Picture 8">
            <a:extLst>
              <a:ext uri="{FF2B5EF4-FFF2-40B4-BE49-F238E27FC236}">
                <a16:creationId xmlns:a16="http://schemas.microsoft.com/office/drawing/2014/main" id="{C6F3901C-2B4D-41B5-AF93-9DCC92FBEF83}"/>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3620" y="1573178"/>
            <a:ext cx="1395793" cy="935619"/>
          </a:xfrm>
          <a:prstGeom prst="rect">
            <a:avLst/>
          </a:prstGeom>
          <a:noFill/>
          <a:ln>
            <a:noFill/>
          </a:ln>
        </p:spPr>
      </p:pic>
    </p:spTree>
    <p:extLst>
      <p:ext uri="{BB962C8B-B14F-4D97-AF65-F5344CB8AC3E}">
        <p14:creationId xmlns:p14="http://schemas.microsoft.com/office/powerpoint/2010/main" val="3231772443"/>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2"/>
          </p:nvPr>
        </p:nvSpPr>
        <p:spPr/>
        <p:txBody>
          <a:bodyPr/>
          <a:lstStyle/>
          <a:p>
            <a:fld id="{86CB4B4D-7CA3-9044-876B-883B54F8677D}" type="slidenum">
              <a:rPr lang="fr-FR" smtClean="0"/>
              <a:t>6</a:t>
            </a:fld>
            <a:endParaRPr lang="fr-FR"/>
          </a:p>
        </p:txBody>
      </p:sp>
      <p:sp>
        <p:nvSpPr>
          <p:cNvPr id="4" name="Titre 3"/>
          <p:cNvSpPr>
            <a:spLocks noGrp="1"/>
          </p:cNvSpPr>
          <p:nvPr>
            <p:ph type="title"/>
          </p:nvPr>
        </p:nvSpPr>
        <p:spPr>
          <a:xfrm>
            <a:off x="2313517" y="16625"/>
            <a:ext cx="8113593" cy="1133342"/>
          </a:xfrm>
        </p:spPr>
        <p:txBody>
          <a:bodyPr>
            <a:normAutofit/>
          </a:bodyPr>
          <a:lstStyle/>
          <a:p>
            <a:r>
              <a:rPr lang="fr-FR" sz="3500" b="1" spc="-70">
                <a:solidFill>
                  <a:srgbClr val="005C9B"/>
                </a:solidFill>
                <a:latin typeface="Arial" panose="020B0604020202020204" pitchFamily="34" charset="0"/>
                <a:cs typeface="Arial" panose="020B0604020202020204" pitchFamily="34" charset="0"/>
                <a:sym typeface="Arial"/>
              </a:rPr>
              <a:t>Qu’est-ce que Mon espace santé ?</a:t>
            </a:r>
            <a:endParaRPr lang="fr-FR" sz="3500" b="1" spc="-70">
              <a:solidFill>
                <a:srgbClr val="005C9B"/>
              </a:solidFill>
              <a:latin typeface="Arial" panose="020B0604020202020204" pitchFamily="34" charset="0"/>
              <a:cs typeface="Arial" panose="020B0604020202020204" pitchFamily="34" charset="0"/>
            </a:endParaRPr>
          </a:p>
        </p:txBody>
      </p:sp>
      <p:pic>
        <p:nvPicPr>
          <p:cNvPr id="11" name="Picture 10">
            <a:extLst>
              <a:ext uri="{FF2B5EF4-FFF2-40B4-BE49-F238E27FC236}">
                <a16:creationId xmlns:a16="http://schemas.microsoft.com/office/drawing/2014/main" id="{2417741E-5F89-41B0-93D3-61EA40A376A1}"/>
              </a:ext>
            </a:extLst>
          </p:cNvPr>
          <p:cNvPicPr>
            <a:picLocks noChangeAspect="1"/>
          </p:cNvPicPr>
          <p:nvPr/>
        </p:nvPicPr>
        <p:blipFill>
          <a:blip r:embed="rId2"/>
          <a:stretch>
            <a:fillRect/>
          </a:stretch>
        </p:blipFill>
        <p:spPr>
          <a:xfrm>
            <a:off x="3298003" y="3171514"/>
            <a:ext cx="6930329" cy="3344159"/>
          </a:xfrm>
          <a:prstGeom prst="rect">
            <a:avLst/>
          </a:prstGeom>
        </p:spPr>
      </p:pic>
      <p:sp>
        <p:nvSpPr>
          <p:cNvPr id="12" name="TextBox 11">
            <a:extLst>
              <a:ext uri="{FF2B5EF4-FFF2-40B4-BE49-F238E27FC236}">
                <a16:creationId xmlns:a16="http://schemas.microsoft.com/office/drawing/2014/main" id="{6F062E8A-7D21-42B7-AF42-00D11FF26E43}"/>
              </a:ext>
            </a:extLst>
          </p:cNvPr>
          <p:cNvSpPr txBox="1"/>
          <p:nvPr/>
        </p:nvSpPr>
        <p:spPr>
          <a:xfrm>
            <a:off x="820323" y="1616933"/>
            <a:ext cx="10440000" cy="933589"/>
          </a:xfrm>
          <a:prstGeom prst="rect">
            <a:avLst/>
          </a:prstGeom>
          <a:noFill/>
          <a:ln w="12700" cap="flat">
            <a:noFill/>
            <a:miter lim="400000"/>
          </a:ln>
          <a:effectLst/>
          <a:sp3d/>
        </p:spPr>
        <p:txBody>
          <a:bodyPr rot="0" spcFirstLastPara="1" vertOverflow="overflow" horzOverflow="overflow" vert="horz" wrap="square" lIns="50800" tIns="50800" rIns="50800" bIns="50800" numCol="1" spcCol="3810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a:ln>
                  <a:noFill/>
                </a:ln>
                <a:solidFill>
                  <a:srgbClr val="5E5E5E"/>
                </a:solidFill>
                <a:effectLst/>
                <a:uLnTx/>
                <a:uFillTx/>
                <a:latin typeface="Helvetica Neue"/>
              </a:rPr>
              <a:t>Un service </a:t>
            </a:r>
            <a:r>
              <a:rPr kumimoji="0" lang="fr-FR" sz="1800" b="1" i="0" u="none" strike="noStrike" kern="0" cap="none" spc="0" normalizeH="0" baseline="0" noProof="0" dirty="0">
                <a:ln>
                  <a:noFill/>
                </a:ln>
                <a:solidFill>
                  <a:srgbClr val="DF2680"/>
                </a:solidFill>
                <a:effectLst/>
                <a:uLnTx/>
                <a:uFillTx/>
                <a:latin typeface="Helvetica Neue"/>
              </a:rPr>
              <a:t>à destination de tous les citoyens </a:t>
            </a:r>
            <a:r>
              <a:rPr kumimoji="0" lang="fr-FR" sz="1800" b="0" i="0" u="none" strike="noStrike" kern="0" cap="none" spc="0" normalizeH="0" baseline="0" noProof="0" dirty="0">
                <a:ln>
                  <a:noFill/>
                </a:ln>
                <a:solidFill>
                  <a:srgbClr val="5E5E5E"/>
                </a:solidFill>
                <a:effectLst/>
                <a:uLnTx/>
                <a:uFillTx/>
                <a:latin typeface="Helvetica Neue"/>
              </a:rPr>
              <a:t>et construit </a:t>
            </a:r>
            <a:r>
              <a:rPr kumimoji="0" lang="fr-FR" sz="1800" b="1" i="0" u="none" strike="noStrike" kern="0" cap="none" spc="0" normalizeH="0" baseline="0" noProof="0" dirty="0">
                <a:ln>
                  <a:noFill/>
                </a:ln>
                <a:solidFill>
                  <a:srgbClr val="DF2680"/>
                </a:solidFill>
                <a:effectLst/>
                <a:uLnTx/>
                <a:uFillTx/>
                <a:latin typeface="Helvetica Neue"/>
              </a:rPr>
              <a:t>en concertation avec l’ensemble de l’écosystème </a:t>
            </a:r>
            <a:r>
              <a:rPr lang="fr-FR" kern="0" dirty="0">
                <a:solidFill>
                  <a:srgbClr val="5E5E5E"/>
                </a:solidFill>
                <a:latin typeface="Helvetica Neue"/>
              </a:rPr>
              <a:t>(usagers et associations de patients mais aussi professionnels de santé, institutions, acteurs de terrain, industriels,).</a:t>
            </a:r>
          </a:p>
        </p:txBody>
      </p:sp>
      <p:sp>
        <p:nvSpPr>
          <p:cNvPr id="13" name="TextBox 12">
            <a:extLst>
              <a:ext uri="{FF2B5EF4-FFF2-40B4-BE49-F238E27FC236}">
                <a16:creationId xmlns:a16="http://schemas.microsoft.com/office/drawing/2014/main" id="{A6720315-082B-41B9-9CE8-D3B8968C817B}"/>
              </a:ext>
            </a:extLst>
          </p:cNvPr>
          <p:cNvSpPr txBox="1"/>
          <p:nvPr/>
        </p:nvSpPr>
        <p:spPr>
          <a:xfrm>
            <a:off x="820323" y="2550522"/>
            <a:ext cx="10440000" cy="656590"/>
          </a:xfrm>
          <a:prstGeom prst="rect">
            <a:avLst/>
          </a:prstGeom>
          <a:noFill/>
          <a:ln w="12700" cap="flat">
            <a:noFill/>
            <a:miter lim="400000"/>
          </a:ln>
          <a:effectLst/>
          <a:sp3d/>
        </p:spPr>
        <p:txBody>
          <a:bodyPr rot="0" spcFirstLastPara="1" vertOverflow="overflow" horzOverflow="overflow" vert="horz" wrap="square" lIns="50800" tIns="50800" rIns="50800" bIns="50800" numCol="1" spcCol="3810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a:ln>
                  <a:noFill/>
                </a:ln>
                <a:solidFill>
                  <a:srgbClr val="5E5E5E"/>
                </a:solidFill>
                <a:effectLst/>
                <a:uLnTx/>
                <a:uFillTx/>
                <a:latin typeface="Helvetica Neue"/>
              </a:rPr>
              <a:t>Un </a:t>
            </a:r>
            <a:r>
              <a:rPr kumimoji="0" lang="fr-FR" sz="1800" b="1" i="0" u="none" strike="noStrike" kern="0" cap="none" spc="0" normalizeH="0" baseline="0" noProof="0" dirty="0">
                <a:ln>
                  <a:noFill/>
                </a:ln>
                <a:solidFill>
                  <a:srgbClr val="DF2680"/>
                </a:solidFill>
                <a:effectLst/>
                <a:uLnTx/>
                <a:uFillTx/>
                <a:latin typeface="Helvetica Neue"/>
              </a:rPr>
              <a:t>espace de confiance</a:t>
            </a:r>
            <a:r>
              <a:rPr kumimoji="0" lang="fr-FR" sz="1800" b="0" i="0" u="none" strike="noStrike" kern="0" cap="none" spc="0" normalizeH="0" baseline="0" noProof="0" dirty="0">
                <a:ln>
                  <a:noFill/>
                </a:ln>
                <a:solidFill>
                  <a:srgbClr val="DF2680"/>
                </a:solidFill>
                <a:effectLst/>
                <a:uLnTx/>
                <a:uFillTx/>
                <a:latin typeface="Helvetica Neue"/>
              </a:rPr>
              <a:t> </a:t>
            </a:r>
            <a:r>
              <a:rPr kumimoji="0" lang="fr-FR" sz="1800" b="0" i="0" u="none" strike="noStrike" kern="0" cap="none" spc="0" normalizeH="0" baseline="0" noProof="0" dirty="0">
                <a:ln>
                  <a:noFill/>
                </a:ln>
                <a:solidFill>
                  <a:srgbClr val="5E5E5E"/>
                </a:solidFill>
                <a:effectLst/>
                <a:uLnTx/>
                <a:uFillTx/>
                <a:latin typeface="Helvetica Neue"/>
              </a:rPr>
              <a:t>personnel qui permet de stocker </a:t>
            </a:r>
            <a:r>
              <a:rPr kumimoji="0" lang="fr-FR" sz="1800" b="1" i="0" u="none" strike="noStrike" kern="0" cap="none" spc="0" normalizeH="0" baseline="0" noProof="0" dirty="0">
                <a:ln>
                  <a:noFill/>
                </a:ln>
                <a:solidFill>
                  <a:srgbClr val="5E5E5E"/>
                </a:solidFill>
                <a:effectLst/>
                <a:uLnTx/>
                <a:uFillTx/>
                <a:latin typeface="Helvetica Neue"/>
              </a:rPr>
              <a:t>ses données de santé </a:t>
            </a:r>
            <a:r>
              <a:rPr kumimoji="0" lang="fr-FR" sz="1800" b="0" i="0" u="none" strike="noStrike" kern="0" cap="none" spc="0" normalizeH="0" baseline="0" noProof="0" dirty="0">
                <a:ln>
                  <a:noFill/>
                </a:ln>
                <a:solidFill>
                  <a:srgbClr val="5E5E5E"/>
                </a:solidFill>
                <a:effectLst/>
                <a:uLnTx/>
                <a:uFillTx/>
                <a:latin typeface="Helvetica Neue"/>
              </a:rPr>
              <a:t>et les partager avec des professionnels de santé ou des </a:t>
            </a:r>
            <a:r>
              <a:rPr kumimoji="0" lang="fr-FR" sz="1800" b="1" i="0" u="none" strike="noStrike" kern="0" cap="none" spc="0" normalizeH="0" baseline="0" noProof="0" dirty="0">
                <a:ln>
                  <a:noFill/>
                </a:ln>
                <a:solidFill>
                  <a:srgbClr val="5E5E5E"/>
                </a:solidFill>
                <a:effectLst/>
                <a:uLnTx/>
                <a:uFillTx/>
                <a:latin typeface="Helvetica Neue"/>
              </a:rPr>
              <a:t>services de santé référencés par la puissance publique</a:t>
            </a:r>
          </a:p>
        </p:txBody>
      </p:sp>
    </p:spTree>
    <p:extLst>
      <p:ext uri="{BB962C8B-B14F-4D97-AF65-F5344CB8AC3E}">
        <p14:creationId xmlns:p14="http://schemas.microsoft.com/office/powerpoint/2010/main" val="1282255917"/>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a:extLst>
              <a:ext uri="{FF2B5EF4-FFF2-40B4-BE49-F238E27FC236}">
                <a16:creationId xmlns:a16="http://schemas.microsoft.com/office/drawing/2014/main" id="{9F396323-7A89-7442-94E9-7DF91CA2A4B3}"/>
              </a:ext>
            </a:extLst>
          </p:cNvPr>
          <p:cNvSpPr>
            <a:spLocks noGrp="1"/>
          </p:cNvSpPr>
          <p:nvPr>
            <p:ph type="title"/>
          </p:nvPr>
        </p:nvSpPr>
        <p:spPr>
          <a:xfrm>
            <a:off x="3404302" y="2705100"/>
            <a:ext cx="7075337" cy="2324100"/>
          </a:xfrm>
        </p:spPr>
        <p:txBody>
          <a:bodyPr/>
          <a:lstStyle/>
          <a:p>
            <a:r>
              <a:rPr lang="fr-FR"/>
              <a:t>Activation de Mon espace santé</a:t>
            </a:r>
            <a:br>
              <a:rPr lang="fr-FR"/>
            </a:br>
            <a:endParaRPr lang="fr-FR"/>
          </a:p>
        </p:txBody>
      </p:sp>
      <p:sp>
        <p:nvSpPr>
          <p:cNvPr id="6" name="1.">
            <a:extLst>
              <a:ext uri="{FF2B5EF4-FFF2-40B4-BE49-F238E27FC236}">
                <a16:creationId xmlns:a16="http://schemas.microsoft.com/office/drawing/2014/main" id="{A022ABC0-7EE1-1E4D-A697-D33BE5E70E50}"/>
              </a:ext>
            </a:extLst>
          </p:cNvPr>
          <p:cNvSpPr txBox="1"/>
          <p:nvPr/>
        </p:nvSpPr>
        <p:spPr>
          <a:xfrm>
            <a:off x="9287728" y="2809674"/>
            <a:ext cx="2483535" cy="205184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25400" tIns="25400" rIns="25400" bIns="25400" anchor="ctr">
            <a:spAutoFit/>
          </a:bodyPr>
          <a:lstStyle>
            <a:lvl1pPr algn="l">
              <a:defRPr sz="20000" cap="all">
                <a:solidFill>
                  <a:srgbClr val="DB3080"/>
                </a:solidFill>
                <a:latin typeface="+mj-lt"/>
                <a:ea typeface="+mj-ea"/>
                <a:cs typeface="+mj-cs"/>
                <a:sym typeface="Arial"/>
              </a:defRPr>
            </a:lvl1pPr>
          </a:lstStyle>
          <a:p>
            <a:endParaRPr sz="13000" spc="-300"/>
          </a:p>
        </p:txBody>
      </p:sp>
    </p:spTree>
    <p:extLst>
      <p:ext uri="{BB962C8B-B14F-4D97-AF65-F5344CB8AC3E}">
        <p14:creationId xmlns:p14="http://schemas.microsoft.com/office/powerpoint/2010/main" val="3156763958"/>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2"/>
          </p:nvPr>
        </p:nvSpPr>
        <p:spPr/>
        <p:txBody>
          <a:bodyPr/>
          <a:lstStyle/>
          <a:p>
            <a:pPr marL="0" marR="0" lvl="0" indent="0" algn="l" defTabSz="292100" rtl="0" eaLnBrk="1" fontAlgn="auto" latinLnBrk="0" hangingPunct="1">
              <a:lnSpc>
                <a:spcPct val="100000"/>
              </a:lnSpc>
              <a:spcBef>
                <a:spcPts val="0"/>
              </a:spcBef>
              <a:spcAft>
                <a:spcPts val="0"/>
              </a:spcAft>
              <a:buClrTx/>
              <a:buSzTx/>
              <a:buFontTx/>
              <a:buNone/>
              <a:tabLst/>
              <a:defRPr/>
            </a:pPr>
            <a:fld id="{86CB4B4D-7CA3-9044-876B-883B54F8677D}" type="slidenum">
              <a:rPr kumimoji="0" lang="fr-FR" sz="900" b="0" i="0" u="none" strike="noStrike" kern="1200" cap="none" spc="0" normalizeH="0" baseline="0" noProof="0" smtClean="0">
                <a:ln>
                  <a:noFill/>
                </a:ln>
                <a:solidFill>
                  <a:srgbClr val="DB3080"/>
                </a:solidFill>
                <a:effectLst/>
                <a:uLnTx/>
                <a:uFillTx/>
                <a:latin typeface="Arial"/>
                <a:cs typeface="Arial"/>
                <a:sym typeface="Arial"/>
              </a:rPr>
              <a:pPr marL="0" marR="0" lvl="0" indent="0" algn="l" defTabSz="292100" rtl="0" eaLnBrk="1" fontAlgn="auto" latinLnBrk="0" hangingPunct="1">
                <a:lnSpc>
                  <a:spcPct val="100000"/>
                </a:lnSpc>
                <a:spcBef>
                  <a:spcPts val="0"/>
                </a:spcBef>
                <a:spcAft>
                  <a:spcPts val="0"/>
                </a:spcAft>
                <a:buClrTx/>
                <a:buSzTx/>
                <a:buFontTx/>
                <a:buNone/>
                <a:tabLst/>
                <a:defRPr/>
              </a:pPr>
              <a:t>8</a:t>
            </a:fld>
            <a:endParaRPr kumimoji="0" lang="fr-FR" sz="900" b="0" i="0" u="none" strike="noStrike" kern="1200" cap="none" spc="0" normalizeH="0" baseline="0" noProof="0">
              <a:ln>
                <a:noFill/>
              </a:ln>
              <a:solidFill>
                <a:srgbClr val="DB3080"/>
              </a:solidFill>
              <a:effectLst/>
              <a:uLnTx/>
              <a:uFillTx/>
              <a:latin typeface="Arial"/>
              <a:cs typeface="Arial"/>
              <a:sym typeface="Arial"/>
            </a:endParaRPr>
          </a:p>
        </p:txBody>
      </p:sp>
      <p:sp>
        <p:nvSpPr>
          <p:cNvPr id="32" name="Rectangle 31">
            <a:extLst>
              <a:ext uri="{FF2B5EF4-FFF2-40B4-BE49-F238E27FC236}">
                <a16:creationId xmlns:a16="http://schemas.microsoft.com/office/drawing/2014/main" id="{E7492F4C-0959-4115-A09B-A98235B364B2}"/>
              </a:ext>
            </a:extLst>
          </p:cNvPr>
          <p:cNvSpPr/>
          <p:nvPr/>
        </p:nvSpPr>
        <p:spPr bwMode="auto">
          <a:xfrm>
            <a:off x="3209802" y="4275850"/>
            <a:ext cx="1938172" cy="912815"/>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1625519" rtl="0" eaLnBrk="1" fontAlgn="auto" latinLnBrk="0" hangingPunct="1">
              <a:lnSpc>
                <a:spcPct val="100000"/>
              </a:lnSpc>
              <a:spcBef>
                <a:spcPts val="0"/>
              </a:spcBef>
              <a:spcAft>
                <a:spcPts val="0"/>
              </a:spcAft>
              <a:buClrTx/>
              <a:buSzTx/>
              <a:buFont typeface="Arial"/>
              <a:buNone/>
              <a:tabLst/>
              <a:defRPr/>
            </a:pPr>
            <a:r>
              <a:rPr kumimoji="0" lang="fr-FR" sz="1333" b="0" i="0" u="none" strike="noStrike" kern="0" cap="none" spc="0" normalizeH="0" baseline="0" noProof="0">
                <a:ln>
                  <a:noFill/>
                </a:ln>
                <a:solidFill>
                  <a:srgbClr val="6F7072"/>
                </a:solidFill>
                <a:effectLst/>
                <a:uLnTx/>
                <a:uFillTx/>
                <a:latin typeface="Arial"/>
                <a:cs typeface="Arial" panose="020B0604020202020204" pitchFamily="34" charset="0"/>
                <a:sym typeface="Arial"/>
              </a:rPr>
              <a:t>Un courrier </a:t>
            </a:r>
            <a:br>
              <a:rPr kumimoji="0" lang="fr-FR" sz="1333" b="0" i="0" u="none" strike="noStrike" kern="0" cap="none" spc="0" normalizeH="0" baseline="0" noProof="0">
                <a:ln>
                  <a:noFill/>
                </a:ln>
                <a:solidFill>
                  <a:srgbClr val="6F7072"/>
                </a:solidFill>
                <a:effectLst/>
                <a:uLnTx/>
                <a:uFillTx/>
                <a:latin typeface="Arial"/>
                <a:cs typeface="Arial" panose="020B0604020202020204" pitchFamily="34" charset="0"/>
                <a:sym typeface="Arial"/>
              </a:rPr>
            </a:br>
            <a:r>
              <a:rPr kumimoji="0" lang="fr-FR" sz="1333" b="0" i="0" u="none" strike="noStrike" kern="0" cap="none" spc="0" normalizeH="0" baseline="0" noProof="0">
                <a:ln>
                  <a:noFill/>
                </a:ln>
                <a:solidFill>
                  <a:srgbClr val="6F7072"/>
                </a:solidFill>
                <a:effectLst/>
                <a:uLnTx/>
                <a:uFillTx/>
                <a:latin typeface="Arial"/>
                <a:cs typeface="Arial" panose="020B0604020202020204" pitchFamily="34" charset="0"/>
                <a:sym typeface="Arial"/>
              </a:rPr>
              <a:t>(mail ou postal) fournit les modes d’opposition et d’accès au service</a:t>
            </a:r>
          </a:p>
        </p:txBody>
      </p:sp>
      <p:sp>
        <p:nvSpPr>
          <p:cNvPr id="35" name="Rectangle 34">
            <a:extLst>
              <a:ext uri="{FF2B5EF4-FFF2-40B4-BE49-F238E27FC236}">
                <a16:creationId xmlns:a16="http://schemas.microsoft.com/office/drawing/2014/main" id="{0F751EEA-05FD-47F4-BCED-3733A20FBF63}"/>
              </a:ext>
            </a:extLst>
          </p:cNvPr>
          <p:cNvSpPr/>
          <p:nvPr/>
        </p:nvSpPr>
        <p:spPr bwMode="auto">
          <a:xfrm>
            <a:off x="6234986" y="3232216"/>
            <a:ext cx="1938172" cy="738664"/>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1625519" rtl="0" eaLnBrk="1" fontAlgn="auto" latinLnBrk="0" hangingPunct="1">
              <a:lnSpc>
                <a:spcPct val="100000"/>
              </a:lnSpc>
              <a:spcBef>
                <a:spcPts val="0"/>
              </a:spcBef>
              <a:spcAft>
                <a:spcPts val="0"/>
              </a:spcAft>
              <a:buClrTx/>
              <a:buSzTx/>
              <a:buFont typeface="Arial"/>
              <a:buNone/>
              <a:tabLst/>
              <a:defRPr/>
            </a:pPr>
            <a:r>
              <a:rPr kumimoji="0" lang="fr-FR" sz="1400" b="0" i="0" u="none" strike="noStrike" kern="0" cap="none" spc="0" normalizeH="0" baseline="0" noProof="0">
                <a:ln>
                  <a:noFill/>
                </a:ln>
                <a:solidFill>
                  <a:srgbClr val="6F7072"/>
                </a:solidFill>
                <a:effectLst/>
                <a:uLnTx/>
                <a:uFillTx/>
                <a:latin typeface="Arial"/>
                <a:cs typeface="Arial" panose="020B0604020202020204" pitchFamily="34" charset="0"/>
                <a:sym typeface="Arial"/>
              </a:rPr>
              <a:t>Si l’usager active son accès, Mon espace santé est créé</a:t>
            </a:r>
          </a:p>
        </p:txBody>
      </p:sp>
      <p:sp>
        <p:nvSpPr>
          <p:cNvPr id="36" name="Rectangle 35">
            <a:extLst>
              <a:ext uri="{FF2B5EF4-FFF2-40B4-BE49-F238E27FC236}">
                <a16:creationId xmlns:a16="http://schemas.microsoft.com/office/drawing/2014/main" id="{E8ACD8E4-89CC-49C3-954F-DCA38814FF67}"/>
              </a:ext>
            </a:extLst>
          </p:cNvPr>
          <p:cNvSpPr/>
          <p:nvPr/>
        </p:nvSpPr>
        <p:spPr bwMode="auto">
          <a:xfrm>
            <a:off x="6297055" y="4480072"/>
            <a:ext cx="2249324" cy="738664"/>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1625519" rtl="0" eaLnBrk="1" fontAlgn="auto" latinLnBrk="0" hangingPunct="1">
              <a:lnSpc>
                <a:spcPct val="100000"/>
              </a:lnSpc>
              <a:spcBef>
                <a:spcPts val="0"/>
              </a:spcBef>
              <a:spcAft>
                <a:spcPts val="0"/>
              </a:spcAft>
              <a:buClrTx/>
              <a:buSzTx/>
              <a:buFont typeface="Arial"/>
              <a:buNone/>
              <a:tabLst/>
              <a:defRPr/>
            </a:pPr>
            <a:r>
              <a:rPr kumimoji="0" lang="fr-FR" sz="1400" b="0" i="0" u="none" strike="noStrike" kern="0" cap="none" spc="0" normalizeH="0" baseline="0" noProof="0">
                <a:ln>
                  <a:noFill/>
                </a:ln>
                <a:solidFill>
                  <a:srgbClr val="6F7072"/>
                </a:solidFill>
                <a:effectLst/>
                <a:uLnTx/>
                <a:uFillTx/>
                <a:latin typeface="Arial"/>
                <a:cs typeface="Arial" panose="020B0604020202020204" pitchFamily="34" charset="0"/>
                <a:sym typeface="Arial"/>
              </a:rPr>
              <a:t>Si l’usager s’oppose,</a:t>
            </a:r>
          </a:p>
          <a:p>
            <a:pPr marL="0" marR="0" lvl="0" indent="0" algn="l" defTabSz="1625519" rtl="0" eaLnBrk="1" fontAlgn="auto" latinLnBrk="0" hangingPunct="1">
              <a:lnSpc>
                <a:spcPct val="100000"/>
              </a:lnSpc>
              <a:spcBef>
                <a:spcPts val="0"/>
              </a:spcBef>
              <a:spcAft>
                <a:spcPts val="0"/>
              </a:spcAft>
              <a:buClrTx/>
              <a:buSzTx/>
              <a:buFont typeface="Arial"/>
              <a:buNone/>
              <a:tabLst/>
              <a:defRPr/>
            </a:pPr>
            <a:r>
              <a:rPr kumimoji="0" lang="fr-FR" sz="1400" b="0" i="0" u="none" strike="noStrike" kern="0" cap="none" spc="0" normalizeH="0" baseline="0" noProof="0">
                <a:ln>
                  <a:noFill/>
                </a:ln>
                <a:solidFill>
                  <a:srgbClr val="6F7072"/>
                </a:solidFill>
                <a:effectLst/>
                <a:uLnTx/>
                <a:uFillTx/>
                <a:latin typeface="Arial"/>
                <a:cs typeface="Arial" panose="020B0604020202020204" pitchFamily="34" charset="0"/>
                <a:sym typeface="Arial"/>
              </a:rPr>
              <a:t>Mon espace santé ne sera pas créé</a:t>
            </a:r>
          </a:p>
        </p:txBody>
      </p:sp>
      <p:sp>
        <p:nvSpPr>
          <p:cNvPr id="37" name="Interdiction 42">
            <a:extLst>
              <a:ext uri="{FF2B5EF4-FFF2-40B4-BE49-F238E27FC236}">
                <a16:creationId xmlns:a16="http://schemas.microsoft.com/office/drawing/2014/main" id="{DCBE86C4-4039-4963-B79B-4D9F58D7B859}"/>
              </a:ext>
            </a:extLst>
          </p:cNvPr>
          <p:cNvSpPr>
            <a:spLocks noChangeAspect="1"/>
          </p:cNvSpPr>
          <p:nvPr/>
        </p:nvSpPr>
        <p:spPr>
          <a:xfrm>
            <a:off x="5700872" y="4519673"/>
            <a:ext cx="592796" cy="592796"/>
          </a:xfrm>
          <a:prstGeom prst="noSmoking">
            <a:avLst/>
          </a:prstGeom>
          <a:solidFill>
            <a:srgbClr val="D401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1219170" rtl="0" eaLnBrk="1" fontAlgn="auto" latinLnBrk="0" hangingPunct="1">
              <a:lnSpc>
                <a:spcPct val="100000"/>
              </a:lnSpc>
              <a:spcBef>
                <a:spcPts val="0"/>
              </a:spcBef>
              <a:spcAft>
                <a:spcPts val="0"/>
              </a:spcAft>
              <a:buClrTx/>
              <a:buSzTx/>
              <a:buFont typeface="Arial"/>
              <a:buNone/>
              <a:tabLst/>
              <a:defRPr/>
            </a:pPr>
            <a:endParaRPr kumimoji="0" lang="fr-FR" sz="2133" b="0" i="0" u="none" strike="noStrike" kern="1200" cap="none" spc="0" normalizeH="0" baseline="0" noProof="0">
              <a:ln>
                <a:noFill/>
              </a:ln>
              <a:solidFill>
                <a:prstClr val="black"/>
              </a:solidFill>
              <a:effectLst/>
              <a:uLnTx/>
              <a:uFillTx/>
              <a:latin typeface="Arial" panose="020B0604020202020204"/>
              <a:sym typeface="Arial"/>
            </a:endParaRPr>
          </a:p>
        </p:txBody>
      </p:sp>
      <p:pic>
        <p:nvPicPr>
          <p:cNvPr id="38" name="Picture 180">
            <a:extLst>
              <a:ext uri="{FF2B5EF4-FFF2-40B4-BE49-F238E27FC236}">
                <a16:creationId xmlns:a16="http://schemas.microsoft.com/office/drawing/2014/main" id="{A2568B8B-9319-44BE-A6C2-55A0F460F124}"/>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680431" y="3281187"/>
            <a:ext cx="548430" cy="548502"/>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Connecteur droit avec flèche 44">
            <a:extLst>
              <a:ext uri="{FF2B5EF4-FFF2-40B4-BE49-F238E27FC236}">
                <a16:creationId xmlns:a16="http://schemas.microsoft.com/office/drawing/2014/main" id="{DC056973-06C5-4589-B7D1-A45FED3D7DED}"/>
              </a:ext>
            </a:extLst>
          </p:cNvPr>
          <p:cNvCxnSpPr>
            <a:cxnSpLocks/>
          </p:cNvCxnSpPr>
          <p:nvPr/>
        </p:nvCxnSpPr>
        <p:spPr>
          <a:xfrm>
            <a:off x="5407393" y="4285550"/>
            <a:ext cx="3007316" cy="0"/>
          </a:xfrm>
          <a:prstGeom prst="straightConnector1">
            <a:avLst/>
          </a:prstGeom>
          <a:ln w="34925">
            <a:solidFill>
              <a:srgbClr val="D40164"/>
            </a:solidFill>
            <a:tailEnd type="triangle"/>
          </a:ln>
        </p:spPr>
        <p:style>
          <a:lnRef idx="1">
            <a:schemeClr val="accent1"/>
          </a:lnRef>
          <a:fillRef idx="0">
            <a:schemeClr val="accent1"/>
          </a:fillRef>
          <a:effectRef idx="0">
            <a:schemeClr val="accent1"/>
          </a:effectRef>
          <a:fontRef idx="minor">
            <a:schemeClr val="tx1"/>
          </a:fontRef>
        </p:style>
      </p:cxnSp>
      <p:grpSp>
        <p:nvGrpSpPr>
          <p:cNvPr id="40" name="Group 161">
            <a:extLst>
              <a:ext uri="{FF2B5EF4-FFF2-40B4-BE49-F238E27FC236}">
                <a16:creationId xmlns:a16="http://schemas.microsoft.com/office/drawing/2014/main" id="{5AC75254-C982-4DB4-B103-5CACB7DD225A}"/>
              </a:ext>
            </a:extLst>
          </p:cNvPr>
          <p:cNvGrpSpPr/>
          <p:nvPr/>
        </p:nvGrpSpPr>
        <p:grpSpPr>
          <a:xfrm>
            <a:off x="694135" y="3325879"/>
            <a:ext cx="2154429" cy="2273963"/>
            <a:chOff x="1543551" y="3337241"/>
            <a:chExt cx="1615822" cy="1705472"/>
          </a:xfrm>
        </p:grpSpPr>
        <p:sp>
          <p:nvSpPr>
            <p:cNvPr id="41" name="Rectangle 40">
              <a:extLst>
                <a:ext uri="{FF2B5EF4-FFF2-40B4-BE49-F238E27FC236}">
                  <a16:creationId xmlns:a16="http://schemas.microsoft.com/office/drawing/2014/main" id="{99C00E32-07E3-45A4-B678-435B487888DA}"/>
                </a:ext>
              </a:extLst>
            </p:cNvPr>
            <p:cNvSpPr/>
            <p:nvPr/>
          </p:nvSpPr>
          <p:spPr bwMode="auto">
            <a:xfrm>
              <a:off x="1543551" y="4050423"/>
              <a:ext cx="1615822" cy="992290"/>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1625519" rtl="0" eaLnBrk="1" fontAlgn="auto" latinLnBrk="0" hangingPunct="1">
                <a:lnSpc>
                  <a:spcPct val="100000"/>
                </a:lnSpc>
                <a:spcBef>
                  <a:spcPts val="0"/>
                </a:spcBef>
                <a:spcAft>
                  <a:spcPts val="0"/>
                </a:spcAft>
                <a:buClrTx/>
                <a:buSzTx/>
                <a:buFont typeface="Arial"/>
                <a:buNone/>
                <a:tabLst/>
                <a:defRPr/>
              </a:pPr>
              <a:r>
                <a:rPr kumimoji="0" lang="fr-FR" sz="1333" b="0" i="0" u="none" strike="noStrike" kern="0" cap="none" spc="0" normalizeH="0" baseline="0" noProof="0">
                  <a:ln>
                    <a:noFill/>
                  </a:ln>
                  <a:solidFill>
                    <a:srgbClr val="6F7072"/>
                  </a:solidFill>
                  <a:effectLst/>
                  <a:uLnTx/>
                  <a:uFillTx/>
                  <a:latin typeface="Arial"/>
                  <a:cs typeface="Arial" panose="020B0604020202020204" pitchFamily="34" charset="0"/>
                  <a:sym typeface="Arial"/>
                </a:rPr>
                <a:t>Toutes les personnes rattachées à un régime d’assurance maladie français sont notifiées de l’arrivée de Mon espace santé</a:t>
              </a:r>
            </a:p>
          </p:txBody>
        </p:sp>
        <p:pic>
          <p:nvPicPr>
            <p:cNvPr id="42" name="Graphique 26" descr="Homme avec enfant contour">
              <a:extLst>
                <a:ext uri="{FF2B5EF4-FFF2-40B4-BE49-F238E27FC236}">
                  <a16:creationId xmlns:a16="http://schemas.microsoft.com/office/drawing/2014/main" id="{E4D3BB59-1D81-4247-8860-3E5422BF42E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7177" y="3337241"/>
              <a:ext cx="648569" cy="648653"/>
            </a:xfrm>
            <a:prstGeom prst="rect">
              <a:avLst/>
            </a:prstGeom>
          </p:spPr>
        </p:pic>
      </p:grpSp>
      <p:grpSp>
        <p:nvGrpSpPr>
          <p:cNvPr id="43" name="Group 162">
            <a:extLst>
              <a:ext uri="{FF2B5EF4-FFF2-40B4-BE49-F238E27FC236}">
                <a16:creationId xmlns:a16="http://schemas.microsoft.com/office/drawing/2014/main" id="{6FCC010B-0473-4262-935D-816A47FF6AC6}"/>
              </a:ext>
            </a:extLst>
          </p:cNvPr>
          <p:cNvGrpSpPr/>
          <p:nvPr/>
        </p:nvGrpSpPr>
        <p:grpSpPr>
          <a:xfrm>
            <a:off x="8750245" y="2765477"/>
            <a:ext cx="2870239" cy="3066257"/>
            <a:chOff x="7968440" y="2675463"/>
            <a:chExt cx="2152679" cy="2299692"/>
          </a:xfrm>
        </p:grpSpPr>
        <p:sp>
          <p:nvSpPr>
            <p:cNvPr id="44" name="Rectangle 43">
              <a:extLst>
                <a:ext uri="{FF2B5EF4-FFF2-40B4-BE49-F238E27FC236}">
                  <a16:creationId xmlns:a16="http://schemas.microsoft.com/office/drawing/2014/main" id="{7506678E-E39A-4FC0-9579-C0348B7973CB}"/>
                </a:ext>
              </a:extLst>
            </p:cNvPr>
            <p:cNvSpPr/>
            <p:nvPr/>
          </p:nvSpPr>
          <p:spPr bwMode="auto">
            <a:xfrm>
              <a:off x="7968440" y="3451662"/>
              <a:ext cx="2152679" cy="1523493"/>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r>
                <a:rPr kumimoji="0" lang="fr-FR" sz="1400" b="0" i="0" u="none" strike="noStrike" kern="0" cap="none" spc="0" normalizeH="0" baseline="0" noProof="0">
                  <a:ln>
                    <a:noFill/>
                  </a:ln>
                  <a:solidFill>
                    <a:srgbClr val="545859"/>
                  </a:solidFill>
                  <a:effectLst/>
                  <a:uLnTx/>
                  <a:uFillTx/>
                  <a:latin typeface="Arial"/>
                  <a:cs typeface="Arial" panose="020B0604020202020204" pitchFamily="34" charset="0"/>
                  <a:sym typeface="Arial"/>
                </a:rPr>
                <a:t>Au bout de 6 semaines après l’envoi du courrier, si l’usager ne s’est pas connecté ni opposé, </a:t>
              </a:r>
              <a:r>
                <a:rPr kumimoji="0" lang="fr-FR" sz="1400" b="1" i="0" u="none" strike="noStrike" kern="0" cap="none" spc="0" normalizeH="0" baseline="0" noProof="0">
                  <a:ln>
                    <a:noFill/>
                  </a:ln>
                  <a:solidFill>
                    <a:srgbClr val="545859"/>
                  </a:solidFill>
                  <a:effectLst/>
                  <a:uLnTx/>
                  <a:uFillTx/>
                  <a:latin typeface="Arial"/>
                  <a:cs typeface="Arial" panose="020B0604020202020204" pitchFamily="34" charset="0"/>
                  <a:sym typeface="Arial"/>
                </a:rPr>
                <a:t>Mon espace santé est automatiquement créé.</a:t>
              </a:r>
            </a:p>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r>
                <a:rPr kumimoji="0" lang="fr-FR" sz="1400" b="0" i="0" u="none" strike="noStrike" kern="0" cap="none" spc="0" normalizeH="0" baseline="0" noProof="0">
                  <a:ln>
                    <a:noFill/>
                  </a:ln>
                  <a:solidFill>
                    <a:srgbClr val="545859"/>
                  </a:solidFill>
                  <a:effectLst/>
                  <a:uLnTx/>
                  <a:uFillTx/>
                  <a:latin typeface="Arial"/>
                  <a:cs typeface="Arial" panose="020B0604020202020204" pitchFamily="34" charset="0"/>
                  <a:sym typeface="Arial"/>
                </a:rPr>
                <a:t>Un professionnel peut écrire au patient via sa messagerie sécurisée de santé ou alimenter le DMP de la personne.</a:t>
              </a:r>
            </a:p>
          </p:txBody>
        </p:sp>
        <p:sp>
          <p:nvSpPr>
            <p:cNvPr id="45" name="Rectangle 44">
              <a:extLst>
                <a:ext uri="{FF2B5EF4-FFF2-40B4-BE49-F238E27FC236}">
                  <a16:creationId xmlns:a16="http://schemas.microsoft.com/office/drawing/2014/main" id="{355C3777-4DE4-468D-ACF2-7CC310E38363}"/>
                </a:ext>
              </a:extLst>
            </p:cNvPr>
            <p:cNvSpPr/>
            <p:nvPr/>
          </p:nvSpPr>
          <p:spPr>
            <a:xfrm>
              <a:off x="8739441" y="2675463"/>
              <a:ext cx="356138" cy="533431"/>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67733" tIns="67733" rIns="67733" bIns="67733" numCol="1" spcCol="38100"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1100639" rtl="0" eaLnBrk="1" fontAlgn="auto" latinLnBrk="0" hangingPunct="0">
                <a:lnSpc>
                  <a:spcPct val="100000"/>
                </a:lnSpc>
                <a:spcBef>
                  <a:spcPts val="0"/>
                </a:spcBef>
                <a:spcAft>
                  <a:spcPts val="0"/>
                </a:spcAft>
                <a:buClrTx/>
                <a:buSzTx/>
                <a:buFont typeface="Arial"/>
                <a:buNone/>
                <a:tabLst/>
                <a:defRPr/>
              </a:pPr>
              <a:endParaRPr kumimoji="0" lang="fr-FR" sz="3733" b="0" i="0" u="none" strike="noStrike" kern="0" cap="none" spc="0" normalizeH="0" baseline="0" noProof="0">
                <a:ln>
                  <a:noFill/>
                </a:ln>
                <a:solidFill>
                  <a:srgbClr val="FFFFFF"/>
                </a:solidFill>
                <a:effectLst/>
                <a:uLnTx/>
                <a:uFillTx/>
                <a:latin typeface="Arial"/>
                <a:ea typeface="Helvetica Neue Medium"/>
                <a:cs typeface="Helvetica Neue Medium"/>
                <a:sym typeface="Helvetica Neue Medium"/>
              </a:endParaRPr>
            </a:p>
          </p:txBody>
        </p:sp>
      </p:grpSp>
      <p:grpSp>
        <p:nvGrpSpPr>
          <p:cNvPr id="46" name="Group 168">
            <a:extLst>
              <a:ext uri="{FF2B5EF4-FFF2-40B4-BE49-F238E27FC236}">
                <a16:creationId xmlns:a16="http://schemas.microsoft.com/office/drawing/2014/main" id="{67B287BF-D769-4EBA-8382-D470AEED0341}"/>
              </a:ext>
            </a:extLst>
          </p:cNvPr>
          <p:cNvGrpSpPr>
            <a:grpSpLocks noChangeAspect="1"/>
          </p:cNvGrpSpPr>
          <p:nvPr/>
        </p:nvGrpSpPr>
        <p:grpSpPr>
          <a:xfrm>
            <a:off x="8662646" y="3067849"/>
            <a:ext cx="1307097" cy="805816"/>
            <a:chOff x="6760673" y="2935261"/>
            <a:chExt cx="1349115" cy="831720"/>
          </a:xfrm>
        </p:grpSpPr>
        <p:pic>
          <p:nvPicPr>
            <p:cNvPr id="47" name="Logo-ReMES.png">
              <a:extLst>
                <a:ext uri="{FF2B5EF4-FFF2-40B4-BE49-F238E27FC236}">
                  <a16:creationId xmlns:a16="http://schemas.microsoft.com/office/drawing/2014/main" id="{9D62DA23-BDEA-4F9D-BE56-49AF0EC615A1}"/>
                </a:ext>
              </a:extLst>
            </p:cNvPr>
            <p:cNvPicPr>
              <a:picLocks noChangeAspect="1"/>
            </p:cNvPicPr>
            <p:nvPr/>
          </p:nvPicPr>
          <p:blipFill rotWithShape="1">
            <a:blip r:embed="rId5"/>
            <a:srcRect t="43809"/>
            <a:stretch/>
          </p:blipFill>
          <p:spPr>
            <a:xfrm>
              <a:off x="6760673" y="2946761"/>
              <a:ext cx="1349115" cy="820220"/>
            </a:xfrm>
            <a:prstGeom prst="rect">
              <a:avLst/>
            </a:prstGeom>
            <a:ln w="12700">
              <a:miter lim="400000"/>
            </a:ln>
          </p:spPr>
        </p:pic>
        <p:sp>
          <p:nvSpPr>
            <p:cNvPr id="48" name="Rectangle 47">
              <a:extLst>
                <a:ext uri="{FF2B5EF4-FFF2-40B4-BE49-F238E27FC236}">
                  <a16:creationId xmlns:a16="http://schemas.microsoft.com/office/drawing/2014/main" id="{A484DE83-238E-49A9-BF01-E07EBDF44523}"/>
                </a:ext>
              </a:extLst>
            </p:cNvPr>
            <p:cNvSpPr/>
            <p:nvPr/>
          </p:nvSpPr>
          <p:spPr>
            <a:xfrm>
              <a:off x="7629798" y="2935261"/>
              <a:ext cx="323712" cy="17330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1219170" rtl="0" eaLnBrk="1" fontAlgn="auto" latinLnBrk="0" hangingPunct="1">
                <a:lnSpc>
                  <a:spcPct val="100000"/>
                </a:lnSpc>
                <a:spcBef>
                  <a:spcPts val="0"/>
                </a:spcBef>
                <a:spcAft>
                  <a:spcPts val="0"/>
                </a:spcAft>
                <a:buClr>
                  <a:srgbClr val="000000"/>
                </a:buClr>
                <a:buSzTx/>
                <a:buFont typeface="Arial"/>
                <a:buNone/>
                <a:tabLst/>
                <a:defRPr/>
              </a:pPr>
              <a:endParaRPr kumimoji="0" lang="fr-FR" sz="1600" b="0" i="0" u="none" strike="noStrike" kern="0" cap="none" spc="0" normalizeH="0" baseline="0" noProof="0">
                <a:ln>
                  <a:noFill/>
                </a:ln>
                <a:solidFill>
                  <a:prstClr val="white"/>
                </a:solidFill>
                <a:effectLst/>
                <a:uLnTx/>
                <a:uFillTx/>
                <a:latin typeface="Arial" panose="020B0604020202020204"/>
                <a:sym typeface="Arial"/>
              </a:endParaRPr>
            </a:p>
          </p:txBody>
        </p:sp>
      </p:grpSp>
      <p:sp>
        <p:nvSpPr>
          <p:cNvPr id="49" name="Titre 3"/>
          <p:cNvSpPr>
            <a:spLocks noGrp="1"/>
          </p:cNvSpPr>
          <p:nvPr>
            <p:ph type="title"/>
          </p:nvPr>
        </p:nvSpPr>
        <p:spPr>
          <a:xfrm>
            <a:off x="2313517" y="16625"/>
            <a:ext cx="9967966" cy="1133342"/>
          </a:xfrm>
        </p:spPr>
        <p:txBody>
          <a:bodyPr>
            <a:normAutofit/>
          </a:bodyPr>
          <a:lstStyle/>
          <a:p>
            <a:r>
              <a:rPr lang="fr-FR" kern="1200">
                <a:latin typeface="Arial" panose="020B0604020202020204" pitchFamily="34" charset="0"/>
                <a:cs typeface="Arial" panose="020B0604020202020204" pitchFamily="34" charset="0"/>
              </a:rPr>
              <a:t>Une création par défaut pour tous les citoyens</a:t>
            </a:r>
          </a:p>
        </p:txBody>
      </p:sp>
      <p:sp>
        <p:nvSpPr>
          <p:cNvPr id="56" name="Rectangle 55">
            <a:extLst>
              <a:ext uri="{FF2B5EF4-FFF2-40B4-BE49-F238E27FC236}">
                <a16:creationId xmlns:a16="http://schemas.microsoft.com/office/drawing/2014/main" id="{A0DDDC00-F1A7-483E-AFC4-26A2C587FACE}"/>
              </a:ext>
            </a:extLst>
          </p:cNvPr>
          <p:cNvSpPr/>
          <p:nvPr/>
        </p:nvSpPr>
        <p:spPr bwMode="auto">
          <a:xfrm>
            <a:off x="583128" y="1940672"/>
            <a:ext cx="10914737" cy="1108188"/>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1625519" rtl="0" eaLnBrk="1" fontAlgn="auto" latinLnBrk="0" hangingPunct="1">
              <a:lnSpc>
                <a:spcPct val="100000"/>
              </a:lnSpc>
              <a:spcBef>
                <a:spcPts val="0"/>
              </a:spcBef>
              <a:spcAft>
                <a:spcPts val="0"/>
              </a:spcAft>
              <a:buClrTx/>
              <a:buSzTx/>
              <a:buFont typeface="Arial"/>
              <a:buNone/>
              <a:tabLst/>
              <a:defRPr/>
            </a:pPr>
            <a:r>
              <a:rPr kumimoji="0" lang="fr-FR" sz="1867" b="1" i="0" u="none" strike="noStrike" kern="1200" cap="none" spc="0" normalizeH="0" baseline="0" noProof="0">
                <a:ln>
                  <a:noFill/>
                </a:ln>
                <a:solidFill>
                  <a:srgbClr val="5E5E5E"/>
                </a:solidFill>
                <a:effectLst/>
                <a:uLnTx/>
                <a:uFillTx/>
                <a:latin typeface="Arial"/>
                <a:ea typeface="+mn-ea"/>
                <a:cs typeface="Arial" panose="020B0604020202020204" pitchFamily="34" charset="0"/>
                <a:sym typeface="Arial"/>
              </a:rPr>
              <a:t>La loi OTSS de juillet 2019 prévoit la création de Mon espace santé par défaut, sauf opposition de la personne, c’est l’opt-out. </a:t>
            </a:r>
          </a:p>
          <a:p>
            <a:pPr marL="0" marR="0" lvl="0" indent="0" algn="l" defTabSz="1625519" rtl="0" eaLnBrk="1" fontAlgn="auto" latinLnBrk="0" hangingPunct="1">
              <a:lnSpc>
                <a:spcPct val="100000"/>
              </a:lnSpc>
              <a:spcBef>
                <a:spcPts val="0"/>
              </a:spcBef>
              <a:spcAft>
                <a:spcPts val="0"/>
              </a:spcAft>
              <a:buClrTx/>
              <a:buSzTx/>
              <a:buFont typeface="Arial"/>
              <a:buNone/>
              <a:tabLst/>
              <a:defRPr/>
            </a:pPr>
            <a:r>
              <a:rPr kumimoji="0" lang="fr-FR" sz="1400" b="0" i="1" u="none" strike="noStrike" kern="1200" cap="none" spc="0" normalizeH="0" baseline="0" noProof="0">
                <a:ln>
                  <a:noFill/>
                </a:ln>
                <a:solidFill>
                  <a:srgbClr val="5E5E5E"/>
                </a:solidFill>
                <a:effectLst/>
                <a:uLnTx/>
                <a:uFillTx/>
                <a:latin typeface="Arial"/>
                <a:ea typeface="+mn-ea"/>
                <a:cs typeface="Arial" panose="020B0604020202020204" pitchFamily="34" charset="0"/>
                <a:sym typeface="Arial"/>
              </a:rPr>
              <a:t>L’Opt-Out est un process de création de masse automatique des profils, sauf opposition.</a:t>
            </a:r>
            <a:endParaRPr kumimoji="0" lang="fr-FR" sz="1867" b="1" i="0" u="none" strike="noStrike" kern="1200" cap="none" spc="0" normalizeH="0" baseline="0" noProof="0">
              <a:ln>
                <a:noFill/>
              </a:ln>
              <a:solidFill>
                <a:srgbClr val="5E5E5E"/>
              </a:solidFill>
              <a:effectLst/>
              <a:uLnTx/>
              <a:uFillTx/>
              <a:latin typeface="Arial"/>
              <a:ea typeface="+mn-ea"/>
              <a:cs typeface="Arial" panose="020B0604020202020204" pitchFamily="34" charset="0"/>
              <a:sym typeface="Arial"/>
            </a:endParaRPr>
          </a:p>
          <a:p>
            <a:pPr marL="0" marR="0" lvl="0" indent="0" algn="l" defTabSz="1625519" rtl="0" eaLnBrk="1" fontAlgn="auto" latinLnBrk="0" hangingPunct="1">
              <a:lnSpc>
                <a:spcPct val="100000"/>
              </a:lnSpc>
              <a:spcBef>
                <a:spcPts val="0"/>
              </a:spcBef>
              <a:spcAft>
                <a:spcPts val="0"/>
              </a:spcAft>
              <a:buClrTx/>
              <a:buSzTx/>
              <a:buFont typeface="Arial"/>
              <a:buNone/>
              <a:tabLst/>
              <a:defRPr/>
            </a:pPr>
            <a:endParaRPr kumimoji="0" lang="fr-FR" sz="1467" b="1" i="1" u="none" strike="noStrike" kern="0" cap="none" spc="0" normalizeH="0" baseline="0" noProof="0">
              <a:ln>
                <a:noFill/>
              </a:ln>
              <a:solidFill>
                <a:srgbClr val="5E5E5E"/>
              </a:solidFill>
              <a:effectLst/>
              <a:uLnTx/>
              <a:uFillTx/>
              <a:latin typeface="Arial"/>
              <a:cs typeface="Arial" panose="020B0604020202020204" pitchFamily="34" charset="0"/>
              <a:sym typeface="Arial"/>
            </a:endParaRPr>
          </a:p>
        </p:txBody>
      </p:sp>
      <p:pic>
        <p:nvPicPr>
          <p:cNvPr id="57" name="Picture 4" descr="Free icon &quot;Email mail open at icon&quot;">
            <a:extLst>
              <a:ext uri="{FF2B5EF4-FFF2-40B4-BE49-F238E27FC236}">
                <a16:creationId xmlns:a16="http://schemas.microsoft.com/office/drawing/2014/main" id="{D4F45772-28AE-4E86-9BC3-32BD6179088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68046" y="3594483"/>
            <a:ext cx="621684" cy="6216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8004446"/>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Rounded Corners 29">
            <a:extLst>
              <a:ext uri="{FF2B5EF4-FFF2-40B4-BE49-F238E27FC236}">
                <a16:creationId xmlns:a16="http://schemas.microsoft.com/office/drawing/2014/main" id="{3D7FE479-FFC4-4819-8835-1C0FF4BD64EC}"/>
              </a:ext>
            </a:extLst>
          </p:cNvPr>
          <p:cNvSpPr/>
          <p:nvPr/>
        </p:nvSpPr>
        <p:spPr>
          <a:xfrm>
            <a:off x="1979155" y="4819985"/>
            <a:ext cx="7792643" cy="612000"/>
          </a:xfrm>
          <a:prstGeom prst="roundRect">
            <a:avLst/>
          </a:prstGeom>
          <a:solidFill>
            <a:srgbClr val="0B48A2">
              <a:alpha val="8000"/>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fr-FR"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28" name="Rectangle: Rounded Corners 27">
            <a:extLst>
              <a:ext uri="{FF2B5EF4-FFF2-40B4-BE49-F238E27FC236}">
                <a16:creationId xmlns:a16="http://schemas.microsoft.com/office/drawing/2014/main" id="{015A94F8-D89E-4BE4-AA75-1FC8FFEE87DF}"/>
              </a:ext>
            </a:extLst>
          </p:cNvPr>
          <p:cNvSpPr/>
          <p:nvPr/>
        </p:nvSpPr>
        <p:spPr>
          <a:xfrm>
            <a:off x="1287788" y="3727852"/>
            <a:ext cx="8484010" cy="612000"/>
          </a:xfrm>
          <a:prstGeom prst="roundRect">
            <a:avLst/>
          </a:prstGeom>
          <a:solidFill>
            <a:srgbClr val="DF2680">
              <a:alpha val="8000"/>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fr-FR"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21" name="Rectangle: Rounded Corners 20">
            <a:extLst>
              <a:ext uri="{FF2B5EF4-FFF2-40B4-BE49-F238E27FC236}">
                <a16:creationId xmlns:a16="http://schemas.microsoft.com/office/drawing/2014/main" id="{C211CC6D-446F-460C-8E15-596DB2E5D779}"/>
              </a:ext>
            </a:extLst>
          </p:cNvPr>
          <p:cNvSpPr/>
          <p:nvPr/>
        </p:nvSpPr>
        <p:spPr>
          <a:xfrm>
            <a:off x="690372" y="2592633"/>
            <a:ext cx="9081425" cy="612000"/>
          </a:xfrm>
          <a:prstGeom prst="roundRect">
            <a:avLst/>
          </a:prstGeom>
          <a:solidFill>
            <a:srgbClr val="F5CB59">
              <a:alpha val="22000"/>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fr-FR"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3" name="Slide Number Placeholder 2">
            <a:extLst>
              <a:ext uri="{FF2B5EF4-FFF2-40B4-BE49-F238E27FC236}">
                <a16:creationId xmlns:a16="http://schemas.microsoft.com/office/drawing/2014/main" id="{62C4EF90-470B-4068-8CD3-C3C878D769E1}"/>
              </a:ext>
            </a:extLst>
          </p:cNvPr>
          <p:cNvSpPr>
            <a:spLocks noGrp="1"/>
          </p:cNvSpPr>
          <p:nvPr>
            <p:ph type="sldNum" sz="quarter" idx="2"/>
          </p:nvPr>
        </p:nvSpPr>
        <p:spPr/>
        <p:txBody>
          <a:bodyPr/>
          <a:lstStyle/>
          <a:p>
            <a:fld id="{86CB4B4D-7CA3-9044-876B-883B54F8677D}" type="slidenum">
              <a:rPr lang="fr-FR" smtClean="0"/>
              <a:t>9</a:t>
            </a:fld>
            <a:endParaRPr lang="fr-FR"/>
          </a:p>
        </p:txBody>
      </p:sp>
      <p:sp>
        <p:nvSpPr>
          <p:cNvPr id="4" name="Title 3">
            <a:extLst>
              <a:ext uri="{FF2B5EF4-FFF2-40B4-BE49-F238E27FC236}">
                <a16:creationId xmlns:a16="http://schemas.microsoft.com/office/drawing/2014/main" id="{EB0D13D4-CD7B-44F0-B672-40B2D8C17F5A}"/>
              </a:ext>
            </a:extLst>
          </p:cNvPr>
          <p:cNvSpPr>
            <a:spLocks noGrp="1"/>
          </p:cNvSpPr>
          <p:nvPr>
            <p:ph type="title"/>
          </p:nvPr>
        </p:nvSpPr>
        <p:spPr>
          <a:xfrm>
            <a:off x="2313517" y="16625"/>
            <a:ext cx="9878483" cy="1133342"/>
          </a:xfrm>
        </p:spPr>
        <p:txBody>
          <a:bodyPr>
            <a:normAutofit/>
          </a:bodyPr>
          <a:lstStyle/>
          <a:p>
            <a:r>
              <a:rPr lang="fr-FR" kern="1200">
                <a:latin typeface="Arial" panose="020B0604020202020204" pitchFamily="34" charset="0"/>
                <a:cs typeface="Arial" panose="020B0604020202020204" pitchFamily="34" charset="0"/>
              </a:rPr>
              <a:t>Concrètement, comment se passe l’activation ?</a:t>
            </a:r>
          </a:p>
        </p:txBody>
      </p:sp>
      <p:sp>
        <p:nvSpPr>
          <p:cNvPr id="18" name="ZoneTexte 14">
            <a:extLst>
              <a:ext uri="{FF2B5EF4-FFF2-40B4-BE49-F238E27FC236}">
                <a16:creationId xmlns:a16="http://schemas.microsoft.com/office/drawing/2014/main" id="{ECFA6648-4363-42D4-B180-10E39B72938C}"/>
              </a:ext>
            </a:extLst>
          </p:cNvPr>
          <p:cNvSpPr txBox="1"/>
          <p:nvPr/>
        </p:nvSpPr>
        <p:spPr>
          <a:xfrm>
            <a:off x="535976" y="1948917"/>
            <a:ext cx="9878482" cy="369332"/>
          </a:xfrm>
          <a:prstGeom prst="rect">
            <a:avLst/>
          </a:prstGeom>
          <a:noFill/>
        </p:spPr>
        <p:txBody>
          <a:bodyPr wrap="square" rtlCol="0">
            <a:spAutoFit/>
          </a:bodyPr>
          <a:lstStyle/>
          <a:p>
            <a:r>
              <a:rPr lang="fr-FR"/>
              <a:t>Pour activer Mon espace santé, je suis invité à suivre plusieurs étapes :</a:t>
            </a:r>
          </a:p>
        </p:txBody>
      </p:sp>
      <p:sp>
        <p:nvSpPr>
          <p:cNvPr id="12" name="ZoneTexte 14">
            <a:extLst>
              <a:ext uri="{FF2B5EF4-FFF2-40B4-BE49-F238E27FC236}">
                <a16:creationId xmlns:a16="http://schemas.microsoft.com/office/drawing/2014/main" id="{55650747-F5ED-442E-A97F-8E4242AC7724}"/>
              </a:ext>
            </a:extLst>
          </p:cNvPr>
          <p:cNvSpPr txBox="1"/>
          <p:nvPr/>
        </p:nvSpPr>
        <p:spPr>
          <a:xfrm>
            <a:off x="961080" y="2715856"/>
            <a:ext cx="9669482" cy="338554"/>
          </a:xfrm>
          <a:prstGeom prst="rect">
            <a:avLst/>
          </a:prstGeom>
          <a:noFill/>
        </p:spPr>
        <p:txBody>
          <a:bodyPr wrap="square" rtlCol="0">
            <a:spAutoFit/>
          </a:bodyPr>
          <a:lstStyle/>
          <a:p>
            <a:r>
              <a:rPr lang="fr-FR" sz="1600" b="1"/>
              <a:t>Connexion sur monespacesante.fr</a:t>
            </a:r>
          </a:p>
        </p:txBody>
      </p:sp>
      <p:sp>
        <p:nvSpPr>
          <p:cNvPr id="15" name="ZoneTexte 14">
            <a:extLst>
              <a:ext uri="{FF2B5EF4-FFF2-40B4-BE49-F238E27FC236}">
                <a16:creationId xmlns:a16="http://schemas.microsoft.com/office/drawing/2014/main" id="{1E0275EA-A817-4AD7-AB52-65C38C771799}"/>
              </a:ext>
            </a:extLst>
          </p:cNvPr>
          <p:cNvSpPr txBox="1"/>
          <p:nvPr/>
        </p:nvSpPr>
        <p:spPr>
          <a:xfrm>
            <a:off x="1632552" y="3856759"/>
            <a:ext cx="6965538" cy="338554"/>
          </a:xfrm>
          <a:prstGeom prst="rect">
            <a:avLst/>
          </a:prstGeom>
          <a:noFill/>
        </p:spPr>
        <p:txBody>
          <a:bodyPr wrap="square" rtlCol="0">
            <a:spAutoFit/>
          </a:bodyPr>
          <a:lstStyle/>
          <a:p>
            <a:r>
              <a:rPr lang="fr-FR" sz="1600" b="1" dirty="0"/>
              <a:t>Activation de mon compte</a:t>
            </a:r>
          </a:p>
        </p:txBody>
      </p:sp>
      <p:sp>
        <p:nvSpPr>
          <p:cNvPr id="16" name="ZoneTexte 14">
            <a:extLst>
              <a:ext uri="{FF2B5EF4-FFF2-40B4-BE49-F238E27FC236}">
                <a16:creationId xmlns:a16="http://schemas.microsoft.com/office/drawing/2014/main" id="{9BFA6FEF-CEED-4BF7-BFC9-3A5C689451A1}"/>
              </a:ext>
            </a:extLst>
          </p:cNvPr>
          <p:cNvSpPr txBox="1"/>
          <p:nvPr/>
        </p:nvSpPr>
        <p:spPr>
          <a:xfrm>
            <a:off x="2427021" y="4933277"/>
            <a:ext cx="7321073" cy="338554"/>
          </a:xfrm>
          <a:prstGeom prst="rect">
            <a:avLst/>
          </a:prstGeom>
          <a:noFill/>
        </p:spPr>
        <p:txBody>
          <a:bodyPr wrap="square" rtlCol="0">
            <a:spAutoFit/>
          </a:bodyPr>
          <a:lstStyle/>
          <a:p>
            <a:r>
              <a:rPr lang="fr-FR" sz="1600" b="1"/>
              <a:t>Découverte de Mon espace santé et enrichissement du profil médical </a:t>
            </a:r>
          </a:p>
        </p:txBody>
      </p:sp>
      <p:sp>
        <p:nvSpPr>
          <p:cNvPr id="19" name="ZoneTexte 14">
            <a:extLst>
              <a:ext uri="{FF2B5EF4-FFF2-40B4-BE49-F238E27FC236}">
                <a16:creationId xmlns:a16="http://schemas.microsoft.com/office/drawing/2014/main" id="{DC4492DA-1102-4336-AD16-F3BFF1F0F6A7}"/>
              </a:ext>
            </a:extLst>
          </p:cNvPr>
          <p:cNvSpPr txBox="1"/>
          <p:nvPr/>
        </p:nvSpPr>
        <p:spPr>
          <a:xfrm>
            <a:off x="2040875" y="5678208"/>
            <a:ext cx="8619774" cy="307777"/>
          </a:xfrm>
          <a:prstGeom prst="rect">
            <a:avLst/>
          </a:prstGeom>
          <a:noFill/>
        </p:spPr>
        <p:txBody>
          <a:bodyPr wrap="square" rtlCol="0">
            <a:spAutoFit/>
          </a:bodyPr>
          <a:lstStyle/>
          <a:p>
            <a:r>
              <a:rPr lang="fr-FR" sz="1400" i="1"/>
              <a:t>NB : L’usager peut choisir de s’opposer à l’activation de son espace santé dès l’étape 2.</a:t>
            </a:r>
          </a:p>
        </p:txBody>
      </p:sp>
      <p:pic>
        <p:nvPicPr>
          <p:cNvPr id="13" name="Graphic 12" descr="Badge Tick1 with solid fill">
            <a:extLst>
              <a:ext uri="{FF2B5EF4-FFF2-40B4-BE49-F238E27FC236}">
                <a16:creationId xmlns:a16="http://schemas.microsoft.com/office/drawing/2014/main" id="{1B294414-0351-449C-854E-881938210E4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3909" y="3685767"/>
            <a:ext cx="536710" cy="536710"/>
          </a:xfrm>
          <a:prstGeom prst="rect">
            <a:avLst/>
          </a:prstGeom>
        </p:spPr>
      </p:pic>
      <p:pic>
        <p:nvPicPr>
          <p:cNvPr id="32" name="Graphic 31" descr="Route (Two Pins With A Path) with solid fill">
            <a:extLst>
              <a:ext uri="{FF2B5EF4-FFF2-40B4-BE49-F238E27FC236}">
                <a16:creationId xmlns:a16="http://schemas.microsoft.com/office/drawing/2014/main" id="{84EC274F-02E4-46F7-BF5B-DC8F18A3BCC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02082" y="4662729"/>
            <a:ext cx="677586" cy="677586"/>
          </a:xfrm>
          <a:prstGeom prst="rect">
            <a:avLst/>
          </a:prstGeom>
        </p:spPr>
      </p:pic>
      <p:pic>
        <p:nvPicPr>
          <p:cNvPr id="9" name="Graphic 8" descr="Line arrow: Clockwise curve with solid fill">
            <a:extLst>
              <a:ext uri="{FF2B5EF4-FFF2-40B4-BE49-F238E27FC236}">
                <a16:creationId xmlns:a16="http://schemas.microsoft.com/office/drawing/2014/main" id="{8384AB70-2D80-4EA0-8EF5-E5535341D3C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6936650" flipH="1">
            <a:off x="285812" y="3224504"/>
            <a:ext cx="837737" cy="810216"/>
          </a:xfrm>
          <a:prstGeom prst="rect">
            <a:avLst/>
          </a:prstGeom>
        </p:spPr>
      </p:pic>
      <p:pic>
        <p:nvPicPr>
          <p:cNvPr id="24" name="Graphic 23" descr="Line arrow: Clockwise curve with solid fill">
            <a:extLst>
              <a:ext uri="{FF2B5EF4-FFF2-40B4-BE49-F238E27FC236}">
                <a16:creationId xmlns:a16="http://schemas.microsoft.com/office/drawing/2014/main" id="{518E421B-031C-4B4E-A33E-C9343CCC6D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6936650" flipH="1">
            <a:off x="947764" y="4388570"/>
            <a:ext cx="837737" cy="810216"/>
          </a:xfrm>
          <a:prstGeom prst="rect">
            <a:avLst/>
          </a:prstGeom>
        </p:spPr>
      </p:pic>
      <p:sp>
        <p:nvSpPr>
          <p:cNvPr id="25" name="Rectangle: Rounded Corners 24">
            <a:extLst>
              <a:ext uri="{FF2B5EF4-FFF2-40B4-BE49-F238E27FC236}">
                <a16:creationId xmlns:a16="http://schemas.microsoft.com/office/drawing/2014/main" id="{9E12DF21-686D-4CC9-B67C-734CF21804B0}"/>
              </a:ext>
            </a:extLst>
          </p:cNvPr>
          <p:cNvSpPr/>
          <p:nvPr/>
        </p:nvSpPr>
        <p:spPr>
          <a:xfrm>
            <a:off x="9975676" y="3727852"/>
            <a:ext cx="684973" cy="612000"/>
          </a:xfrm>
          <a:prstGeom prst="roundRect">
            <a:avLst/>
          </a:prstGeom>
          <a:solidFill>
            <a:srgbClr val="DF2680">
              <a:alpha val="8000"/>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fr-FR"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26" name="Rectangle: Rounded Corners 25">
            <a:extLst>
              <a:ext uri="{FF2B5EF4-FFF2-40B4-BE49-F238E27FC236}">
                <a16:creationId xmlns:a16="http://schemas.microsoft.com/office/drawing/2014/main" id="{1B21A419-95A6-4024-A069-907C186342D8}"/>
              </a:ext>
            </a:extLst>
          </p:cNvPr>
          <p:cNvSpPr/>
          <p:nvPr/>
        </p:nvSpPr>
        <p:spPr>
          <a:xfrm>
            <a:off x="9975676" y="4816567"/>
            <a:ext cx="684973" cy="612000"/>
          </a:xfrm>
          <a:prstGeom prst="roundRect">
            <a:avLst/>
          </a:prstGeom>
          <a:solidFill>
            <a:srgbClr val="0B48A2">
              <a:alpha val="8000"/>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fr-FR"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31" name="Rectangle: Rounded Corners 30">
            <a:extLst>
              <a:ext uri="{FF2B5EF4-FFF2-40B4-BE49-F238E27FC236}">
                <a16:creationId xmlns:a16="http://schemas.microsoft.com/office/drawing/2014/main" id="{93A13C81-B86F-4FCA-B88E-B573BEBF1781}"/>
              </a:ext>
            </a:extLst>
          </p:cNvPr>
          <p:cNvSpPr/>
          <p:nvPr/>
        </p:nvSpPr>
        <p:spPr>
          <a:xfrm>
            <a:off x="9975676" y="2647225"/>
            <a:ext cx="684973" cy="612000"/>
          </a:xfrm>
          <a:prstGeom prst="roundRect">
            <a:avLst/>
          </a:prstGeom>
          <a:solidFill>
            <a:srgbClr val="FDF4D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fr-FR"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34" name="ZoneTexte 14">
            <a:extLst>
              <a:ext uri="{FF2B5EF4-FFF2-40B4-BE49-F238E27FC236}">
                <a16:creationId xmlns:a16="http://schemas.microsoft.com/office/drawing/2014/main" id="{37ED26B1-7094-43D7-ACDF-DF8DF843205A}"/>
              </a:ext>
            </a:extLst>
          </p:cNvPr>
          <p:cNvSpPr txBox="1"/>
          <p:nvPr/>
        </p:nvSpPr>
        <p:spPr>
          <a:xfrm>
            <a:off x="10098719" y="2651049"/>
            <a:ext cx="410270" cy="646331"/>
          </a:xfrm>
          <a:prstGeom prst="rect">
            <a:avLst/>
          </a:prstGeom>
          <a:noFill/>
        </p:spPr>
        <p:txBody>
          <a:bodyPr wrap="square" rtlCol="0">
            <a:spAutoFit/>
          </a:bodyPr>
          <a:lstStyle/>
          <a:p>
            <a:r>
              <a:rPr lang="fr-FR" sz="3600" b="1">
                <a:solidFill>
                  <a:srgbClr val="F5CB59"/>
                </a:solidFill>
              </a:rPr>
              <a:t>1</a:t>
            </a:r>
          </a:p>
        </p:txBody>
      </p:sp>
      <p:sp>
        <p:nvSpPr>
          <p:cNvPr id="35" name="ZoneTexte 14">
            <a:extLst>
              <a:ext uri="{FF2B5EF4-FFF2-40B4-BE49-F238E27FC236}">
                <a16:creationId xmlns:a16="http://schemas.microsoft.com/office/drawing/2014/main" id="{8A375594-0B9F-443C-891C-EE77E31D1DB1}"/>
              </a:ext>
            </a:extLst>
          </p:cNvPr>
          <p:cNvSpPr txBox="1"/>
          <p:nvPr/>
        </p:nvSpPr>
        <p:spPr>
          <a:xfrm>
            <a:off x="10098719" y="3693137"/>
            <a:ext cx="410270" cy="646331"/>
          </a:xfrm>
          <a:prstGeom prst="rect">
            <a:avLst/>
          </a:prstGeom>
          <a:noFill/>
        </p:spPr>
        <p:txBody>
          <a:bodyPr wrap="square" rtlCol="0">
            <a:spAutoFit/>
          </a:bodyPr>
          <a:lstStyle/>
          <a:p>
            <a:r>
              <a:rPr lang="fr-FR" sz="3600" b="1">
                <a:solidFill>
                  <a:srgbClr val="DF2680"/>
                </a:solidFill>
              </a:rPr>
              <a:t>2</a:t>
            </a:r>
          </a:p>
        </p:txBody>
      </p:sp>
      <p:sp>
        <p:nvSpPr>
          <p:cNvPr id="36" name="ZoneTexte 14">
            <a:extLst>
              <a:ext uri="{FF2B5EF4-FFF2-40B4-BE49-F238E27FC236}">
                <a16:creationId xmlns:a16="http://schemas.microsoft.com/office/drawing/2014/main" id="{DC163FE1-FF70-4DC1-90BB-2E9646946DCA}"/>
              </a:ext>
            </a:extLst>
          </p:cNvPr>
          <p:cNvSpPr txBox="1"/>
          <p:nvPr/>
        </p:nvSpPr>
        <p:spPr>
          <a:xfrm>
            <a:off x="10113027" y="4775239"/>
            <a:ext cx="410270" cy="646331"/>
          </a:xfrm>
          <a:prstGeom prst="rect">
            <a:avLst/>
          </a:prstGeom>
          <a:noFill/>
        </p:spPr>
        <p:txBody>
          <a:bodyPr wrap="square" rtlCol="0">
            <a:spAutoFit/>
          </a:bodyPr>
          <a:lstStyle/>
          <a:p>
            <a:r>
              <a:rPr lang="fr-FR" sz="3600" b="1">
                <a:solidFill>
                  <a:srgbClr val="0B48A2"/>
                </a:solidFill>
              </a:rPr>
              <a:t>3</a:t>
            </a:r>
          </a:p>
        </p:txBody>
      </p:sp>
      <p:pic>
        <p:nvPicPr>
          <p:cNvPr id="5" name="Graphic 4" descr="Web design with solid fill">
            <a:extLst>
              <a:ext uri="{FF2B5EF4-FFF2-40B4-BE49-F238E27FC236}">
                <a16:creationId xmlns:a16="http://schemas.microsoft.com/office/drawing/2014/main" id="{CA1A5392-B3DD-42C3-A212-A8B2C1C3BA5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2423" y="2437202"/>
            <a:ext cx="595898" cy="595898"/>
          </a:xfrm>
          <a:prstGeom prst="rect">
            <a:avLst/>
          </a:prstGeom>
        </p:spPr>
      </p:pic>
    </p:spTree>
    <p:extLst>
      <p:ext uri="{BB962C8B-B14F-4D97-AF65-F5344CB8AC3E}">
        <p14:creationId xmlns:p14="http://schemas.microsoft.com/office/powerpoint/2010/main" val="1991451830"/>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GSFXusZq3LxXS826HUL.T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fault Theme">
  <a:themeElements>
    <a:clrScheme name="CNAM">
      <a:dk1>
        <a:srgbClr val="0C419A"/>
      </a:dk1>
      <a:lt1>
        <a:sysClr val="window" lastClr="FFFFFF"/>
      </a:lt1>
      <a:dk2>
        <a:srgbClr val="007FAD"/>
      </a:dk2>
      <a:lt2>
        <a:srgbClr val="545859"/>
      </a:lt2>
      <a:accent1>
        <a:srgbClr val="298478"/>
      </a:accent1>
      <a:accent2>
        <a:srgbClr val="C74E5A"/>
      </a:accent2>
      <a:accent3>
        <a:srgbClr val="007FAD"/>
      </a:accent3>
      <a:accent4>
        <a:srgbClr val="A05EB5"/>
      </a:accent4>
      <a:accent5>
        <a:srgbClr val="5E74B8"/>
      </a:accent5>
      <a:accent6>
        <a:srgbClr val="E11A81"/>
      </a:accent6>
      <a:hlink>
        <a:srgbClr val="0C419A"/>
      </a:hlink>
      <a:folHlink>
        <a:srgbClr val="54585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NAM_Template_PowerPoint_v4" id="{26C22B8F-5E05-F14C-9CB3-B37F511AC7C6}" vid="{59AAAB99-C36C-9647-8E13-E76025E32F41}"/>
    </a:ext>
  </a:extLst>
</a:theme>
</file>

<file path=ppt/theme/theme3.xml><?xml version="1.0" encoding="utf-8"?>
<a:theme xmlns:a="http://schemas.openxmlformats.org/drawingml/2006/main" name="21_BasicWhite">
  <a:themeElements>
    <a:clrScheme name="21_BasicWhite">
      <a:dk1>
        <a:srgbClr val="5E5E5E"/>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Arial"/>
        <a:ea typeface="Arial"/>
        <a:cs typeface="Arial"/>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22_BasicWhite">
  <a:themeElements>
    <a:clrScheme name="21_BasicWhite">
      <a:dk1>
        <a:srgbClr val="5E5E5E"/>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Arial"/>
        <a:ea typeface="Arial"/>
        <a:cs typeface="Arial"/>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21_BasicWhite">
  <a:themeElements>
    <a:clrScheme name="21_BasicWhite">
      <a:dk1>
        <a:srgbClr val="5E5E5E"/>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Arial"/>
        <a:ea typeface="Arial"/>
        <a:cs typeface="Arial"/>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NAM">
    <a:dk1>
      <a:srgbClr val="0C419A"/>
    </a:dk1>
    <a:lt1>
      <a:sysClr val="window" lastClr="FFFFFF"/>
    </a:lt1>
    <a:dk2>
      <a:srgbClr val="007FAD"/>
    </a:dk2>
    <a:lt2>
      <a:srgbClr val="545859"/>
    </a:lt2>
    <a:accent1>
      <a:srgbClr val="298478"/>
    </a:accent1>
    <a:accent2>
      <a:srgbClr val="C74E5A"/>
    </a:accent2>
    <a:accent3>
      <a:srgbClr val="007FAD"/>
    </a:accent3>
    <a:accent4>
      <a:srgbClr val="A05EB5"/>
    </a:accent4>
    <a:accent5>
      <a:srgbClr val="5E74B8"/>
    </a:accent5>
    <a:accent6>
      <a:srgbClr val="E11A81"/>
    </a:accent6>
    <a:hlink>
      <a:srgbClr val="0C419A"/>
    </a:hlink>
    <a:folHlink>
      <a:srgbClr val="54585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E5AD41F7CA75F4D8AC925A27281F30C" ma:contentTypeVersion="14" ma:contentTypeDescription="Crée un document." ma:contentTypeScope="" ma:versionID="61864878c27ab4e52bcf0f23f7881653">
  <xsd:schema xmlns:xsd="http://www.w3.org/2001/XMLSchema" xmlns:xs="http://www.w3.org/2001/XMLSchema" xmlns:p="http://schemas.microsoft.com/office/2006/metadata/properties" xmlns:ns2="4f542576-0ea1-4bfb-bba4-7cafbe5fc766" xmlns:ns3="2d73283a-0632-43bd-a769-9b9fffcb94a1" targetNamespace="http://schemas.microsoft.com/office/2006/metadata/properties" ma:root="true" ma:fieldsID="188a5e062002654d0150c314e073e892" ns2:_="" ns3:_="">
    <xsd:import namespace="4f542576-0ea1-4bfb-bba4-7cafbe5fc766"/>
    <xsd:import namespace="2d73283a-0632-43bd-a769-9b9fffcb94a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542576-0ea1-4bfb-bba4-7cafbe5fc7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Balises d’images" ma:readOnly="false" ma:fieldId="{5cf76f15-5ced-4ddc-b409-7134ff3c332f}" ma:taxonomyMulti="true" ma:sspId="c4480557-28ee-4200-b705-f4b4ceb9c11a"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d73283a-0632-43bd-a769-9b9fffcb94a1" elementFormDefault="qualified">
    <xsd:import namespace="http://schemas.microsoft.com/office/2006/documentManagement/types"/>
    <xsd:import namespace="http://schemas.microsoft.com/office/infopath/2007/PartnerControls"/>
    <xsd:element name="SharedWithUsers" ma:index="17"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f542576-0ea1-4bfb-bba4-7cafbe5fc76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27A36DD-6579-4959-9409-C02CB4982159}">
  <ds:schemaRefs>
    <ds:schemaRef ds:uri="http://schemas.microsoft.com/sharepoint/v3/contenttype/forms"/>
  </ds:schemaRefs>
</ds:datastoreItem>
</file>

<file path=customXml/itemProps2.xml><?xml version="1.0" encoding="utf-8"?>
<ds:datastoreItem xmlns:ds="http://schemas.openxmlformats.org/officeDocument/2006/customXml" ds:itemID="{1DD164CB-B19A-4A93-B4C3-38AFC57D22C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f542576-0ea1-4bfb-bba4-7cafbe5fc766"/>
    <ds:schemaRef ds:uri="2d73283a-0632-43bd-a769-9b9fffcb94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D682F1D-62BD-4793-AE9C-CF661FB85482}">
  <ds:schemaRefs>
    <ds:schemaRef ds:uri="2d73283a-0632-43bd-a769-9b9fffcb94a1"/>
    <ds:schemaRef ds:uri="4f542576-0ea1-4bfb-bba4-7cafbe5fc76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12</TotalTime>
  <Words>4916</Words>
  <Application>Microsoft Office PowerPoint</Application>
  <PresentationFormat>Grand écran</PresentationFormat>
  <Paragraphs>476</Paragraphs>
  <Slides>42</Slides>
  <Notes>1</Notes>
  <HiddenSlides>0</HiddenSlides>
  <MMClips>0</MMClips>
  <ScaleCrop>false</ScaleCrop>
  <HeadingPairs>
    <vt:vector size="8" baseType="variant">
      <vt:variant>
        <vt:lpstr>Polices utilisées</vt:lpstr>
      </vt:variant>
      <vt:variant>
        <vt:i4>10</vt:i4>
      </vt:variant>
      <vt:variant>
        <vt:lpstr>Thème</vt:lpstr>
      </vt:variant>
      <vt:variant>
        <vt:i4>5</vt:i4>
      </vt:variant>
      <vt:variant>
        <vt:lpstr>Serveurs OLE incorporés</vt:lpstr>
      </vt:variant>
      <vt:variant>
        <vt:i4>1</vt:i4>
      </vt:variant>
      <vt:variant>
        <vt:lpstr>Titres des diapositives</vt:lpstr>
      </vt:variant>
      <vt:variant>
        <vt:i4>42</vt:i4>
      </vt:variant>
    </vt:vector>
  </HeadingPairs>
  <TitlesOfParts>
    <vt:vector size="58" baseType="lpstr">
      <vt:lpstr>Arial</vt:lpstr>
      <vt:lpstr>Arial Narrow</vt:lpstr>
      <vt:lpstr>Calibri</vt:lpstr>
      <vt:lpstr>Calibri Light</vt:lpstr>
      <vt:lpstr>EYInterstate</vt:lpstr>
      <vt:lpstr>Gill Sans</vt:lpstr>
      <vt:lpstr>Helvetica Neue</vt:lpstr>
      <vt:lpstr>Helvetica Neue Medium</vt:lpstr>
      <vt:lpstr>Symbol</vt:lpstr>
      <vt:lpstr>Wingdings</vt:lpstr>
      <vt:lpstr>Thème Office</vt:lpstr>
      <vt:lpstr>Default Theme</vt:lpstr>
      <vt:lpstr>21_BasicWhite</vt:lpstr>
      <vt:lpstr>22_BasicWhite</vt:lpstr>
      <vt:lpstr>21_BasicWhite</vt:lpstr>
      <vt:lpstr>think-cell Slide</vt:lpstr>
      <vt:lpstr>PRESENTATION DE MON ESPACE SANTE</vt:lpstr>
      <vt:lpstr>Introduction </vt:lpstr>
      <vt:lpstr>Tout commence avec le dossier médical partagé…</vt:lpstr>
      <vt:lpstr>Les difficultés de déploiement du DMP</vt:lpstr>
      <vt:lpstr>Une loi passe en juillet 2019 pour transformer le DMP</vt:lpstr>
      <vt:lpstr>Qu’est-ce que Mon espace santé ?</vt:lpstr>
      <vt:lpstr>Activation de Mon espace santé </vt:lpstr>
      <vt:lpstr>Une création par défaut pour tous les citoyens</vt:lpstr>
      <vt:lpstr>Concrètement, comment se passe l’activation ?</vt:lpstr>
      <vt:lpstr>Concrètement, comment se passe l’activation ?</vt:lpstr>
      <vt:lpstr>Concrètement, comment se passe l’activation ?</vt:lpstr>
      <vt:lpstr>Que se passe-t-il  quand Mon espace santé est activé ?</vt:lpstr>
      <vt:lpstr>Les fonctionnalités de Mon espace santé  </vt:lpstr>
      <vt:lpstr>La page d’accueil</vt:lpstr>
      <vt:lpstr>Paramètres</vt:lpstr>
      <vt:lpstr>Les fonctionnalités de Mon espace santé</vt:lpstr>
      <vt:lpstr>Le dossier médical </vt:lpstr>
      <vt:lpstr>Le dossier médical :  Mon profil médical</vt:lpstr>
      <vt:lpstr>Le dossier médical :  Vaccinations</vt:lpstr>
      <vt:lpstr>Le dossier médical :  Mes documents de santé </vt:lpstr>
      <vt:lpstr>La messagerie de santé </vt:lpstr>
      <vt:lpstr>L’agenda</vt:lpstr>
      <vt:lpstr>Le catalogue de services</vt:lpstr>
      <vt:lpstr>La gestion multi-profil</vt:lpstr>
      <vt:lpstr>Une application est disponible</vt:lpstr>
      <vt:lpstr>Support usagers</vt:lpstr>
      <vt:lpstr>L’accès aux données de Mon espace santé  </vt:lpstr>
      <vt:lpstr>La gestion des droits d’accès par les professionnels de santé </vt:lpstr>
      <vt:lpstr>Gestion de l’accès en situation d’urgence </vt:lpstr>
      <vt:lpstr>Accès des professionnels de santé </vt:lpstr>
      <vt:lpstr>Droits d’accès des professionnels de santé </vt:lpstr>
      <vt:lpstr>La sécurité des données </vt:lpstr>
      <vt:lpstr>Mes premiers pas d'ambassadeurs</vt:lpstr>
      <vt:lpstr>La démarche ambassadeurs</vt:lpstr>
      <vt:lpstr>Les coordinateurs régionaux</vt:lpstr>
      <vt:lpstr>Un exemple de parcours ambassadeur</vt:lpstr>
      <vt:lpstr>Des exemples d’actions concrètes</vt:lpstr>
      <vt:lpstr>Être habilité à manipuler des données de sante : Mandat CNIL et Aidant connect </vt:lpstr>
      <vt:lpstr>Montrer Mon espace santé : Un mode invité est disponible dans l’application</vt:lpstr>
      <vt:lpstr>Inscription / recueil d’actions / KIT</vt:lpstr>
      <vt:lpstr>Quelques éléments de langage</vt:lpstr>
      <vt:lpstr>Quelques éléments de langag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de mon espace santé</dc:title>
  <dc:creator>Romain Bouchard (FR)</dc:creator>
  <cp:lastModifiedBy>HECQUARD, Amandine (ARS-NORMANDIE/DAMTN/ESANTE)</cp:lastModifiedBy>
  <cp:revision>9</cp:revision>
  <dcterms:created xsi:type="dcterms:W3CDTF">2022-09-21T14:41:52Z</dcterms:created>
  <dcterms:modified xsi:type="dcterms:W3CDTF">2024-08-07T12:23: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5AD41F7CA75F4D8AC925A27281F30C</vt:lpwstr>
  </property>
  <property fmtid="{D5CDD505-2E9C-101B-9397-08002B2CF9AE}" pid="3" name="MediaServiceImageTags">
    <vt:lpwstr/>
  </property>
</Properties>
</file>